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6.xml" ContentType="application/vnd.openxmlformats-officedocument.presentationml.tags+xml"/>
  <Override PartName="/ppt/notesSlides/notesSlide1.xml" ContentType="application/vnd.openxmlformats-officedocument.presentationml.notesSlide+xml"/>
  <Override PartName="/ppt/tags/tag67.xml" ContentType="application/vnd.openxmlformats-officedocument.presentationml.tags+xml"/>
  <Override PartName="/ppt/notesSlides/notesSlide2.xml" ContentType="application/vnd.openxmlformats-officedocument.presentationml.notesSlide+xml"/>
  <Override PartName="/ppt/tags/tag68.xml" ContentType="application/vnd.openxmlformats-officedocument.presentationml.tags+xml"/>
  <Override PartName="/ppt/notesSlides/notesSlide3.xml" ContentType="application/vnd.openxmlformats-officedocument.presentationml.notesSlide+xml"/>
  <Override PartName="/ppt/tags/tag69.xml" ContentType="application/vnd.openxmlformats-officedocument.presentationml.tags+xml"/>
  <Override PartName="/ppt/notesSlides/notesSlide4.xml" ContentType="application/vnd.openxmlformats-officedocument.presentationml.notesSlide+xml"/>
  <Override PartName="/ppt/tags/tag70.xml" ContentType="application/vnd.openxmlformats-officedocument.presentationml.tags+xml"/>
  <Override PartName="/ppt/notesSlides/notesSlide5.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6.xml" ContentType="application/vnd.openxmlformats-officedocument.presentationml.notesSlide+xml"/>
  <Override PartName="/ppt/tags/tag73.xml" ContentType="application/vnd.openxmlformats-officedocument.presentationml.tags+xml"/>
  <Override PartName="/ppt/notesSlides/notesSlide7.xml" ContentType="application/vnd.openxmlformats-officedocument.presentationml.notesSlide+xml"/>
  <Override PartName="/ppt/tags/tag74.xml" ContentType="application/vnd.openxmlformats-officedocument.presentationml.tags+xml"/>
  <Override PartName="/ppt/notesSlides/notesSlide8.xml" ContentType="application/vnd.openxmlformats-officedocument.presentationml.notesSlide+xml"/>
  <Override PartName="/ppt/tags/tag75.xml" ContentType="application/vnd.openxmlformats-officedocument.presentationml.tags+xml"/>
  <Override PartName="/ppt/notesSlides/notesSlide9.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11.xml" ContentType="application/vnd.openxmlformats-officedocument.presentationml.notesSlide+xml"/>
  <Override PartName="/ppt/charts/chart3.xml" ContentType="application/vnd.openxmlformats-officedocument.drawingml.chart+xml"/>
  <Override PartName="/ppt/tags/tag102.xml" ContentType="application/vnd.openxmlformats-officedocument.presentationml.tags+xml"/>
  <Override PartName="/ppt/notesSlides/notesSlide12.xml" ContentType="application/vnd.openxmlformats-officedocument.presentationml.notesSlide+xml"/>
  <Override PartName="/ppt/tags/tag103.xml" ContentType="application/vnd.openxmlformats-officedocument.presentationml.tags+xml"/>
  <Override PartName="/ppt/notesSlides/notesSlide13.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14.xml" ContentType="application/vnd.openxmlformats-officedocument.presentationml.notesSlide+xml"/>
  <Override PartName="/ppt/charts/chart4.xml" ContentType="application/vnd.openxmlformats-officedocument.drawingml.chart+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15.xml" ContentType="application/vnd.openxmlformats-officedocument.presentationml.notesSlide+xml"/>
  <Override PartName="/ppt/charts/chart5.xml" ContentType="application/vnd.openxmlformats-officedocument.drawingml.chart+xml"/>
  <Override PartName="/ppt/tags/tag151.xml" ContentType="application/vnd.openxmlformats-officedocument.presentationml.tags+xml"/>
  <Override PartName="/ppt/notesSlides/notesSlide16.xml" ContentType="application/vnd.openxmlformats-officedocument.presentationml.notesSlide+xml"/>
  <Override PartName="/ppt/tags/tag152.xml" ContentType="application/vnd.openxmlformats-officedocument.presentationml.tags+xml"/>
  <Override PartName="/ppt/notesSlides/notesSlide17.xml" ContentType="application/vnd.openxmlformats-officedocument.presentationml.notesSlide+xml"/>
  <Override PartName="/ppt/tags/tag153.xml" ContentType="application/vnd.openxmlformats-officedocument.presentationml.tags+xml"/>
  <Override PartName="/ppt/notesSlides/notesSlide18.xml" ContentType="application/vnd.openxmlformats-officedocument.presentationml.notesSlide+xml"/>
  <Override PartName="/ppt/tags/tag154.xml" ContentType="application/vnd.openxmlformats-officedocument.presentationml.tags+xml"/>
  <Override PartName="/ppt/notesSlides/notesSlide19.xml" ContentType="application/vnd.openxmlformats-officedocument.presentationml.notesSlide+xml"/>
  <Override PartName="/ppt/tags/tag155.xml" ContentType="application/vnd.openxmlformats-officedocument.presentationml.tags+xml"/>
  <Override PartName="/ppt/notesSlides/notesSlide20.xml" ContentType="application/vnd.openxmlformats-officedocument.presentationml.notesSlide+xml"/>
  <Override PartName="/ppt/tags/tag156.xml" ContentType="application/vnd.openxmlformats-officedocument.presentationml.tags+xml"/>
  <Override PartName="/ppt/notesSlides/notesSlide21.xml" ContentType="application/vnd.openxmlformats-officedocument.presentationml.notesSlide+xml"/>
  <Override PartName="/ppt/tags/tag157.xml" ContentType="application/vnd.openxmlformats-officedocument.presentationml.tags+xml"/>
  <Override PartName="/ppt/notesSlides/notesSlide22.xml" ContentType="application/vnd.openxmlformats-officedocument.presentationml.notesSlide+xml"/>
  <Override PartName="/ppt/tags/tag158.xml" ContentType="application/vnd.openxmlformats-officedocument.presentationml.tags+xml"/>
  <Override PartName="/ppt/notesSlides/notesSlide23.xml" ContentType="application/vnd.openxmlformats-officedocument.presentationml.notesSlide+xml"/>
  <Override PartName="/ppt/tags/tag159.xml" ContentType="application/vnd.openxmlformats-officedocument.presentationml.tags+xml"/>
  <Override PartName="/ppt/notesSlides/notesSlide24.xml" ContentType="application/vnd.openxmlformats-officedocument.presentationml.notesSlide+xml"/>
  <Override PartName="/ppt/tags/tag160.xml" ContentType="application/vnd.openxmlformats-officedocument.presentationml.tags+xml"/>
  <Override PartName="/ppt/notesSlides/notesSlide25.xml" ContentType="application/vnd.openxmlformats-officedocument.presentationml.notesSlide+xml"/>
  <Override PartName="/ppt/tags/tag161.xml" ContentType="application/vnd.openxmlformats-officedocument.presentationml.tags+xml"/>
  <Override PartName="/ppt/notesSlides/notesSlide26.xml" ContentType="application/vnd.openxmlformats-officedocument.presentationml.notesSlide+xml"/>
  <Override PartName="/ppt/tags/tag162.xml" ContentType="application/vnd.openxmlformats-officedocument.presentationml.tags+xml"/>
  <Override PartName="/ppt/notesSlides/notesSlide27.xml" ContentType="application/vnd.openxmlformats-officedocument.presentationml.notesSlide+xml"/>
  <Override PartName="/ppt/tags/tag163.xml" ContentType="application/vnd.openxmlformats-officedocument.presentationml.tags+xml"/>
  <Override PartName="/ppt/notesSlides/notesSlide28.xml" ContentType="application/vnd.openxmlformats-officedocument.presentationml.notesSlide+xml"/>
  <Override PartName="/ppt/tags/tag164.xml" ContentType="application/vnd.openxmlformats-officedocument.presentationml.tags+xml"/>
  <Override PartName="/ppt/notesSlides/notesSlide29.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notesSlides/notesSlide30.xml" ContentType="application/vnd.openxmlformats-officedocument.presentationml.notesSlide+xml"/>
  <Override PartName="/ppt/tags/tag167.xml" ContentType="application/vnd.openxmlformats-officedocument.presentationml.tags+xml"/>
  <Override PartName="/ppt/tags/tag168.xml" ContentType="application/vnd.openxmlformats-officedocument.presentationml.tags+xml"/>
  <Override PartName="/ppt/notesSlides/notesSlide31.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notesSlides/notesSlide32.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231.xml" ContentType="application/vnd.openxmlformats-officedocument.presentationml.tags+xml"/>
  <Override PartName="/ppt/notesSlides/notesSlide33.xml" ContentType="application/vnd.openxmlformats-officedocument.presentationml.notesSlide+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notesSlides/notesSlide34.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notesSlides/notesSlide35.xml" ContentType="application/vnd.openxmlformats-officedocument.presentationml.notesSlide+xml"/>
  <Override PartName="/ppt/tags/tag239.xml" ContentType="application/vnd.openxmlformats-officedocument.presentationml.tags+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955" r:id="rId1"/>
  </p:sldMasterIdLst>
  <p:notesMasterIdLst>
    <p:notesMasterId r:id="rId41"/>
  </p:notesMasterIdLst>
  <p:handoutMasterIdLst>
    <p:handoutMasterId r:id="rId42"/>
  </p:handoutMasterIdLst>
  <p:sldIdLst>
    <p:sldId id="3080" r:id="rId2"/>
    <p:sldId id="2873" r:id="rId3"/>
    <p:sldId id="2928" r:id="rId4"/>
    <p:sldId id="3052" r:id="rId5"/>
    <p:sldId id="2934" r:id="rId6"/>
    <p:sldId id="2895" r:id="rId7"/>
    <p:sldId id="3077" r:id="rId8"/>
    <p:sldId id="3097" r:id="rId9"/>
    <p:sldId id="3065" r:id="rId10"/>
    <p:sldId id="3109" r:id="rId11"/>
    <p:sldId id="3038" r:id="rId12"/>
    <p:sldId id="3098" r:id="rId13"/>
    <p:sldId id="3092" r:id="rId14"/>
    <p:sldId id="3044" r:id="rId15"/>
    <p:sldId id="3085" r:id="rId16"/>
    <p:sldId id="3063" r:id="rId17"/>
    <p:sldId id="3090" r:id="rId18"/>
    <p:sldId id="3091" r:id="rId19"/>
    <p:sldId id="3054" r:id="rId20"/>
    <p:sldId id="2922" r:id="rId21"/>
    <p:sldId id="3048" r:id="rId22"/>
    <p:sldId id="2912" r:id="rId23"/>
    <p:sldId id="3082" r:id="rId24"/>
    <p:sldId id="2907" r:id="rId25"/>
    <p:sldId id="3050" r:id="rId26"/>
    <p:sldId id="3095" r:id="rId27"/>
    <p:sldId id="3086" r:id="rId28"/>
    <p:sldId id="3101" r:id="rId29"/>
    <p:sldId id="3099" r:id="rId30"/>
    <p:sldId id="2886" r:id="rId31"/>
    <p:sldId id="2887" r:id="rId32"/>
    <p:sldId id="2552" r:id="rId33"/>
    <p:sldId id="2896" r:id="rId34"/>
    <p:sldId id="3083" r:id="rId35"/>
    <p:sldId id="3103" r:id="rId36"/>
    <p:sldId id="3102" r:id="rId37"/>
    <p:sldId id="3114" r:id="rId38"/>
    <p:sldId id="2879" r:id="rId39"/>
    <p:sldId id="2883" r:id="rId40"/>
  </p:sldIdLst>
  <p:sldSz cx="12192000" cy="6858000"/>
  <p:notesSz cx="6881813" cy="9296400"/>
  <p:embeddedFontLst>
    <p:embeddedFont>
      <p:font typeface="Corbel" panose="020B0503020204020204" pitchFamily="34" charset="0"/>
      <p:regular r:id="rId43"/>
      <p:bold r:id="rId44"/>
      <p:italic r:id="rId45"/>
      <p:boldItalic r:id="rId46"/>
    </p:embeddedFont>
  </p:embeddedFontLst>
  <p:custDataLst>
    <p:tags r:id="rId47"/>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Cover" id="{2BB85189-B17F-418D-BF70-71F9AFFAB2E5}">
          <p14:sldIdLst>
            <p14:sldId id="3080"/>
            <p14:sldId id="2873"/>
          </p14:sldIdLst>
        </p14:section>
        <p14:section name="Introductie" id="{D5A38796-1A08-486C-BDF2-C9B40ABE8302}">
          <p14:sldIdLst>
            <p14:sldId id="2928"/>
            <p14:sldId id="3052"/>
            <p14:sldId id="2934"/>
            <p14:sldId id="2895"/>
            <p14:sldId id="3077"/>
          </p14:sldIdLst>
        </p14:section>
        <p14:section name="Kansen en uitdagingen" id="{210604A6-F83B-49EA-BB70-4DA04F3AE5BA}">
          <p14:sldIdLst>
            <p14:sldId id="3097"/>
            <p14:sldId id="3065"/>
            <p14:sldId id="3109"/>
            <p14:sldId id="3038"/>
          </p14:sldIdLst>
        </p14:section>
        <p14:section name="Toekomstbestendig doelgroepenvervoer" id="{AF34F2F9-E3BD-4646-8AD5-DD364833F5E6}">
          <p14:sldIdLst>
            <p14:sldId id="3098"/>
            <p14:sldId id="3092"/>
            <p14:sldId id="3044"/>
            <p14:sldId id="3085"/>
            <p14:sldId id="3063"/>
            <p14:sldId id="3090"/>
            <p14:sldId id="3091"/>
            <p14:sldId id="3054"/>
            <p14:sldId id="2922"/>
            <p14:sldId id="3048"/>
            <p14:sldId id="2912"/>
            <p14:sldId id="3082"/>
            <p14:sldId id="2907"/>
            <p14:sldId id="3050"/>
            <p14:sldId id="3095"/>
            <p14:sldId id="3086"/>
            <p14:sldId id="3101"/>
          </p14:sldIdLst>
        </p14:section>
        <p14:section name="Bijlagen" id="{DCF96590-FFA0-4C4C-B5CE-E623E3D9BCEF}">
          <p14:sldIdLst>
            <p14:sldId id="3099"/>
            <p14:sldId id="2886"/>
            <p14:sldId id="2887"/>
            <p14:sldId id="2552"/>
            <p14:sldId id="2896"/>
            <p14:sldId id="3083"/>
            <p14:sldId id="3103"/>
            <p14:sldId id="3102"/>
            <p14:sldId id="3114"/>
            <p14:sldId id="2879"/>
            <p14:sldId id="288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endy Higgins" initials="WH" lastIdx="5" clrIdx="0"/>
  <p:cmAuthor id="2" name="Kees van der Meeren" initials="KvdM" lastIdx="1" clrIdx="1">
    <p:extLst>
      <p:ext uri="{19B8F6BF-5375-455C-9EA6-DF929625EA0E}">
        <p15:presenceInfo xmlns:p15="http://schemas.microsoft.com/office/powerpoint/2012/main" userId="9f3381916005cbc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D35"/>
    <a:srgbClr val="FFF6E3"/>
    <a:srgbClr val="F1F1F1"/>
    <a:srgbClr val="ECF4F5"/>
    <a:srgbClr val="F5F9FA"/>
    <a:srgbClr val="BFBFBF"/>
    <a:srgbClr val="FBE0D3"/>
    <a:srgbClr val="68ABB0"/>
    <a:srgbClr val="CFE3E6"/>
    <a:srgbClr val="FFED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20014" autoAdjust="0"/>
    <p:restoredTop sz="94125" autoAdjust="0"/>
  </p:normalViewPr>
  <p:slideViewPr>
    <p:cSldViewPr snapToGrid="0">
      <p:cViewPr varScale="1">
        <p:scale>
          <a:sx n="83" d="100"/>
          <a:sy n="83" d="100"/>
        </p:scale>
        <p:origin x="456" y="77"/>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78" d="100"/>
          <a:sy n="78" d="100"/>
        </p:scale>
        <p:origin x="3978"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font" Target="fonts/font4.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font" Target="fonts/font3.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font" Target="fonts/font2.fntdata"/><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font" Target="fonts/font1.fntdata"/><Relationship Id="rId48"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4"/>
          <c:y val="4.2105263157894736E-2"/>
          <c:w val="0.92"/>
          <c:h val="0.91578947368421049"/>
        </c:manualLayout>
      </c:layout>
      <c:barChart>
        <c:barDir val="bar"/>
        <c:grouping val="stacked"/>
        <c:varyColors val="0"/>
        <c:ser>
          <c:idx val="0"/>
          <c:order val="0"/>
          <c:spPr>
            <a:solidFill>
              <a:schemeClr val="accent1"/>
            </a:solidFill>
            <a:ln>
              <a:noFill/>
            </a:ln>
          </c:spPr>
          <c:invertIfNegative val="0"/>
          <c:val>
            <c:numRef>
              <c:f>Sheet1!$A$1:$D$1</c:f>
              <c:numCache>
                <c:formatCode>General</c:formatCode>
                <c:ptCount val="4"/>
                <c:pt idx="0">
                  <c:v>65</c:v>
                </c:pt>
                <c:pt idx="1">
                  <c:v>60</c:v>
                </c:pt>
                <c:pt idx="2">
                  <c:v>30</c:v>
                </c:pt>
                <c:pt idx="3">
                  <c:v>19</c:v>
                </c:pt>
              </c:numCache>
            </c:numRef>
          </c:val>
          <c:extLst>
            <c:ext xmlns:c16="http://schemas.microsoft.com/office/drawing/2014/chart" uri="{C3380CC4-5D6E-409C-BE32-E72D297353CC}">
              <c16:uniqueId val="{00000000-3342-4E88-8C66-4D28116E0943}"/>
            </c:ext>
          </c:extLst>
        </c:ser>
        <c:dLbls>
          <c:showLegendKey val="0"/>
          <c:showVal val="0"/>
          <c:showCatName val="0"/>
          <c:showSerName val="0"/>
          <c:showPercent val="0"/>
          <c:showBubbleSize val="0"/>
        </c:dLbls>
        <c:gapWidth val="80"/>
        <c:overlap val="100"/>
        <c:axId val="994560255"/>
        <c:axId val="1"/>
      </c:barChart>
      <c:catAx>
        <c:axId val="994560255"/>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5"/>
          <c:min val="0"/>
        </c:scaling>
        <c:delete val="1"/>
        <c:axPos val="t"/>
        <c:numFmt formatCode="General" sourceLinked="1"/>
        <c:majorTickMark val="out"/>
        <c:minorTickMark val="none"/>
        <c:tickLblPos val="nextTo"/>
        <c:crossAx val="994560255"/>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125072716695753E-2"/>
          <c:y val="6.650144568360182E-2"/>
          <c:w val="0.96974985456660845"/>
          <c:h val="0.91201982651796776"/>
        </c:manualLayout>
      </c:layout>
      <c:barChart>
        <c:barDir val="col"/>
        <c:grouping val="stacked"/>
        <c:varyColors val="0"/>
        <c:ser>
          <c:idx val="0"/>
          <c:order val="0"/>
          <c:spPr>
            <a:solidFill>
              <a:srgbClr val="FF4444"/>
            </a:solidFill>
            <a:ln>
              <a:noFill/>
            </a:ln>
          </c:spPr>
          <c:invertIfNegative val="0"/>
          <c:dPt>
            <c:idx val="1"/>
            <c:invertIfNegative val="0"/>
            <c:bubble3D val="0"/>
            <c:spPr>
              <a:solidFill>
                <a:schemeClr val="accent1"/>
              </a:solidFill>
              <a:ln>
                <a:noFill/>
              </a:ln>
            </c:spPr>
            <c:extLst>
              <c:ext xmlns:c16="http://schemas.microsoft.com/office/drawing/2014/chart" uri="{C3380CC4-5D6E-409C-BE32-E72D297353CC}">
                <c16:uniqueId val="{00000000-2E1C-4ED4-9961-568DFC610F58}"/>
              </c:ext>
            </c:extLst>
          </c:dPt>
          <c:dPt>
            <c:idx val="2"/>
            <c:invertIfNegative val="0"/>
            <c:bubble3D val="0"/>
            <c:spPr>
              <a:solidFill>
                <a:srgbClr val="FFD17A"/>
              </a:solidFill>
              <a:ln>
                <a:noFill/>
              </a:ln>
            </c:spPr>
            <c:extLst>
              <c:ext xmlns:c16="http://schemas.microsoft.com/office/drawing/2014/chart" uri="{C3380CC4-5D6E-409C-BE32-E72D297353CC}">
                <c16:uniqueId val="{00000001-2E1C-4ED4-9961-568DFC610F58}"/>
              </c:ext>
            </c:extLst>
          </c:dPt>
          <c:dPt>
            <c:idx val="3"/>
            <c:invertIfNegative val="0"/>
            <c:bubble3D val="0"/>
            <c:spPr>
              <a:solidFill>
                <a:srgbClr val="EEACAC"/>
              </a:solidFill>
              <a:ln>
                <a:noFill/>
              </a:ln>
            </c:spPr>
            <c:extLst>
              <c:ext xmlns:c16="http://schemas.microsoft.com/office/drawing/2014/chart" uri="{C3380CC4-5D6E-409C-BE32-E72D297353CC}">
                <c16:uniqueId val="{00000002-2E1C-4ED4-9961-568DFC610F58}"/>
              </c:ext>
            </c:extLst>
          </c:dPt>
          <c:dLbls>
            <c:dLbl>
              <c:idx val="0"/>
              <c:layout>
                <c:manualLayout>
                  <c:x val="0"/>
                  <c:y val="-0.48905410987195375"/>
                </c:manualLayout>
              </c:layout>
              <c:numFmt formatCode="#,##0.0&quot;%&quot;;&quot;-&quot;#,##0.0&quot;%&quot;" sourceLinked="0"/>
              <c:spPr>
                <a:noFill/>
                <a:ln>
                  <a:noFill/>
                </a:ln>
              </c:spPr>
              <c:txPr>
                <a:bodyPr wrap="none"/>
                <a:lstStyle/>
                <a:p>
                  <a:pPr>
                    <a:defRPr sz="14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E1C-4ED4-9961-568DFC610F58}"/>
                </c:ext>
              </c:extLst>
            </c:dLbl>
            <c:dLbl>
              <c:idx val="2"/>
              <c:layout>
                <c:manualLayout>
                  <c:x val="0"/>
                  <c:y val="-0.42544403139198678"/>
                </c:manualLayout>
              </c:layout>
              <c:numFmt formatCode="#,##0.0&quot;%&quot;;&quot;-&quot;#,##0.0&quot;%&quot;" sourceLinked="0"/>
              <c:spPr>
                <a:noFill/>
                <a:ln>
                  <a:noFill/>
                </a:ln>
              </c:spPr>
              <c:txPr>
                <a:bodyPr wrap="none"/>
                <a:lstStyle/>
                <a:p>
                  <a:pPr>
                    <a:defRPr sz="14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E1C-4ED4-9961-568DFC610F58}"/>
                </c:ext>
              </c:extLst>
            </c:dLbl>
            <c:dLbl>
              <c:idx val="3"/>
              <c:layout>
                <c:manualLayout>
                  <c:x val="0"/>
                  <c:y val="-0.43824865757951259"/>
                </c:manualLayout>
              </c:layout>
              <c:numFmt formatCode="#,##0.0&quot;%&quot;;&quot;-&quot;#,##0.0&quot;%&quot;" sourceLinked="0"/>
              <c:spPr>
                <a:noFill/>
                <a:ln>
                  <a:noFill/>
                </a:ln>
              </c:spPr>
              <c:txPr>
                <a:bodyPr wrap="none"/>
                <a:lstStyle/>
                <a:p>
                  <a:pPr>
                    <a:defRPr sz="14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E1C-4ED4-9961-568DFC610F5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6909014851903912</c:v>
                </c:pt>
                <c:pt idx="1">
                  <c:v>0</c:v>
                </c:pt>
                <c:pt idx="2">
                  <c:v>3.1736049272781237</c:v>
                </c:pt>
                <c:pt idx="3">
                  <c:v>3.2790183061758196</c:v>
                </c:pt>
              </c:numCache>
            </c:numRef>
          </c:val>
          <c:extLst>
            <c:ext xmlns:c16="http://schemas.microsoft.com/office/drawing/2014/chart" uri="{C3380CC4-5D6E-409C-BE32-E72D297353CC}">
              <c16:uniqueId val="{00000004-2E1C-4ED4-9961-568DFC610F58}"/>
            </c:ext>
          </c:extLst>
        </c:ser>
        <c:dLbls>
          <c:showLegendKey val="0"/>
          <c:showVal val="0"/>
          <c:showCatName val="0"/>
          <c:showSerName val="0"/>
          <c:showPercent val="0"/>
          <c:showBubbleSize val="0"/>
        </c:dLbls>
        <c:gapWidth val="80"/>
        <c:overlap val="100"/>
        <c:axId val="1301853439"/>
        <c:axId val="1"/>
      </c:barChart>
      <c:catAx>
        <c:axId val="130185343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6909014851903912"/>
          <c:min val="0"/>
        </c:scaling>
        <c:delete val="1"/>
        <c:axPos val="l"/>
        <c:numFmt formatCode="General" sourceLinked="1"/>
        <c:majorTickMark val="out"/>
        <c:minorTickMark val="none"/>
        <c:tickLblPos val="nextTo"/>
        <c:crossAx val="1301853439"/>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125072716695753E-2"/>
          <c:y val="6.650144568360182E-2"/>
          <c:w val="0.96974985456660845"/>
          <c:h val="0.91201982651796776"/>
        </c:manualLayout>
      </c:layout>
      <c:barChart>
        <c:barDir val="col"/>
        <c:grouping val="stacked"/>
        <c:varyColors val="0"/>
        <c:ser>
          <c:idx val="0"/>
          <c:order val="0"/>
          <c:spPr>
            <a:solidFill>
              <a:srgbClr val="FF4444"/>
            </a:solidFill>
            <a:ln>
              <a:noFill/>
            </a:ln>
          </c:spPr>
          <c:invertIfNegative val="0"/>
          <c:dPt>
            <c:idx val="2"/>
            <c:invertIfNegative val="0"/>
            <c:bubble3D val="0"/>
            <c:spPr>
              <a:solidFill>
                <a:srgbClr val="FFD17A"/>
              </a:solidFill>
              <a:ln>
                <a:noFill/>
              </a:ln>
            </c:spPr>
            <c:extLst>
              <c:ext xmlns:c16="http://schemas.microsoft.com/office/drawing/2014/chart" uri="{C3380CC4-5D6E-409C-BE32-E72D297353CC}">
                <c16:uniqueId val="{00000000-B024-4FAC-B301-92AC7944A204}"/>
              </c:ext>
            </c:extLst>
          </c:dPt>
          <c:dPt>
            <c:idx val="3"/>
            <c:invertIfNegative val="0"/>
            <c:bubble3D val="0"/>
            <c:spPr>
              <a:solidFill>
                <a:srgbClr val="EEACAC"/>
              </a:solidFill>
              <a:ln>
                <a:noFill/>
              </a:ln>
            </c:spPr>
            <c:extLst>
              <c:ext xmlns:c16="http://schemas.microsoft.com/office/drawing/2014/chart" uri="{C3380CC4-5D6E-409C-BE32-E72D297353CC}">
                <c16:uniqueId val="{00000001-B024-4FAC-B301-92AC7944A204}"/>
              </c:ext>
            </c:extLst>
          </c:dPt>
          <c:dLbls>
            <c:dLbl>
              <c:idx val="0"/>
              <c:layout>
                <c:manualLayout>
                  <c:x val="0"/>
                  <c:y val="-0.44320528707145807"/>
                </c:manualLayout>
              </c:layout>
              <c:numFmt formatCode="#,##0.0&quot;%&quot;;&quot;-&quot;#,##0.0&quot;%&quot;" sourceLinked="0"/>
              <c:spPr>
                <a:noFill/>
                <a:ln>
                  <a:noFill/>
                </a:ln>
              </c:spPr>
              <c:txPr>
                <a:bodyPr wrap="none"/>
                <a:lstStyle/>
                <a:p>
                  <a:pPr>
                    <a:defRPr sz="14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024-4FAC-B301-92AC7944A204}"/>
                </c:ext>
              </c:extLst>
            </c:dLbl>
            <c:dLbl>
              <c:idx val="2"/>
              <c:layout>
                <c:manualLayout>
                  <c:x val="0"/>
                  <c:y val="-0.33746385790995459"/>
                </c:manualLayout>
              </c:layout>
              <c:numFmt formatCode="#,##0.0&quot;%&quot;;&quot;-&quot;#,##0.0&quot;%&quot;" sourceLinked="0"/>
              <c:spPr>
                <a:noFill/>
                <a:ln>
                  <a:noFill/>
                </a:ln>
              </c:spPr>
              <c:txPr>
                <a:bodyPr wrap="none"/>
                <a:lstStyle/>
                <a:p>
                  <a:pPr>
                    <a:defRPr sz="14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024-4FAC-B301-92AC7944A204}"/>
                </c:ext>
              </c:extLst>
            </c:dLbl>
            <c:dLbl>
              <c:idx val="3"/>
              <c:layout>
                <c:manualLayout>
                  <c:x val="0"/>
                  <c:y val="-0.48905410987195375"/>
                </c:manualLayout>
              </c:layout>
              <c:numFmt formatCode="#,##0.0&quot;%&quot;;&quot;-&quot;#,##0.0&quot;%&quot;" sourceLinked="0"/>
              <c:spPr>
                <a:noFill/>
                <a:ln>
                  <a:noFill/>
                </a:ln>
              </c:spPr>
              <c:txPr>
                <a:bodyPr wrap="none"/>
                <a:lstStyle/>
                <a:p>
                  <a:pPr>
                    <a:defRPr sz="14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024-4FAC-B301-92AC7944A2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9.498328378666223</c:v>
                </c:pt>
                <c:pt idx="2">
                  <c:v>21.886930532952583</c:v>
                </c:pt>
                <c:pt idx="3">
                  <c:v>32.790183061758199</c:v>
                </c:pt>
              </c:numCache>
            </c:numRef>
          </c:val>
          <c:extLst>
            <c:ext xmlns:c16="http://schemas.microsoft.com/office/drawing/2014/chart" uri="{C3380CC4-5D6E-409C-BE32-E72D297353CC}">
              <c16:uniqueId val="{00000003-B024-4FAC-B301-92AC7944A204}"/>
            </c:ext>
          </c:extLst>
        </c:ser>
        <c:dLbls>
          <c:showLegendKey val="0"/>
          <c:showVal val="0"/>
          <c:showCatName val="0"/>
          <c:showSerName val="0"/>
          <c:showPercent val="0"/>
          <c:showBubbleSize val="0"/>
        </c:dLbls>
        <c:gapWidth val="80"/>
        <c:overlap val="100"/>
        <c:axId val="968764495"/>
        <c:axId val="1"/>
      </c:barChart>
      <c:catAx>
        <c:axId val="96876449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2.790183061758199"/>
          <c:min val="0"/>
        </c:scaling>
        <c:delete val="1"/>
        <c:axPos val="l"/>
        <c:numFmt formatCode="General" sourceLinked="1"/>
        <c:majorTickMark val="out"/>
        <c:minorTickMark val="none"/>
        <c:tickLblPos val="nextTo"/>
        <c:crossAx val="968764495"/>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158891142663962E-2"/>
          <c:y val="4.2414355628058731E-2"/>
          <c:w val="0.80865449628127117"/>
          <c:h val="0.91517128874388254"/>
        </c:manualLayout>
      </c:layout>
      <c:barChart>
        <c:barDir val="bar"/>
        <c:grouping val="stacked"/>
        <c:varyColors val="0"/>
        <c:ser>
          <c:idx val="0"/>
          <c:order val="0"/>
          <c:spPr>
            <a:solidFill>
              <a:schemeClr val="accent1"/>
            </a:solidFill>
            <a:ln>
              <a:noFill/>
            </a:ln>
          </c:spPr>
          <c:invertIfNegative val="0"/>
          <c:dLbls>
            <c:dLbl>
              <c:idx val="0"/>
              <c:layout>
                <c:manualLayout>
                  <c:x val="0.48208248816768084"/>
                  <c:y val="1.6313213703099511E-3"/>
                </c:manualLayout>
              </c:layout>
              <c:numFmt formatCode="#,##0&quot;% &quot;;&quot;-&quot;#,##0&quot;% &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390-4BCE-ACF7-B7687F467CEA}"/>
                </c:ext>
              </c:extLst>
            </c:dLbl>
            <c:dLbl>
              <c:idx val="1"/>
              <c:layout>
                <c:manualLayout>
                  <c:x val="0.27991886409736311"/>
                  <c:y val="1.6313213703099511E-3"/>
                </c:manualLayout>
              </c:layout>
              <c:numFmt formatCode="#,##0&quot;% &quot;;&quot;-&quot;#,##0&quot;% &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390-4BCE-ACF7-B7687F467CEA}"/>
                </c:ext>
              </c:extLst>
            </c:dLbl>
            <c:dLbl>
              <c:idx val="2"/>
              <c:layout>
                <c:manualLayout>
                  <c:x val="0.1737660581473969"/>
                  <c:y val="1.6313213703099511E-3"/>
                </c:manualLayout>
              </c:layout>
              <c:numFmt formatCode="#,##0&quot;% &quot;;&quot;-&quot;#,##0&quot;% &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390-4BCE-ACF7-B7687F467CEA}"/>
                </c:ext>
              </c:extLst>
            </c:dLbl>
            <c:dLbl>
              <c:idx val="3"/>
              <c:layout>
                <c:manualLayout>
                  <c:x val="0.14807302231237324"/>
                  <c:y val="1.6313213703099511E-3"/>
                </c:manualLayout>
              </c:layout>
              <c:numFmt formatCode="#,##0&quot;% &quot;;&quot;-&quot;#,##0&quot;% &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390-4BCE-ACF7-B7687F467C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81</c:v>
                </c:pt>
                <c:pt idx="1">
                  <c:v>40</c:v>
                </c:pt>
                <c:pt idx="2">
                  <c:v>19</c:v>
                </c:pt>
                <c:pt idx="3">
                  <c:v>14.000000000000002</c:v>
                </c:pt>
              </c:numCache>
            </c:numRef>
          </c:val>
          <c:extLst>
            <c:ext xmlns:c16="http://schemas.microsoft.com/office/drawing/2014/chart" uri="{C3380CC4-5D6E-409C-BE32-E72D297353CC}">
              <c16:uniqueId val="{00000004-D390-4BCE-ACF7-B7687F467CEA}"/>
            </c:ext>
          </c:extLst>
        </c:ser>
        <c:dLbls>
          <c:showLegendKey val="0"/>
          <c:showVal val="0"/>
          <c:showCatName val="0"/>
          <c:showSerName val="0"/>
          <c:showPercent val="0"/>
          <c:showBubbleSize val="0"/>
        </c:dLbls>
        <c:gapWidth val="80"/>
        <c:overlap val="100"/>
        <c:axId val="1176378559"/>
        <c:axId val="1"/>
      </c:barChart>
      <c:catAx>
        <c:axId val="1176378559"/>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1"/>
          <c:min val="0"/>
        </c:scaling>
        <c:delete val="1"/>
        <c:axPos val="t"/>
        <c:numFmt formatCode="General" sourceLinked="1"/>
        <c:majorTickMark val="out"/>
        <c:minorTickMark val="none"/>
        <c:tickLblPos val="nextTo"/>
        <c:crossAx val="1176378559"/>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734118999712565E-3"/>
          <c:y val="2.2707423580786028E-2"/>
          <c:w val="0.9850531762000575"/>
          <c:h val="0.95458515283842793"/>
        </c:manualLayout>
      </c:layout>
      <c:barChart>
        <c:barDir val="col"/>
        <c:grouping val="stacked"/>
        <c:varyColors val="0"/>
        <c:ser>
          <c:idx val="0"/>
          <c:order val="0"/>
          <c:spPr>
            <a:solidFill>
              <a:schemeClr val="accent1"/>
            </a:solidFill>
            <a:ln>
              <a:noFill/>
            </a:ln>
          </c:spPr>
          <c:invertIfNegative val="0"/>
          <c:dPt>
            <c:idx val="2"/>
            <c:invertIfNegative val="0"/>
            <c:bubble3D val="0"/>
            <c:spPr>
              <a:solidFill>
                <a:schemeClr val="accent3"/>
              </a:solidFill>
              <a:ln>
                <a:noFill/>
              </a:ln>
            </c:spPr>
            <c:extLst>
              <c:ext xmlns:c16="http://schemas.microsoft.com/office/drawing/2014/chart" uri="{C3380CC4-5D6E-409C-BE32-E72D297353CC}">
                <c16:uniqueId val="{00000000-C2B5-4A41-B0D4-49D92F5DA1C6}"/>
              </c:ext>
            </c:extLst>
          </c:dPt>
          <c:dPt>
            <c:idx val="3"/>
            <c:invertIfNegative val="0"/>
            <c:bubble3D val="0"/>
            <c:spPr>
              <a:solidFill>
                <a:schemeClr val="accent3"/>
              </a:solidFill>
              <a:ln>
                <a:noFill/>
              </a:ln>
            </c:spPr>
            <c:extLst>
              <c:ext xmlns:c16="http://schemas.microsoft.com/office/drawing/2014/chart" uri="{C3380CC4-5D6E-409C-BE32-E72D297353CC}">
                <c16:uniqueId val="{00000001-C2B5-4A41-B0D4-49D92F5DA1C6}"/>
              </c:ext>
            </c:extLst>
          </c:dPt>
          <c:val>
            <c:numRef>
              <c:f>Sheet1!$A$1:$D$1</c:f>
              <c:numCache>
                <c:formatCode>General</c:formatCode>
                <c:ptCount val="4"/>
                <c:pt idx="0">
                  <c:v>19000000</c:v>
                </c:pt>
                <c:pt idx="1">
                  <c:v>20000000</c:v>
                </c:pt>
                <c:pt idx="2">
                  <c:v>27000000</c:v>
                </c:pt>
                <c:pt idx="3">
                  <c:v>33000000</c:v>
                </c:pt>
              </c:numCache>
            </c:numRef>
          </c:val>
          <c:extLst>
            <c:ext xmlns:c16="http://schemas.microsoft.com/office/drawing/2014/chart" uri="{C3380CC4-5D6E-409C-BE32-E72D297353CC}">
              <c16:uniqueId val="{00000002-C2B5-4A41-B0D4-49D92F5DA1C6}"/>
            </c:ext>
          </c:extLst>
        </c:ser>
        <c:dLbls>
          <c:showLegendKey val="0"/>
          <c:showVal val="0"/>
          <c:showCatName val="0"/>
          <c:showSerName val="0"/>
          <c:showPercent val="0"/>
          <c:showBubbleSize val="0"/>
        </c:dLbls>
        <c:gapWidth val="70"/>
        <c:overlap val="100"/>
        <c:axId val="1372896944"/>
        <c:axId val="1"/>
      </c:barChart>
      <c:catAx>
        <c:axId val="137289694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3000000"/>
          <c:min val="0"/>
        </c:scaling>
        <c:delete val="1"/>
        <c:axPos val="l"/>
        <c:numFmt formatCode="General" sourceLinked="1"/>
        <c:majorTickMark val="out"/>
        <c:minorTickMark val="none"/>
        <c:tickLblPos val="nextTo"/>
        <c:crossAx val="1372896944"/>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38383401772207E-2"/>
          <c:y val="2.417480241748024E-2"/>
          <c:w val="0.97752323319645562"/>
          <c:h val="0.95165039516503946"/>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D16D-4ADA-9BD4-6BF9666AB8E2}"/>
              </c:ext>
            </c:extLst>
          </c:dPt>
          <c:dPt>
            <c:idx val="5"/>
            <c:invertIfNegative val="0"/>
            <c:bubble3D val="0"/>
            <c:spPr>
              <a:solidFill>
                <a:schemeClr val="accent1"/>
              </a:solidFill>
              <a:ln>
                <a:noFill/>
              </a:ln>
            </c:spPr>
            <c:extLst>
              <c:ext xmlns:c16="http://schemas.microsoft.com/office/drawing/2014/chart" uri="{C3380CC4-5D6E-409C-BE32-E72D297353CC}">
                <c16:uniqueId val="{00000001-D16D-4ADA-9BD4-6BF9666AB8E2}"/>
              </c:ext>
            </c:extLst>
          </c:dPt>
          <c:dPt>
            <c:idx val="7"/>
            <c:invertIfNegative val="0"/>
            <c:bubble3D val="0"/>
            <c:spPr>
              <a:solidFill>
                <a:schemeClr val="accent1"/>
              </a:solidFill>
              <a:ln>
                <a:noFill/>
              </a:ln>
            </c:spPr>
            <c:extLst>
              <c:ext xmlns:c16="http://schemas.microsoft.com/office/drawing/2014/chart" uri="{C3380CC4-5D6E-409C-BE32-E72D297353CC}">
                <c16:uniqueId val="{00000002-D16D-4ADA-9BD4-6BF9666AB8E2}"/>
              </c:ext>
            </c:extLst>
          </c:dPt>
          <c:val>
            <c:numRef>
              <c:f>Sheet1!$A$1:$H$1</c:f>
              <c:numCache>
                <c:formatCode>General</c:formatCode>
                <c:ptCount val="8"/>
                <c:pt idx="0">
                  <c:v>33000000</c:v>
                </c:pt>
                <c:pt idx="1">
                  <c:v>28875000</c:v>
                </c:pt>
                <c:pt idx="2">
                  <c:v>28875000</c:v>
                </c:pt>
                <c:pt idx="3">
                  <c:v>26552501.554360464</c:v>
                </c:pt>
                <c:pt idx="4">
                  <c:v>19210061.016765058</c:v>
                </c:pt>
                <c:pt idx="5">
                  <c:v>19210061.016765058</c:v>
                </c:pt>
                <c:pt idx="6">
                  <c:v>14112675.016765058</c:v>
                </c:pt>
                <c:pt idx="7">
                  <c:v>14112675.016765058</c:v>
                </c:pt>
              </c:numCache>
            </c:numRef>
          </c:val>
          <c:extLst>
            <c:ext xmlns:c16="http://schemas.microsoft.com/office/drawing/2014/chart" uri="{C3380CC4-5D6E-409C-BE32-E72D297353CC}">
              <c16:uniqueId val="{00000003-D16D-4ADA-9BD4-6BF9666AB8E2}"/>
            </c:ext>
          </c:extLst>
        </c:ser>
        <c:ser>
          <c:idx val="1"/>
          <c:order val="1"/>
          <c:spPr>
            <a:solidFill>
              <a:schemeClr val="accent3"/>
            </a:solidFill>
            <a:ln>
              <a:noFill/>
            </a:ln>
          </c:spPr>
          <c:invertIfNegative val="0"/>
          <c:val>
            <c:numRef>
              <c:f>Sheet1!$A$2:$H$2</c:f>
              <c:numCache>
                <c:formatCode>General</c:formatCode>
                <c:ptCount val="8"/>
                <c:pt idx="1">
                  <c:v>4125000</c:v>
                </c:pt>
                <c:pt idx="2">
                  <c:v>0</c:v>
                </c:pt>
                <c:pt idx="3">
                  <c:v>2322498.4456395358</c:v>
                </c:pt>
                <c:pt idx="4">
                  <c:v>7342440.5375954062</c:v>
                </c:pt>
                <c:pt idx="6">
                  <c:v>5097386</c:v>
                </c:pt>
              </c:numCache>
            </c:numRef>
          </c:val>
          <c:extLst>
            <c:ext xmlns:c16="http://schemas.microsoft.com/office/drawing/2014/chart" uri="{C3380CC4-5D6E-409C-BE32-E72D297353CC}">
              <c16:uniqueId val="{00000004-D16D-4ADA-9BD4-6BF9666AB8E2}"/>
            </c:ext>
          </c:extLst>
        </c:ser>
        <c:dLbls>
          <c:showLegendKey val="0"/>
          <c:showVal val="0"/>
          <c:showCatName val="0"/>
          <c:showSerName val="0"/>
          <c:showPercent val="0"/>
          <c:showBubbleSize val="0"/>
        </c:dLbls>
        <c:gapWidth val="80"/>
        <c:overlap val="100"/>
        <c:axId val="1786407263"/>
        <c:axId val="1"/>
      </c:barChart>
      <c:catAx>
        <c:axId val="178640726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3000000"/>
          <c:min val="0"/>
        </c:scaling>
        <c:delete val="1"/>
        <c:axPos val="l"/>
        <c:numFmt formatCode="General" sourceLinked="1"/>
        <c:majorTickMark val="out"/>
        <c:minorTickMark val="none"/>
        <c:tickLblPos val="nextTo"/>
        <c:crossAx val="1786407263"/>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923076923076927E-3"/>
          <c:y val="2.5012025012025013E-2"/>
          <c:w val="0.98461538461538467"/>
          <c:h val="0.94997594997595003"/>
        </c:manualLayout>
      </c:layout>
      <c:barChart>
        <c:barDir val="col"/>
        <c:grouping val="stacked"/>
        <c:varyColors val="0"/>
        <c:ser>
          <c:idx val="0"/>
          <c:order val="0"/>
          <c:spPr>
            <a:solidFill>
              <a:schemeClr val="accent3"/>
            </a:solidFill>
            <a:ln>
              <a:noFill/>
            </a:ln>
          </c:spPr>
          <c:invertIfNegative val="0"/>
          <c:val>
            <c:numRef>
              <c:f>Sheet1!$A$1:$J$1</c:f>
              <c:numCache>
                <c:formatCode>General</c:formatCode>
                <c:ptCount val="10"/>
                <c:pt idx="0">
                  <c:v>95000</c:v>
                </c:pt>
                <c:pt idx="1">
                  <c:v>190000</c:v>
                </c:pt>
                <c:pt idx="2">
                  <c:v>190000</c:v>
                </c:pt>
                <c:pt idx="3">
                  <c:v>380000</c:v>
                </c:pt>
                <c:pt idx="4">
                  <c:v>570000</c:v>
                </c:pt>
                <c:pt idx="5">
                  <c:v>950000</c:v>
                </c:pt>
                <c:pt idx="6">
                  <c:v>1425000</c:v>
                </c:pt>
                <c:pt idx="7">
                  <c:v>1900000</c:v>
                </c:pt>
                <c:pt idx="8">
                  <c:v>3800000</c:v>
                </c:pt>
                <c:pt idx="9">
                  <c:v>9500000</c:v>
                </c:pt>
              </c:numCache>
            </c:numRef>
          </c:val>
          <c:extLst>
            <c:ext xmlns:c16="http://schemas.microsoft.com/office/drawing/2014/chart" uri="{C3380CC4-5D6E-409C-BE32-E72D297353CC}">
              <c16:uniqueId val="{00000000-FDF6-4BC0-97E8-A38F60768D65}"/>
            </c:ext>
          </c:extLst>
        </c:ser>
        <c:dLbls>
          <c:showLegendKey val="0"/>
          <c:showVal val="0"/>
          <c:showCatName val="0"/>
          <c:showSerName val="0"/>
          <c:showPercent val="0"/>
          <c:showBubbleSize val="0"/>
        </c:dLbls>
        <c:gapWidth val="80"/>
        <c:overlap val="100"/>
        <c:axId val="1141285311"/>
        <c:axId val="1"/>
      </c:barChart>
      <c:catAx>
        <c:axId val="114128531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500000"/>
          <c:min val="0"/>
        </c:scaling>
        <c:delete val="1"/>
        <c:axPos val="l"/>
        <c:numFmt formatCode="General" sourceLinked="1"/>
        <c:majorTickMark val="out"/>
        <c:minorTickMark val="none"/>
        <c:tickLblPos val="nextTo"/>
        <c:crossAx val="1141285311"/>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657765061198533E-3"/>
          <c:y val="0.14207650273224043"/>
          <c:w val="0.98346844698776026"/>
          <c:h val="0.71584699453551914"/>
        </c:manualLayout>
      </c:layout>
      <c:barChart>
        <c:barDir val="col"/>
        <c:grouping val="stacked"/>
        <c:varyColors val="0"/>
        <c:ser>
          <c:idx val="0"/>
          <c:order val="0"/>
          <c:spPr>
            <a:solidFill>
              <a:schemeClr val="accent1"/>
            </a:solidFill>
            <a:ln>
              <a:noFill/>
            </a:ln>
          </c:spPr>
          <c:invertIfNegative val="0"/>
          <c:val>
            <c:numRef>
              <c:f>Sheet1!$A$1:$N$1</c:f>
              <c:numCache>
                <c:formatCode>General</c:formatCode>
                <c:ptCount val="14"/>
                <c:pt idx="0">
                  <c:v>28298.520109373585</c:v>
                </c:pt>
                <c:pt idx="1">
                  <c:v>28862.820071375034</c:v>
                </c:pt>
                <c:pt idx="2">
                  <c:v>29469.231970839275</c:v>
                </c:pt>
                <c:pt idx="3">
                  <c:v>30234.265501413382</c:v>
                </c:pt>
                <c:pt idx="4">
                  <c:v>31779.773606297942</c:v>
                </c:pt>
                <c:pt idx="5">
                  <c:v>33325.281711182506</c:v>
                </c:pt>
                <c:pt idx="6">
                  <c:v>34870.789816067067</c:v>
                </c:pt>
                <c:pt idx="7">
                  <c:v>36416.297920951634</c:v>
                </c:pt>
                <c:pt idx="8">
                  <c:v>37961.806025836187</c:v>
                </c:pt>
                <c:pt idx="9">
                  <c:v>39476.853162622661</c:v>
                </c:pt>
                <c:pt idx="10">
                  <c:v>40991.900299409135</c:v>
                </c:pt>
                <c:pt idx="11">
                  <c:v>42506.947436195609</c:v>
                </c:pt>
                <c:pt idx="12">
                  <c:v>44021.994572982076</c:v>
                </c:pt>
                <c:pt idx="13">
                  <c:v>45537.041709768549</c:v>
                </c:pt>
              </c:numCache>
            </c:numRef>
          </c:val>
          <c:extLst>
            <c:ext xmlns:c16="http://schemas.microsoft.com/office/drawing/2014/chart" uri="{C3380CC4-5D6E-409C-BE32-E72D297353CC}">
              <c16:uniqueId val="{00000000-49FD-4925-80F2-98346BC76C65}"/>
            </c:ext>
          </c:extLst>
        </c:ser>
        <c:dLbls>
          <c:showLegendKey val="0"/>
          <c:showVal val="0"/>
          <c:showCatName val="0"/>
          <c:showSerName val="0"/>
          <c:showPercent val="0"/>
          <c:showBubbleSize val="0"/>
        </c:dLbls>
        <c:gapWidth val="80"/>
        <c:overlap val="100"/>
        <c:axId val="1141289055"/>
        <c:axId val="1"/>
      </c:barChart>
      <c:catAx>
        <c:axId val="114128905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5537.041709768549"/>
          <c:min val="0"/>
        </c:scaling>
        <c:delete val="1"/>
        <c:axPos val="l"/>
        <c:numFmt formatCode="General" sourceLinked="1"/>
        <c:majorTickMark val="out"/>
        <c:minorTickMark val="none"/>
        <c:tickLblPos val="nextTo"/>
        <c:crossAx val="1141289055"/>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657765061198533E-3"/>
          <c:y val="0.2139917695473251"/>
          <c:w val="0.98346844698776026"/>
          <c:h val="0.57201646090534974"/>
        </c:manualLayout>
      </c:layout>
      <c:barChart>
        <c:barDir val="col"/>
        <c:grouping val="stacked"/>
        <c:varyColors val="0"/>
        <c:ser>
          <c:idx val="0"/>
          <c:order val="0"/>
          <c:spPr>
            <a:solidFill>
              <a:schemeClr val="accent1"/>
            </a:solidFill>
            <a:ln>
              <a:noFill/>
            </a:ln>
          </c:spPr>
          <c:invertIfNegative val="0"/>
          <c:val>
            <c:numRef>
              <c:f>Sheet1!$A$1:$N$1</c:f>
              <c:numCache>
                <c:formatCode>General</c:formatCode>
                <c:ptCount val="14"/>
                <c:pt idx="0">
                  <c:v>13934229.71425931</c:v>
                </c:pt>
                <c:pt idx="1">
                  <c:v>16891429.278286327</c:v>
                </c:pt>
                <c:pt idx="2">
                  <c:v>19000000</c:v>
                </c:pt>
                <c:pt idx="3">
                  <c:v>20141737.414151859</c:v>
                </c:pt>
                <c:pt idx="4">
                  <c:v>21355856.582338732</c:v>
                </c:pt>
                <c:pt idx="5">
                  <c:v>22646599.547551751</c:v>
                </c:pt>
                <c:pt idx="6">
                  <c:v>24018456.964175604</c:v>
                </c:pt>
                <c:pt idx="7">
                  <c:v>25476182.668238088</c:v>
                </c:pt>
                <c:pt idx="8">
                  <c:v>27024809.101571333</c:v>
                </c:pt>
                <c:pt idx="9">
                  <c:v>28151690.70615834</c:v>
                </c:pt>
                <c:pt idx="10">
                  <c:v>29328978.043695103</c:v>
                </c:pt>
                <c:pt idx="11">
                  <c:v>30558749.124089289</c:v>
                </c:pt>
                <c:pt idx="12">
                  <c:v>31843167.624590784</c:v>
                </c:pt>
                <c:pt idx="13">
                  <c:v>33184486.421484984</c:v>
                </c:pt>
              </c:numCache>
            </c:numRef>
          </c:val>
          <c:extLst>
            <c:ext xmlns:c16="http://schemas.microsoft.com/office/drawing/2014/chart" uri="{C3380CC4-5D6E-409C-BE32-E72D297353CC}">
              <c16:uniqueId val="{00000000-A569-48DB-A4BF-07538F618790}"/>
            </c:ext>
          </c:extLst>
        </c:ser>
        <c:dLbls>
          <c:showLegendKey val="0"/>
          <c:showVal val="0"/>
          <c:showCatName val="0"/>
          <c:showSerName val="0"/>
          <c:showPercent val="0"/>
          <c:showBubbleSize val="0"/>
        </c:dLbls>
        <c:gapWidth val="80"/>
        <c:overlap val="100"/>
        <c:axId val="1141327743"/>
        <c:axId val="1"/>
      </c:barChart>
      <c:catAx>
        <c:axId val="11413277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3184486.421484984"/>
          <c:min val="0"/>
        </c:scaling>
        <c:delete val="1"/>
        <c:axPos val="l"/>
        <c:numFmt formatCode="General" sourceLinked="1"/>
        <c:majorTickMark val="out"/>
        <c:minorTickMark val="none"/>
        <c:tickLblPos val="nextTo"/>
        <c:crossAx val="1141327743"/>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657765061198533E-3"/>
          <c:y val="0.31155778894472363"/>
          <c:w val="0.98346844698776026"/>
          <c:h val="0.55778894472361806"/>
        </c:manualLayout>
      </c:layout>
      <c:barChart>
        <c:barDir val="col"/>
        <c:grouping val="stacked"/>
        <c:varyColors val="0"/>
        <c:ser>
          <c:idx val="0"/>
          <c:order val="0"/>
          <c:spPr>
            <a:solidFill>
              <a:schemeClr val="accent3"/>
            </a:solidFill>
            <a:ln>
              <a:noFill/>
            </a:ln>
          </c:spPr>
          <c:invertIfNegative val="0"/>
          <c:dLbls>
            <c:dLbl>
              <c:idx val="0"/>
              <c:layout>
                <c:manualLayout>
                  <c:x val="0"/>
                  <c:y val="-0.43216080402010049"/>
                </c:manualLayout>
              </c:layout>
              <c:numFmt formatCode="#,##0&quot;%&quot;;&quot;-&quot;#,##0&quot;%&quot;" sourceLinked="0"/>
              <c:spPr>
                <a:noFill/>
                <a:ln>
                  <a:noFill/>
                </a:ln>
              </c:spPr>
              <c:txPr>
                <a:bodyPr wrap="none"/>
                <a:lstStyle/>
                <a:p>
                  <a:pPr>
                    <a:defRPr sz="1000">
                      <a:solidFill>
                        <a:schemeClr val="tx1"/>
                      </a:solidFill>
                      <a:latin typeface="Corbel"/>
                      <a:ea typeface="Corbel"/>
                      <a:cs typeface="Corbel"/>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993-4DEC-AB75-6D71A91563A8}"/>
                </c:ext>
              </c:extLst>
            </c:dLbl>
            <c:dLbl>
              <c:idx val="1"/>
              <c:layout>
                <c:manualLayout>
                  <c:x val="0"/>
                  <c:y val="-0.43467336683417085"/>
                </c:manualLayout>
              </c:layout>
              <c:numFmt formatCode="#,##0&quot;%&quot;;&quot;-&quot;#,##0&quot;%&quot;" sourceLinked="0"/>
              <c:spPr>
                <a:noFill/>
                <a:ln>
                  <a:noFill/>
                </a:ln>
              </c:spPr>
              <c:txPr>
                <a:bodyPr wrap="none"/>
                <a:lstStyle/>
                <a:p>
                  <a:pPr>
                    <a:defRPr sz="1000">
                      <a:solidFill>
                        <a:schemeClr val="tx1"/>
                      </a:solidFill>
                      <a:latin typeface="Corbel"/>
                      <a:ea typeface="Corbel"/>
                      <a:cs typeface="Corbel"/>
                      <a:sym typeface="Corbel"/>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993-4DEC-AB75-6D71A91563A8}"/>
                </c:ext>
              </c:extLst>
            </c:dLbl>
            <c:dLbl>
              <c:idx val="2"/>
              <c:layout>
                <c:manualLayout>
                  <c:x val="0"/>
                  <c:y val="-0.43216080402010049"/>
                </c:manualLayout>
              </c:layout>
              <c:numFmt formatCode="#,##0&quot;%&quot;;&quot;-&quot;#,##0&quot;%&quot;" sourceLinked="0"/>
              <c:spPr>
                <a:noFill/>
                <a:ln>
                  <a:noFill/>
                </a:ln>
              </c:spPr>
              <c:txPr>
                <a:bodyPr wrap="none"/>
                <a:lstStyle/>
                <a:p>
                  <a:pPr>
                    <a:defRPr sz="1000">
                      <a:solidFill>
                        <a:schemeClr val="tx1"/>
                      </a:solidFill>
                      <a:latin typeface="Corbel"/>
                      <a:ea typeface="Corbel"/>
                      <a:cs typeface="Corbel"/>
                      <a:sym typeface="Corbel"/>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993-4DEC-AB75-6D71A91563A8}"/>
                </c:ext>
              </c:extLst>
            </c:dLbl>
            <c:dLbl>
              <c:idx val="3"/>
              <c:layout>
                <c:manualLayout>
                  <c:x val="0"/>
                  <c:y val="-0.43467336683417085"/>
                </c:manualLayout>
              </c:layout>
              <c:numFmt formatCode="#,##0&quot;%&quot;;&quot;-&quot;#,##0&quot;%&quot;" sourceLinked="0"/>
              <c:spPr>
                <a:noFill/>
                <a:ln>
                  <a:noFill/>
                </a:ln>
              </c:spPr>
              <c:txPr>
                <a:bodyPr wrap="none"/>
                <a:lstStyle/>
                <a:p>
                  <a:pPr>
                    <a:defRPr sz="1000">
                      <a:solidFill>
                        <a:schemeClr val="tx1"/>
                      </a:solidFill>
                      <a:latin typeface="Corbel"/>
                      <a:ea typeface="Corbel"/>
                      <a:cs typeface="Corbel"/>
                      <a:sym typeface="Corbel"/>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993-4DEC-AB75-6D71A91563A8}"/>
                </c:ext>
              </c:extLst>
            </c:dLbl>
            <c:dLbl>
              <c:idx val="4"/>
              <c:layout>
                <c:manualLayout>
                  <c:x val="0"/>
                  <c:y val="-0.42964824120603012"/>
                </c:manualLayout>
              </c:layout>
              <c:numFmt formatCode="#,##0&quot;%&quot;;&quot;-&quot;#,##0&quot;%&quot;" sourceLinked="0"/>
              <c:spPr>
                <a:noFill/>
                <a:ln>
                  <a:noFill/>
                </a:ln>
              </c:spPr>
              <c:txPr>
                <a:bodyPr wrap="none"/>
                <a:lstStyle/>
                <a:p>
                  <a:pPr>
                    <a:defRPr sz="1000">
                      <a:solidFill>
                        <a:schemeClr val="tx1"/>
                      </a:solidFill>
                      <a:latin typeface="Corbel"/>
                      <a:ea typeface="Corbel"/>
                      <a:cs typeface="Corbel"/>
                      <a:sym typeface="Corbel"/>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993-4DEC-AB75-6D71A91563A8}"/>
                </c:ext>
              </c:extLst>
            </c:dLbl>
            <c:dLbl>
              <c:idx val="5"/>
              <c:layout>
                <c:manualLayout>
                  <c:x val="0"/>
                  <c:y val="-0.42211055276381909"/>
                </c:manualLayout>
              </c:layout>
              <c:numFmt formatCode="#,##0&quot;%&quot;;&quot;-&quot;#,##0&quot;%&quot;" sourceLinked="0"/>
              <c:spPr>
                <a:noFill/>
                <a:ln>
                  <a:noFill/>
                </a:ln>
              </c:spPr>
              <c:txPr>
                <a:bodyPr wrap="none"/>
                <a:lstStyle/>
                <a:p>
                  <a:pPr>
                    <a:defRPr sz="1000">
                      <a:solidFill>
                        <a:schemeClr val="tx1"/>
                      </a:solidFill>
                      <a:latin typeface="Corbel"/>
                      <a:ea typeface="Corbel"/>
                      <a:cs typeface="Corbel"/>
                      <a:sym typeface="Corbel"/>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993-4DEC-AB75-6D71A91563A8}"/>
                </c:ext>
              </c:extLst>
            </c:dLbl>
            <c:dLbl>
              <c:idx val="6"/>
              <c:layout>
                <c:manualLayout>
                  <c:x val="0"/>
                  <c:y val="-0.41959798994974873"/>
                </c:manualLayout>
              </c:layout>
              <c:numFmt formatCode="#,##0&quot;%&quot;;&quot;-&quot;#,##0&quot;%&quot;" sourceLinked="0"/>
              <c:spPr>
                <a:noFill/>
                <a:ln>
                  <a:noFill/>
                </a:ln>
              </c:spPr>
              <c:txPr>
                <a:bodyPr wrap="none"/>
                <a:lstStyle/>
                <a:p>
                  <a:pPr>
                    <a:defRPr sz="1000">
                      <a:solidFill>
                        <a:schemeClr val="tx1"/>
                      </a:solidFill>
                      <a:latin typeface="Corbel"/>
                      <a:ea typeface="Corbel"/>
                      <a:cs typeface="Corbel"/>
                      <a:sym typeface="Corbel"/>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993-4DEC-AB75-6D71A91563A8}"/>
                </c:ext>
              </c:extLst>
            </c:dLbl>
            <c:dLbl>
              <c:idx val="7"/>
              <c:layout>
                <c:manualLayout>
                  <c:x val="0"/>
                  <c:y val="-0.41457286432160806"/>
                </c:manualLayout>
              </c:layout>
              <c:numFmt formatCode="#,##0&quot;%&quot;;&quot;-&quot;#,##0&quot;%&quot;" sourceLinked="0"/>
              <c:spPr>
                <a:noFill/>
                <a:ln>
                  <a:noFill/>
                </a:ln>
              </c:spPr>
              <c:txPr>
                <a:bodyPr wrap="none"/>
                <a:lstStyle/>
                <a:p>
                  <a:pPr>
                    <a:defRPr sz="1000">
                      <a:solidFill>
                        <a:schemeClr val="tx1"/>
                      </a:solidFill>
                      <a:latin typeface="Corbel"/>
                      <a:ea typeface="Corbel"/>
                      <a:cs typeface="Corbel"/>
                      <a:sym typeface="Corbel"/>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993-4DEC-AB75-6D71A91563A8}"/>
                </c:ext>
              </c:extLst>
            </c:dLbl>
            <c:dLbl>
              <c:idx val="8"/>
              <c:layout>
                <c:manualLayout>
                  <c:x val="0"/>
                  <c:y val="-0.41457286432160806"/>
                </c:manualLayout>
              </c:layout>
              <c:numFmt formatCode="#,##0&quot;%&quot;;&quot;-&quot;#,##0&quot;%&quot;" sourceLinked="0"/>
              <c:spPr>
                <a:noFill/>
                <a:ln>
                  <a:noFill/>
                </a:ln>
              </c:spPr>
              <c:txPr>
                <a:bodyPr wrap="none"/>
                <a:lstStyle/>
                <a:p>
                  <a:pPr>
                    <a:defRPr sz="1000">
                      <a:solidFill>
                        <a:schemeClr val="tx1"/>
                      </a:solidFill>
                      <a:latin typeface="Corbel"/>
                      <a:ea typeface="Corbel"/>
                      <a:cs typeface="Corbel"/>
                      <a:sym typeface="Corbel"/>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993-4DEC-AB75-6D71A91563A8}"/>
                </c:ext>
              </c:extLst>
            </c:dLbl>
            <c:dLbl>
              <c:idx val="9"/>
              <c:layout>
                <c:manualLayout>
                  <c:x val="0"/>
                  <c:y val="-0.4120603015075377"/>
                </c:manualLayout>
              </c:layout>
              <c:numFmt formatCode="#,##0&quot;%&quot;;&quot;-&quot;#,##0&quot;%&quot;" sourceLinked="0"/>
              <c:spPr>
                <a:noFill/>
                <a:ln>
                  <a:noFill/>
                </a:ln>
              </c:spPr>
              <c:txPr>
                <a:bodyPr wrap="none"/>
                <a:lstStyle/>
                <a:p>
                  <a:pPr>
                    <a:defRPr sz="1000">
                      <a:solidFill>
                        <a:schemeClr val="tx1"/>
                      </a:solidFill>
                      <a:latin typeface="Corbel"/>
                      <a:ea typeface="Corbel"/>
                      <a:cs typeface="Corbel"/>
                      <a:sym typeface="Corbel"/>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993-4DEC-AB75-6D71A91563A8}"/>
                </c:ext>
              </c:extLst>
            </c:dLbl>
            <c:dLbl>
              <c:idx val="10"/>
              <c:layout>
                <c:manualLayout>
                  <c:x val="0"/>
                  <c:y val="-0.40703517587939697"/>
                </c:manualLayout>
              </c:layout>
              <c:numFmt formatCode="#,##0&quot;%&quot;;&quot;-&quot;#,##0&quot;%&quot;" sourceLinked="0"/>
              <c:spPr>
                <a:noFill/>
                <a:ln>
                  <a:noFill/>
                </a:ln>
              </c:spPr>
              <c:txPr>
                <a:bodyPr wrap="none"/>
                <a:lstStyle/>
                <a:p>
                  <a:pPr>
                    <a:defRPr sz="1000">
                      <a:solidFill>
                        <a:schemeClr val="tx1"/>
                      </a:solidFill>
                      <a:latin typeface="Corbel"/>
                      <a:ea typeface="Corbel"/>
                      <a:cs typeface="Corbel"/>
                      <a:sym typeface="Corbel"/>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993-4DEC-AB75-6D71A91563A8}"/>
                </c:ext>
              </c:extLst>
            </c:dLbl>
            <c:dLbl>
              <c:idx val="11"/>
              <c:layout>
                <c:manualLayout>
                  <c:x val="0"/>
                  <c:y val="-0.40703517587939697"/>
                </c:manualLayout>
              </c:layout>
              <c:numFmt formatCode="#,##0&quot;%&quot;;&quot;-&quot;#,##0&quot;%&quot;" sourceLinked="0"/>
              <c:spPr>
                <a:noFill/>
                <a:ln>
                  <a:noFill/>
                </a:ln>
              </c:spPr>
              <c:txPr>
                <a:bodyPr wrap="none"/>
                <a:lstStyle/>
                <a:p>
                  <a:pPr>
                    <a:defRPr sz="1000">
                      <a:solidFill>
                        <a:schemeClr val="tx1"/>
                      </a:solidFill>
                      <a:latin typeface="Corbel"/>
                      <a:ea typeface="Corbel"/>
                      <a:cs typeface="Corbel"/>
                      <a:sym typeface="Corbel"/>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993-4DEC-AB75-6D71A91563A8}"/>
                </c:ext>
              </c:extLst>
            </c:dLbl>
            <c:dLbl>
              <c:idx val="12"/>
              <c:layout>
                <c:manualLayout>
                  <c:x val="0"/>
                  <c:y val="-0.40452261306532661"/>
                </c:manualLayout>
              </c:layout>
              <c:numFmt formatCode="#,##0&quot;%&quot;;&quot;-&quot;#,##0&quot;%&quot;" sourceLinked="0"/>
              <c:spPr>
                <a:noFill/>
                <a:ln>
                  <a:noFill/>
                </a:ln>
              </c:spPr>
              <c:txPr>
                <a:bodyPr wrap="none"/>
                <a:lstStyle/>
                <a:p>
                  <a:pPr>
                    <a:defRPr sz="1000">
                      <a:solidFill>
                        <a:schemeClr val="tx1"/>
                      </a:solidFill>
                      <a:latin typeface="Corbel"/>
                      <a:ea typeface="Corbel"/>
                      <a:cs typeface="Corbel"/>
                      <a:sym typeface="Corbel"/>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993-4DEC-AB75-6D71A91563A8}"/>
                </c:ext>
              </c:extLst>
            </c:dLbl>
            <c:dLbl>
              <c:idx val="13"/>
              <c:layout>
                <c:manualLayout>
                  <c:x val="0"/>
                  <c:y val="-0.40452261306532661"/>
                </c:manualLayout>
              </c:layout>
              <c:numFmt formatCode="#,##0&quot;%&quot;;&quot;-&quot;#,##0&quot;%&quot;" sourceLinked="0"/>
              <c:spPr>
                <a:noFill/>
                <a:ln>
                  <a:noFill/>
                </a:ln>
              </c:spPr>
              <c:txPr>
                <a:bodyPr wrap="none"/>
                <a:lstStyle/>
                <a:p>
                  <a:pPr>
                    <a:defRPr sz="1000">
                      <a:solidFill>
                        <a:schemeClr val="tx1"/>
                      </a:solidFill>
                      <a:latin typeface="Corbel"/>
                      <a:ea typeface="Corbel"/>
                      <a:cs typeface="Corbel"/>
                      <a:sym typeface="Corbel"/>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993-4DEC-AB75-6D71A91563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76.641499835809498</c:v>
                </c:pt>
                <c:pt idx="1">
                  <c:v>77.406176960134204</c:v>
                </c:pt>
                <c:pt idx="2">
                  <c:v>76.350819126417861</c:v>
                </c:pt>
                <c:pt idx="3">
                  <c:v>76.945894847827262</c:v>
                </c:pt>
                <c:pt idx="4">
                  <c:v>75.608003314092713</c:v>
                </c:pt>
                <c:pt idx="5">
                  <c:v>74.394205087461359</c:v>
                </c:pt>
                <c:pt idx="6">
                  <c:v>73.288000351361688</c:v>
                </c:pt>
                <c:pt idx="7">
                  <c:v>72.275690298846499</c:v>
                </c:pt>
                <c:pt idx="8">
                  <c:v>71.345806956470113</c:v>
                </c:pt>
                <c:pt idx="9">
                  <c:v>70.730394058267251</c:v>
                </c:pt>
                <c:pt idx="10">
                  <c:v>70.160472076199198</c:v>
                </c:pt>
                <c:pt idx="11">
                  <c:v>69.631176801961431</c:v>
                </c:pt>
                <c:pt idx="12">
                  <c:v>69.138313647509591</c:v>
                </c:pt>
                <c:pt idx="13">
                  <c:v>68.678246251541097</c:v>
                </c:pt>
              </c:numCache>
            </c:numRef>
          </c:val>
          <c:extLst>
            <c:ext xmlns:c16="http://schemas.microsoft.com/office/drawing/2014/chart" uri="{C3380CC4-5D6E-409C-BE32-E72D297353CC}">
              <c16:uniqueId val="{0000000E-7993-4DEC-AB75-6D71A91563A8}"/>
            </c:ext>
          </c:extLst>
        </c:ser>
        <c:dLbls>
          <c:showLegendKey val="0"/>
          <c:showVal val="0"/>
          <c:showCatName val="0"/>
          <c:showSerName val="0"/>
          <c:showPercent val="0"/>
          <c:showBubbleSize val="0"/>
        </c:dLbls>
        <c:gapWidth val="80"/>
        <c:overlap val="100"/>
        <c:axId val="1365397151"/>
        <c:axId val="1"/>
      </c:barChart>
      <c:catAx>
        <c:axId val="136539715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7.406176960134204"/>
          <c:min val="0"/>
        </c:scaling>
        <c:delete val="1"/>
        <c:axPos val="l"/>
        <c:numFmt formatCode="General" sourceLinked="1"/>
        <c:majorTickMark val="out"/>
        <c:minorTickMark val="none"/>
        <c:tickLblPos val="nextTo"/>
        <c:crossAx val="1365397151"/>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657765061198533E-3"/>
          <c:y val="0.15709969788519637"/>
          <c:w val="0.98346844698776026"/>
          <c:h val="0.6858006042296072"/>
        </c:manualLayout>
      </c:layout>
      <c:barChart>
        <c:barDir val="col"/>
        <c:grouping val="stacked"/>
        <c:varyColors val="0"/>
        <c:ser>
          <c:idx val="0"/>
          <c:order val="0"/>
          <c:spPr>
            <a:solidFill>
              <a:schemeClr val="accent1"/>
            </a:solidFill>
            <a:ln>
              <a:noFill/>
            </a:ln>
          </c:spPr>
          <c:invertIfNegative val="0"/>
          <c:val>
            <c:numRef>
              <c:f>Sheet1!$A$1:$N$1</c:f>
              <c:numCache>
                <c:formatCode>General</c:formatCode>
                <c:ptCount val="14"/>
                <c:pt idx="0">
                  <c:v>21688.410243162074</c:v>
                </c:pt>
                <c:pt idx="1">
                  <c:v>22341.605580133692</c:v>
                </c:pt>
                <c:pt idx="2">
                  <c:v>22500</c:v>
                </c:pt>
                <c:pt idx="3">
                  <c:v>23264.026140730453</c:v>
                </c:pt>
                <c:pt idx="4">
                  <c:v>24028.05228146091</c:v>
                </c:pt>
                <c:pt idx="5">
                  <c:v>24792.078422191367</c:v>
                </c:pt>
                <c:pt idx="6">
                  <c:v>25556.104562921824</c:v>
                </c:pt>
                <c:pt idx="7">
                  <c:v>26320.130703652278</c:v>
                </c:pt>
                <c:pt idx="8">
                  <c:v>27084.156844382727</c:v>
                </c:pt>
                <c:pt idx="9">
                  <c:v>27922.133803726549</c:v>
                </c:pt>
                <c:pt idx="10">
                  <c:v>28760.110763070363</c:v>
                </c:pt>
                <c:pt idx="11">
                  <c:v>29598.08772241418</c:v>
                </c:pt>
                <c:pt idx="12">
                  <c:v>30436.064681757998</c:v>
                </c:pt>
                <c:pt idx="13">
                  <c:v>31274.041641101823</c:v>
                </c:pt>
              </c:numCache>
            </c:numRef>
          </c:val>
          <c:extLst>
            <c:ext xmlns:c16="http://schemas.microsoft.com/office/drawing/2014/chart" uri="{C3380CC4-5D6E-409C-BE32-E72D297353CC}">
              <c16:uniqueId val="{00000000-DF46-487B-8347-D6ED82C1CA19}"/>
            </c:ext>
          </c:extLst>
        </c:ser>
        <c:dLbls>
          <c:showLegendKey val="0"/>
          <c:showVal val="0"/>
          <c:showCatName val="0"/>
          <c:showSerName val="0"/>
          <c:showPercent val="0"/>
          <c:showBubbleSize val="0"/>
        </c:dLbls>
        <c:gapWidth val="80"/>
        <c:overlap val="100"/>
        <c:axId val="1141242879"/>
        <c:axId val="1"/>
      </c:barChart>
      <c:catAx>
        <c:axId val="114124287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1274.041641101823"/>
          <c:min val="0"/>
        </c:scaling>
        <c:delete val="1"/>
        <c:axPos val="l"/>
        <c:numFmt formatCode="General" sourceLinked="1"/>
        <c:majorTickMark val="out"/>
        <c:minorTickMark val="none"/>
        <c:tickLblPos val="nextTo"/>
        <c:crossAx val="1141242879"/>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NULL"/></Relationships>
</file>

<file path=ppt/drawings/_rels/vmlDrawing26.vml.rels><?xml version="1.0" encoding="UTF-8" standalone="yes"?>
<Relationships xmlns="http://schemas.openxmlformats.org/package/2006/relationships"><Relationship Id="rId1" Type="http://schemas.openxmlformats.org/officeDocument/2006/relationships/image" Target="NULL"/></Relationships>
</file>

<file path=ppt/drawings/_rels/vmlDrawing27.vml.rels><?xml version="1.0" encoding="UTF-8" standalone="yes"?>
<Relationships xmlns="http://schemas.openxmlformats.org/package/2006/relationships"><Relationship Id="rId1" Type="http://schemas.openxmlformats.org/officeDocument/2006/relationships/image" Target="NULL"/></Relationships>
</file>

<file path=ppt/drawings/_rels/vmlDrawing28.vml.rels><?xml version="1.0" encoding="UTF-8" standalone="yes"?>
<Relationships xmlns="http://schemas.openxmlformats.org/package/2006/relationships"><Relationship Id="rId1" Type="http://schemas.openxmlformats.org/officeDocument/2006/relationships/image" Target="NULL"/></Relationships>
</file>

<file path=ppt/drawings/_rels/vmlDrawing29.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30.vml.rels><?xml version="1.0" encoding="UTF-8" standalone="yes"?>
<Relationships xmlns="http://schemas.openxmlformats.org/package/2006/relationships"><Relationship Id="rId1" Type="http://schemas.openxmlformats.org/officeDocument/2006/relationships/image" Target="NULL"/></Relationships>
</file>

<file path=ppt/drawings/_rels/vmlDrawing31.vml.rels><?xml version="1.0" encoding="UTF-8" standalone="yes"?>
<Relationships xmlns="http://schemas.openxmlformats.org/package/2006/relationships"><Relationship Id="rId1" Type="http://schemas.openxmlformats.org/officeDocument/2006/relationships/image" Target="NULL"/></Relationships>
</file>

<file path=ppt/drawings/_rels/vmlDrawing32.vml.rels><?xml version="1.0" encoding="UTF-8" standalone="yes"?>
<Relationships xmlns="http://schemas.openxmlformats.org/package/2006/relationships"><Relationship Id="rId1" Type="http://schemas.openxmlformats.org/officeDocument/2006/relationships/image" Target="NULL"/></Relationships>
</file>

<file path=ppt/drawings/_rels/vmlDrawing33.vml.rels><?xml version="1.0" encoding="UTF-8" standalone="yes"?>
<Relationships xmlns="http://schemas.openxmlformats.org/package/2006/relationships"><Relationship Id="rId1" Type="http://schemas.openxmlformats.org/officeDocument/2006/relationships/image" Target="NULL"/></Relationships>
</file>

<file path=ppt/drawings/_rels/vmlDrawing34.vml.rels><?xml version="1.0" encoding="UTF-8" standalone="yes"?>
<Relationships xmlns="http://schemas.openxmlformats.org/package/2006/relationships"><Relationship Id="rId1" Type="http://schemas.openxmlformats.org/officeDocument/2006/relationships/image" Target="NULL"/></Relationships>
</file>

<file path=ppt/drawings/_rels/vmlDrawing35.vml.rels><?xml version="1.0" encoding="UTF-8" standalone="yes"?>
<Relationships xmlns="http://schemas.openxmlformats.org/package/2006/relationships"><Relationship Id="rId1" Type="http://schemas.openxmlformats.org/officeDocument/2006/relationships/image" Target="NULL"/></Relationships>
</file>

<file path=ppt/drawings/_rels/vmlDrawing36.vml.rels><?xml version="1.0" encoding="UTF-8" standalone="yes"?>
<Relationships xmlns="http://schemas.openxmlformats.org/package/2006/relationships"><Relationship Id="rId1" Type="http://schemas.openxmlformats.org/officeDocument/2006/relationships/image" Target="NULL"/></Relationships>
</file>

<file path=ppt/drawings/_rels/vmlDrawing37.vml.rels><?xml version="1.0" encoding="UTF-8" standalone="yes"?>
<Relationships xmlns="http://schemas.openxmlformats.org/package/2006/relationships"><Relationship Id="rId1" Type="http://schemas.openxmlformats.org/officeDocument/2006/relationships/image" Target="NULL"/></Relationships>
</file>

<file path=ppt/drawings/_rels/vmlDrawing38.vml.rels><?xml version="1.0" encoding="UTF-8" standalone="yes"?>
<Relationships xmlns="http://schemas.openxmlformats.org/package/2006/relationships"><Relationship Id="rId1" Type="http://schemas.openxmlformats.org/officeDocument/2006/relationships/image" Target="NULL"/></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40.vml.rels><?xml version="1.0" encoding="UTF-8" standalone="yes"?>
<Relationships xmlns="http://schemas.openxmlformats.org/package/2006/relationships"><Relationship Id="rId1" Type="http://schemas.openxmlformats.org/officeDocument/2006/relationships/image" Target="NULL"/></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NULL"/></Relationships>
</file>

<file path=ppt/drawings/_rels/vmlDrawing43.vml.rels><?xml version="1.0" encoding="UTF-8" standalone="yes"?>
<Relationships xmlns="http://schemas.openxmlformats.org/package/2006/relationships"><Relationship Id="rId1" Type="http://schemas.openxmlformats.org/officeDocument/2006/relationships/image" Target="NULL"/></Relationships>
</file>

<file path=ppt/drawings/_rels/vmlDrawing44.vml.rels><?xml version="1.0" encoding="UTF-8" standalone="yes"?>
<Relationships xmlns="http://schemas.openxmlformats.org/package/2006/relationships"><Relationship Id="rId1" Type="http://schemas.openxmlformats.org/officeDocument/2006/relationships/image" Target="NULL"/></Relationships>
</file>

<file path=ppt/drawings/_rels/vmlDrawing45.vml.rels><?xml version="1.0" encoding="UTF-8" standalone="yes"?>
<Relationships xmlns="http://schemas.openxmlformats.org/package/2006/relationships"><Relationship Id="rId1" Type="http://schemas.openxmlformats.org/officeDocument/2006/relationships/image" Target="NULL"/></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NULL"/></Relationships>
</file>

<file path=ppt/drawings/_rels/vmlDrawing48.vml.rels><?xml version="1.0" encoding="UTF-8" standalone="yes"?>
<Relationships xmlns="http://schemas.openxmlformats.org/package/2006/relationships"><Relationship Id="rId1" Type="http://schemas.openxmlformats.org/officeDocument/2006/relationships/image" Target="NULL"/></Relationships>
</file>

<file path=ppt/drawings/_rels/vmlDrawing49.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NULL"/></Relationships>
</file>

<file path=ppt/drawings/_rels/vmlDrawing52.vml.rels><?xml version="1.0" encoding="UTF-8" standalone="yes"?>
<Relationships xmlns="http://schemas.openxmlformats.org/package/2006/relationships"><Relationship Id="rId1" Type="http://schemas.openxmlformats.org/officeDocument/2006/relationships/image" Target="NULL"/></Relationships>
</file>

<file path=ppt/drawings/_rels/vmlDrawing53.vml.rels><?xml version="1.0" encoding="UTF-8" standalone="yes"?>
<Relationships xmlns="http://schemas.openxmlformats.org/package/2006/relationships"><Relationship Id="rId1" Type="http://schemas.openxmlformats.org/officeDocument/2006/relationships/image" Target="NULL"/></Relationships>
</file>

<file path=ppt/drawings/_rels/vmlDrawing54.vml.rels><?xml version="1.0" encoding="UTF-8" standalone="yes"?>
<Relationships xmlns="http://schemas.openxmlformats.org/package/2006/relationships"><Relationship Id="rId1" Type="http://schemas.openxmlformats.org/officeDocument/2006/relationships/image" Target="NULL"/></Relationships>
</file>

<file path=ppt/drawings/_rels/vmlDrawing55.vml.rels><?xml version="1.0" encoding="UTF-8" standalone="yes"?>
<Relationships xmlns="http://schemas.openxmlformats.org/package/2006/relationships"><Relationship Id="rId1" Type="http://schemas.openxmlformats.org/officeDocument/2006/relationships/image" Target="NULL"/></Relationships>
</file>

<file path=ppt/drawings/_rels/vmlDrawing56.vml.rels><?xml version="1.0" encoding="UTF-8" standalone="yes"?>
<Relationships xmlns="http://schemas.openxmlformats.org/package/2006/relationships"><Relationship Id="rId1" Type="http://schemas.openxmlformats.org/officeDocument/2006/relationships/image" Target="NULL"/></Relationships>
</file>

<file path=ppt/drawings/_rels/vmlDrawing57.vml.rels><?xml version="1.0" encoding="UTF-8" standalone="yes"?>
<Relationships xmlns="http://schemas.openxmlformats.org/package/2006/relationships"><Relationship Id="rId1" Type="http://schemas.openxmlformats.org/officeDocument/2006/relationships/image" Target="NULL"/></Relationships>
</file>

<file path=ppt/drawings/_rels/vmlDrawing58.vml.rels><?xml version="1.0" encoding="UTF-8" standalone="yes"?>
<Relationships xmlns="http://schemas.openxmlformats.org/package/2006/relationships"><Relationship Id="rId1" Type="http://schemas.openxmlformats.org/officeDocument/2006/relationships/image" Target="NULL"/></Relationships>
</file>

<file path=ppt/drawings/_rels/vmlDrawing59.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60.vml.rels><?xml version="1.0" encoding="UTF-8" standalone="yes"?>
<Relationships xmlns="http://schemas.openxmlformats.org/package/2006/relationships"><Relationship Id="rId1" Type="http://schemas.openxmlformats.org/officeDocument/2006/relationships/image" Target="NULL"/></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NULL"/></Relationships>
</file>

<file path=ppt/drawings/_rels/vmlDrawing63.vml.rels><?xml version="1.0" encoding="UTF-8" standalone="yes"?>
<Relationships xmlns="http://schemas.openxmlformats.org/package/2006/relationships"><Relationship Id="rId1" Type="http://schemas.openxmlformats.org/officeDocument/2006/relationships/image" Target="NULL"/></Relationships>
</file>

<file path=ppt/drawings/_rels/vmlDrawing64.vml.rels><?xml version="1.0" encoding="UTF-8" standalone="yes"?>
<Relationships xmlns="http://schemas.openxmlformats.org/package/2006/relationships"><Relationship Id="rId1" Type="http://schemas.openxmlformats.org/officeDocument/2006/relationships/image" Target="NULL"/></Relationships>
</file>

<file path=ppt/drawings/_rels/vmlDrawing65.vml.rels><?xml version="1.0" encoding="UTF-8" standalone="yes"?>
<Relationships xmlns="http://schemas.openxmlformats.org/package/2006/relationships"><Relationship Id="rId1" Type="http://schemas.openxmlformats.org/officeDocument/2006/relationships/image" Target="NULL"/></Relationships>
</file>

<file path=ppt/drawings/_rels/vmlDrawing66.vml.rels><?xml version="1.0" encoding="UTF-8" standalone="yes"?>
<Relationships xmlns="http://schemas.openxmlformats.org/package/2006/relationships"><Relationship Id="rId1" Type="http://schemas.openxmlformats.org/officeDocument/2006/relationships/image" Target="NULL"/></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NULL"/></Relationships>
</file>

<file path=ppt/drawings/_rels/vmlDrawing69.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70.vml.rels><?xml version="1.0" encoding="UTF-8" standalone="yes"?>
<Relationships xmlns="http://schemas.openxmlformats.org/package/2006/relationships"><Relationship Id="rId1" Type="http://schemas.openxmlformats.org/officeDocument/2006/relationships/image" Target="NULL"/></Relationships>
</file>

<file path=ppt/drawings/_rels/vmlDrawing71.vml.rels><?xml version="1.0" encoding="UTF-8" standalone="yes"?>
<Relationships xmlns="http://schemas.openxmlformats.org/package/2006/relationships"><Relationship Id="rId1" Type="http://schemas.openxmlformats.org/officeDocument/2006/relationships/image" Target="NULL"/></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51.emf"/></Relationships>
</file>

<file path=ppt/drawings/_rels/vmlDrawing76.vml.rels><?xml version="1.0" encoding="UTF-8" standalone="yes"?>
<Relationships xmlns="http://schemas.openxmlformats.org/package/2006/relationships"><Relationship Id="rId1" Type="http://schemas.openxmlformats.org/officeDocument/2006/relationships/image" Target="NULL"/></Relationships>
</file>

<file path=ppt/drawings/_rels/vmlDrawing7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1" y="0"/>
            <a:ext cx="2982119" cy="219837"/>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nl-NL" dirty="0"/>
          </a:p>
        </p:txBody>
      </p:sp>
      <p:sp>
        <p:nvSpPr>
          <p:cNvPr id="3" name="Tijdelijke aanduiding voor datum 2"/>
          <p:cNvSpPr>
            <a:spLocks noGrp="1"/>
          </p:cNvSpPr>
          <p:nvPr>
            <p:ph type="dt" sz="quarter" idx="1"/>
          </p:nvPr>
        </p:nvSpPr>
        <p:spPr>
          <a:xfrm>
            <a:off x="3898102" y="0"/>
            <a:ext cx="2982119" cy="219837"/>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52A92521-0A1B-4F14-9F7F-8F3DD643AD89}" type="datetimeFigureOut">
              <a:rPr lang="nl-NL"/>
              <a:pPr>
                <a:defRPr/>
              </a:pPr>
              <a:t>3-12-2021</a:t>
            </a:fld>
            <a:endParaRPr lang="nl-NL"/>
          </a:p>
        </p:txBody>
      </p:sp>
      <p:sp>
        <p:nvSpPr>
          <p:cNvPr id="4" name="Tijdelijke aanduiding voor voettekst 3"/>
          <p:cNvSpPr>
            <a:spLocks noGrp="1"/>
          </p:cNvSpPr>
          <p:nvPr>
            <p:ph type="ftr" sz="quarter" idx="2"/>
          </p:nvPr>
        </p:nvSpPr>
        <p:spPr>
          <a:xfrm>
            <a:off x="1" y="9074948"/>
            <a:ext cx="2982119" cy="219838"/>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nl-NL"/>
          </a:p>
        </p:txBody>
      </p:sp>
      <p:sp>
        <p:nvSpPr>
          <p:cNvPr id="5" name="Tijdelijke aanduiding voor dianummer 4"/>
          <p:cNvSpPr>
            <a:spLocks noGrp="1"/>
          </p:cNvSpPr>
          <p:nvPr>
            <p:ph type="sldNum" sz="quarter" idx="3"/>
          </p:nvPr>
        </p:nvSpPr>
        <p:spPr>
          <a:xfrm>
            <a:off x="3898102" y="9074948"/>
            <a:ext cx="2982119" cy="219838"/>
          </a:xfrm>
          <a:prstGeom prst="rect">
            <a:avLst/>
          </a:prstGeom>
        </p:spPr>
        <p:txBody>
          <a:bodyPr vert="horz" wrap="square" lIns="91440" tIns="45720" rIns="91440" bIns="45720" numCol="1" anchor="b" anchorCtr="0" compatLnSpc="1">
            <a:prstTxWarp prst="textNoShape">
              <a:avLst/>
            </a:prstTxWarp>
          </a:bodyPr>
          <a:lstStyle>
            <a:lvl1pPr algn="r">
              <a:defRPr sz="1200">
                <a:latin typeface="Corbel" panose="020B0503020204020204" pitchFamily="34" charset="0"/>
              </a:defRPr>
            </a:lvl1pPr>
          </a:lstStyle>
          <a:p>
            <a:fld id="{105BA4F0-4399-43FC-95AF-A89BF753ED41}" type="slidenum">
              <a:rPr lang="nl-NL" altLang="en-US"/>
              <a:pPr/>
              <a:t>‹#›</a:t>
            </a:fld>
            <a:endParaRPr lang="nl-NL" altLang="en-US"/>
          </a:p>
        </p:txBody>
      </p:sp>
    </p:spTree>
    <p:extLst>
      <p:ext uri="{BB962C8B-B14F-4D97-AF65-F5344CB8AC3E}">
        <p14:creationId xmlns:p14="http://schemas.microsoft.com/office/powerpoint/2010/main" val="230462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1" y="0"/>
            <a:ext cx="2982119" cy="242164"/>
          </a:xfrm>
          <a:prstGeom prst="rect">
            <a:avLst/>
          </a:prstGeom>
        </p:spPr>
        <p:txBody>
          <a:bodyPr vert="horz" lIns="91440" tIns="45720" rIns="91440" bIns="45720" rtlCol="0"/>
          <a:lstStyle>
            <a:lvl1pPr algn="l" rtl="0" fontAlgn="auto">
              <a:spcBef>
                <a:spcPts val="0"/>
              </a:spcBef>
              <a:spcAft>
                <a:spcPts val="0"/>
              </a:spcAft>
              <a:defRPr sz="1200">
                <a:latin typeface="+mn-lt"/>
                <a:cs typeface="+mn-cs"/>
              </a:defRPr>
            </a:lvl1pPr>
          </a:lstStyle>
          <a:p>
            <a:pPr>
              <a:defRPr/>
            </a:pPr>
            <a:endParaRPr lang="nl-NL" dirty="0"/>
          </a:p>
        </p:txBody>
      </p:sp>
      <p:sp>
        <p:nvSpPr>
          <p:cNvPr id="3" name="Tijdelijke aanduiding voor datum 2"/>
          <p:cNvSpPr>
            <a:spLocks noGrp="1"/>
          </p:cNvSpPr>
          <p:nvPr>
            <p:ph type="dt" idx="1"/>
          </p:nvPr>
        </p:nvSpPr>
        <p:spPr>
          <a:xfrm>
            <a:off x="3898102" y="0"/>
            <a:ext cx="2982119" cy="242164"/>
          </a:xfrm>
          <a:prstGeom prst="rect">
            <a:avLst/>
          </a:prstGeom>
        </p:spPr>
        <p:txBody>
          <a:bodyPr vert="horz" lIns="91440" tIns="45720" rIns="91440" bIns="45720" rtlCol="0"/>
          <a:lstStyle>
            <a:lvl1pPr algn="r" rtl="0" fontAlgn="auto">
              <a:spcBef>
                <a:spcPts val="0"/>
              </a:spcBef>
              <a:spcAft>
                <a:spcPts val="0"/>
              </a:spcAft>
              <a:defRPr sz="1200">
                <a:latin typeface="+mn-lt"/>
                <a:cs typeface="+mn-cs"/>
              </a:defRPr>
            </a:lvl1pPr>
          </a:lstStyle>
          <a:p>
            <a:pPr>
              <a:defRPr/>
            </a:pPr>
            <a:fld id="{AC5868DF-D8BD-409C-B6DB-626CBFA20D94}" type="datetimeFigureOut">
              <a:rPr lang="nl-NL" smtClean="0"/>
              <a:pPr>
                <a:defRPr/>
              </a:pPr>
              <a:t>3-12-2021</a:t>
            </a:fld>
            <a:endParaRPr lang="nl-NL" dirty="0"/>
          </a:p>
        </p:txBody>
      </p:sp>
      <p:sp>
        <p:nvSpPr>
          <p:cNvPr id="4" name="Tijdelijke aanduiding voor dia-afbeelding 3"/>
          <p:cNvSpPr>
            <a:spLocks noGrp="1" noRot="1" noChangeAspect="1"/>
          </p:cNvSpPr>
          <p:nvPr>
            <p:ph type="sldImg" idx="2"/>
          </p:nvPr>
        </p:nvSpPr>
        <p:spPr>
          <a:xfrm>
            <a:off x="341313" y="696913"/>
            <a:ext cx="6199187" cy="3487737"/>
          </a:xfrm>
          <a:prstGeom prst="rect">
            <a:avLst/>
          </a:prstGeom>
          <a:noFill/>
          <a:ln w="12700">
            <a:solidFill>
              <a:prstClr val="black"/>
            </a:solidFill>
          </a:ln>
        </p:spPr>
        <p:txBody>
          <a:bodyPr vert="horz" lIns="91440" tIns="45720" rIns="91440" bIns="45720" rtlCol="0" anchor="ctr"/>
          <a:lstStyle/>
          <a:p>
            <a:pPr lvl="0"/>
            <a:endParaRPr lang="nl-NL" noProof="0" dirty="0"/>
          </a:p>
        </p:txBody>
      </p:sp>
      <p:sp>
        <p:nvSpPr>
          <p:cNvPr id="5" name="Tijdelijke aanduiding voor notities 4"/>
          <p:cNvSpPr>
            <a:spLocks noGrp="1"/>
          </p:cNvSpPr>
          <p:nvPr>
            <p:ph type="body" sz="quarter" idx="3"/>
          </p:nvPr>
        </p:nvSpPr>
        <p:spPr>
          <a:xfrm>
            <a:off x="107680" y="4415790"/>
            <a:ext cx="6666455" cy="4183381"/>
          </a:xfrm>
          <a:prstGeom prst="rect">
            <a:avLst/>
          </a:prstGeom>
        </p:spPr>
        <p:txBody>
          <a:bodyPr vert="horz" lIns="91440" tIns="45720" rIns="91440" bIns="45720" rtlCol="0">
            <a:normAutofit/>
          </a:bodyPr>
          <a:lstStyle/>
          <a:p>
            <a:pPr lvl="0"/>
            <a:r>
              <a:rPr lang="nl-NL" noProof="0" dirty="0"/>
              <a:t>Klik om de modelstijlen te bewerken</a:t>
            </a:r>
          </a:p>
          <a:p>
            <a:pPr lvl="0"/>
            <a:r>
              <a:rPr lang="nl-NL" noProof="0" dirty="0"/>
              <a:t>Tweede niveau</a:t>
            </a:r>
          </a:p>
          <a:p>
            <a:pPr lvl="0"/>
            <a:r>
              <a:rPr lang="nl-NL" noProof="0" dirty="0"/>
              <a:t>Derde niveau</a:t>
            </a:r>
          </a:p>
          <a:p>
            <a:pPr lvl="0"/>
            <a:r>
              <a:rPr lang="nl-NL" noProof="0" dirty="0"/>
              <a:t>Vierde niveau</a:t>
            </a:r>
          </a:p>
          <a:p>
            <a:pPr lvl="0"/>
            <a:r>
              <a:rPr lang="nl-NL" noProof="0" dirty="0"/>
              <a:t>Vijfde niveau</a:t>
            </a:r>
          </a:p>
        </p:txBody>
      </p:sp>
      <p:sp>
        <p:nvSpPr>
          <p:cNvPr id="6" name="Tijdelijke aanduiding voor voettekst 5"/>
          <p:cNvSpPr>
            <a:spLocks noGrp="1"/>
          </p:cNvSpPr>
          <p:nvPr>
            <p:ph type="ftr" sz="quarter" idx="4"/>
          </p:nvPr>
        </p:nvSpPr>
        <p:spPr>
          <a:xfrm>
            <a:off x="1" y="9052623"/>
            <a:ext cx="2982119" cy="242164"/>
          </a:xfrm>
          <a:prstGeom prst="rect">
            <a:avLst/>
          </a:prstGeom>
        </p:spPr>
        <p:txBody>
          <a:bodyPr vert="horz" lIns="91440" tIns="45720" rIns="91440" bIns="45720" rtlCol="0" anchor="b"/>
          <a:lstStyle>
            <a:lvl1pPr algn="l" rtl="0" fontAlgn="auto">
              <a:spcBef>
                <a:spcPts val="0"/>
              </a:spcBef>
              <a:spcAft>
                <a:spcPts val="0"/>
              </a:spcAft>
              <a:defRPr sz="1200">
                <a:latin typeface="+mn-lt"/>
                <a:cs typeface="+mn-cs"/>
              </a:defRPr>
            </a:lvl1pPr>
          </a:lstStyle>
          <a:p>
            <a:pPr>
              <a:defRPr/>
            </a:pPr>
            <a:endParaRPr lang="nl-NL" dirty="0"/>
          </a:p>
        </p:txBody>
      </p:sp>
      <p:sp>
        <p:nvSpPr>
          <p:cNvPr id="7" name="Tijdelijke aanduiding voor dianummer 6"/>
          <p:cNvSpPr>
            <a:spLocks noGrp="1"/>
          </p:cNvSpPr>
          <p:nvPr>
            <p:ph type="sldNum" sz="quarter" idx="5"/>
          </p:nvPr>
        </p:nvSpPr>
        <p:spPr>
          <a:xfrm>
            <a:off x="3898102" y="9052623"/>
            <a:ext cx="2982119" cy="242164"/>
          </a:xfrm>
          <a:prstGeom prst="rect">
            <a:avLst/>
          </a:prstGeom>
        </p:spPr>
        <p:txBody>
          <a:bodyPr vert="horz" wrap="square" lIns="91440" tIns="45720" rIns="91440" bIns="45720" numCol="1" anchor="b" anchorCtr="0" compatLnSpc="1">
            <a:prstTxWarp prst="textNoShape">
              <a:avLst/>
            </a:prstTxWarp>
          </a:bodyPr>
          <a:lstStyle>
            <a:lvl1pPr algn="r" rtl="0">
              <a:defRPr sz="1200">
                <a:latin typeface="Corbel" panose="020B0503020204020204" pitchFamily="34" charset="0"/>
              </a:defRPr>
            </a:lvl1pPr>
          </a:lstStyle>
          <a:p>
            <a:fld id="{3894C14A-43FC-4077-9BE3-59190B437372}" type="slidenum">
              <a:rPr lang="nl-NL" altLang="en-US" smtClean="0"/>
              <a:pPr/>
              <a:t>‹#›</a:t>
            </a:fld>
            <a:endParaRPr lang="nl-NL" altLang="en-US" dirty="0"/>
          </a:p>
        </p:txBody>
      </p:sp>
    </p:spTree>
    <p:extLst>
      <p:ext uri="{BB962C8B-B14F-4D97-AF65-F5344CB8AC3E}">
        <p14:creationId xmlns:p14="http://schemas.microsoft.com/office/powerpoint/2010/main" val="147431080"/>
      </p:ext>
    </p:extLst>
  </p:cSld>
  <p:clrMap bg1="lt1" tx1="dk1" bg2="lt2" tx2="dk2" accent1="accent1" accent2="accent2" accent3="accent3" accent4="accent4" accent5="accent5" accent6="accent6" hlink="hlink" folHlink="folHlink"/>
  <p:notesStyle>
    <a:lvl1pPr marL="1714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1pPr>
    <a:lvl2pPr marL="6286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2pPr>
    <a:lvl3pPr marL="10858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3pPr>
    <a:lvl4pPr marL="15430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4pPr>
    <a:lvl5pPr marL="20002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1</a:t>
            </a:fld>
            <a:endParaRPr lang="nl-NL" altLang="en-US" dirty="0"/>
          </a:p>
        </p:txBody>
      </p:sp>
    </p:spTree>
    <p:extLst>
      <p:ext uri="{BB962C8B-B14F-4D97-AF65-F5344CB8AC3E}">
        <p14:creationId xmlns:p14="http://schemas.microsoft.com/office/powerpoint/2010/main" val="7263698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10</a:t>
            </a:fld>
            <a:endParaRPr lang="nl-NL" altLang="en-US" dirty="0"/>
          </a:p>
        </p:txBody>
      </p:sp>
    </p:spTree>
    <p:extLst>
      <p:ext uri="{BB962C8B-B14F-4D97-AF65-F5344CB8AC3E}">
        <p14:creationId xmlns:p14="http://schemas.microsoft.com/office/powerpoint/2010/main" val="7637756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9"/>
        <p:cNvGrpSpPr/>
        <p:nvPr/>
      </p:nvGrpSpPr>
      <p:grpSpPr>
        <a:xfrm>
          <a:off x="0" y="0"/>
          <a:ext cx="0" cy="0"/>
          <a:chOff x="0" y="0"/>
          <a:chExt cx="0" cy="0"/>
        </a:xfrm>
      </p:grpSpPr>
      <p:sp>
        <p:nvSpPr>
          <p:cNvPr id="530" name="Google Shape;530;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31" name="Google Shape;531;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a:spcBef>
                <a:spcPts val="0"/>
              </a:spcBef>
              <a:spcAft>
                <a:spcPts val="0"/>
              </a:spcAft>
              <a:buClr>
                <a:schemeClr val="dk1"/>
              </a:buClr>
              <a:buSzPts val="800"/>
              <a:buNone/>
            </a:pPr>
            <a:r>
              <a:rPr lang="nl-NL" dirty="0"/>
              <a:t>Deze coronaontwikkelingen</a:t>
            </a:r>
            <a:r>
              <a:rPr lang="nl-NL" baseline="0" dirty="0"/>
              <a:t> zijn in feite alleen maar vertragend voor het weer verder groeien van het AOV gebruik. </a:t>
            </a:r>
          </a:p>
          <a:p>
            <a:pPr marL="0" lvl="0" indent="0" algn="l">
              <a:spcBef>
                <a:spcPts val="0"/>
              </a:spcBef>
              <a:spcAft>
                <a:spcPts val="0"/>
              </a:spcAft>
              <a:buClr>
                <a:schemeClr val="dk1"/>
              </a:buClr>
              <a:buSzPts val="800"/>
              <a:buNone/>
            </a:pPr>
            <a:endParaRPr lang="nl-NL" baseline="0" dirty="0"/>
          </a:p>
        </p:txBody>
      </p:sp>
    </p:spTree>
    <p:extLst>
      <p:ext uri="{BB962C8B-B14F-4D97-AF65-F5344CB8AC3E}">
        <p14:creationId xmlns:p14="http://schemas.microsoft.com/office/powerpoint/2010/main" val="19278142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12</a:t>
            </a:fld>
            <a:endParaRPr lang="nl-NL" altLang="en-US" dirty="0"/>
          </a:p>
        </p:txBody>
      </p:sp>
    </p:spTree>
    <p:extLst>
      <p:ext uri="{BB962C8B-B14F-4D97-AF65-F5344CB8AC3E}">
        <p14:creationId xmlns:p14="http://schemas.microsoft.com/office/powerpoint/2010/main" val="12517336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13</a:t>
            </a:fld>
            <a:endParaRPr lang="nl-NL" altLang="en-US" dirty="0"/>
          </a:p>
        </p:txBody>
      </p:sp>
    </p:spTree>
    <p:extLst>
      <p:ext uri="{BB962C8B-B14F-4D97-AF65-F5344CB8AC3E}">
        <p14:creationId xmlns:p14="http://schemas.microsoft.com/office/powerpoint/2010/main" val="35526454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14</a:t>
            </a:fld>
            <a:endParaRPr lang="nl-NL" altLang="en-US" dirty="0"/>
          </a:p>
        </p:txBody>
      </p:sp>
    </p:spTree>
    <p:extLst>
      <p:ext uri="{BB962C8B-B14F-4D97-AF65-F5344CB8AC3E}">
        <p14:creationId xmlns:p14="http://schemas.microsoft.com/office/powerpoint/2010/main" val="31469716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15</a:t>
            </a:fld>
            <a:endParaRPr lang="nl-NL" altLang="en-US" dirty="0"/>
          </a:p>
        </p:txBody>
      </p:sp>
    </p:spTree>
    <p:extLst>
      <p:ext uri="{BB962C8B-B14F-4D97-AF65-F5344CB8AC3E}">
        <p14:creationId xmlns:p14="http://schemas.microsoft.com/office/powerpoint/2010/main" val="34632636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16</a:t>
            </a:fld>
            <a:endParaRPr lang="nl-NL" altLang="en-US" dirty="0"/>
          </a:p>
        </p:txBody>
      </p:sp>
    </p:spTree>
    <p:extLst>
      <p:ext uri="{BB962C8B-B14F-4D97-AF65-F5344CB8AC3E}">
        <p14:creationId xmlns:p14="http://schemas.microsoft.com/office/powerpoint/2010/main" val="14065241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17</a:t>
            </a:fld>
            <a:endParaRPr lang="nl-NL" altLang="en-US" dirty="0"/>
          </a:p>
        </p:txBody>
      </p:sp>
    </p:spTree>
    <p:extLst>
      <p:ext uri="{BB962C8B-B14F-4D97-AF65-F5344CB8AC3E}">
        <p14:creationId xmlns:p14="http://schemas.microsoft.com/office/powerpoint/2010/main" val="31019398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18</a:t>
            </a:fld>
            <a:endParaRPr lang="nl-NL" altLang="en-US" dirty="0"/>
          </a:p>
        </p:txBody>
      </p:sp>
    </p:spTree>
    <p:extLst>
      <p:ext uri="{BB962C8B-B14F-4D97-AF65-F5344CB8AC3E}">
        <p14:creationId xmlns:p14="http://schemas.microsoft.com/office/powerpoint/2010/main" val="22392517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19</a:t>
            </a:fld>
            <a:endParaRPr lang="nl-NL" altLang="en-US" dirty="0"/>
          </a:p>
        </p:txBody>
      </p:sp>
    </p:spTree>
    <p:extLst>
      <p:ext uri="{BB962C8B-B14F-4D97-AF65-F5344CB8AC3E}">
        <p14:creationId xmlns:p14="http://schemas.microsoft.com/office/powerpoint/2010/main" val="24889931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2</a:t>
            </a:fld>
            <a:endParaRPr lang="nl-NL" altLang="en-US" dirty="0"/>
          </a:p>
        </p:txBody>
      </p:sp>
    </p:spTree>
    <p:extLst>
      <p:ext uri="{BB962C8B-B14F-4D97-AF65-F5344CB8AC3E}">
        <p14:creationId xmlns:p14="http://schemas.microsoft.com/office/powerpoint/2010/main" val="30681525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20</a:t>
            </a:fld>
            <a:endParaRPr lang="nl-NL" altLang="en-US" dirty="0"/>
          </a:p>
        </p:txBody>
      </p:sp>
    </p:spTree>
    <p:extLst>
      <p:ext uri="{BB962C8B-B14F-4D97-AF65-F5344CB8AC3E}">
        <p14:creationId xmlns:p14="http://schemas.microsoft.com/office/powerpoint/2010/main" val="12680910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21</a:t>
            </a:fld>
            <a:endParaRPr lang="nl-NL" altLang="en-US" dirty="0"/>
          </a:p>
        </p:txBody>
      </p:sp>
    </p:spTree>
    <p:extLst>
      <p:ext uri="{BB962C8B-B14F-4D97-AF65-F5344CB8AC3E}">
        <p14:creationId xmlns:p14="http://schemas.microsoft.com/office/powerpoint/2010/main" val="26110827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22</a:t>
            </a:fld>
            <a:endParaRPr lang="nl-NL" altLang="en-US" dirty="0"/>
          </a:p>
        </p:txBody>
      </p:sp>
    </p:spTree>
    <p:extLst>
      <p:ext uri="{BB962C8B-B14F-4D97-AF65-F5344CB8AC3E}">
        <p14:creationId xmlns:p14="http://schemas.microsoft.com/office/powerpoint/2010/main" val="22177598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23</a:t>
            </a:fld>
            <a:endParaRPr lang="nl-NL" altLang="en-US" dirty="0"/>
          </a:p>
        </p:txBody>
      </p:sp>
    </p:spTree>
    <p:extLst>
      <p:ext uri="{BB962C8B-B14F-4D97-AF65-F5344CB8AC3E}">
        <p14:creationId xmlns:p14="http://schemas.microsoft.com/office/powerpoint/2010/main" val="35316546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24</a:t>
            </a:fld>
            <a:endParaRPr lang="nl-NL" altLang="en-US" dirty="0"/>
          </a:p>
        </p:txBody>
      </p:sp>
    </p:spTree>
    <p:extLst>
      <p:ext uri="{BB962C8B-B14F-4D97-AF65-F5344CB8AC3E}">
        <p14:creationId xmlns:p14="http://schemas.microsoft.com/office/powerpoint/2010/main" val="17208016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25</a:t>
            </a:fld>
            <a:endParaRPr lang="nl-NL" altLang="en-US" dirty="0"/>
          </a:p>
        </p:txBody>
      </p:sp>
    </p:spTree>
    <p:extLst>
      <p:ext uri="{BB962C8B-B14F-4D97-AF65-F5344CB8AC3E}">
        <p14:creationId xmlns:p14="http://schemas.microsoft.com/office/powerpoint/2010/main" val="16174528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26</a:t>
            </a:fld>
            <a:endParaRPr lang="nl-NL" altLang="en-US" dirty="0"/>
          </a:p>
        </p:txBody>
      </p:sp>
    </p:spTree>
    <p:extLst>
      <p:ext uri="{BB962C8B-B14F-4D97-AF65-F5344CB8AC3E}">
        <p14:creationId xmlns:p14="http://schemas.microsoft.com/office/powerpoint/2010/main" val="39218952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27</a:t>
            </a:fld>
            <a:endParaRPr lang="nl-NL" altLang="en-US" dirty="0"/>
          </a:p>
        </p:txBody>
      </p:sp>
    </p:spTree>
    <p:extLst>
      <p:ext uri="{BB962C8B-B14F-4D97-AF65-F5344CB8AC3E}">
        <p14:creationId xmlns:p14="http://schemas.microsoft.com/office/powerpoint/2010/main" val="544491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28</a:t>
            </a:fld>
            <a:endParaRPr lang="nl-NL" altLang="en-US" dirty="0"/>
          </a:p>
        </p:txBody>
      </p:sp>
    </p:spTree>
    <p:extLst>
      <p:ext uri="{BB962C8B-B14F-4D97-AF65-F5344CB8AC3E}">
        <p14:creationId xmlns:p14="http://schemas.microsoft.com/office/powerpoint/2010/main" val="23003112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29</a:t>
            </a:fld>
            <a:endParaRPr lang="nl-NL" altLang="en-US" dirty="0"/>
          </a:p>
        </p:txBody>
      </p:sp>
    </p:spTree>
    <p:extLst>
      <p:ext uri="{BB962C8B-B14F-4D97-AF65-F5344CB8AC3E}">
        <p14:creationId xmlns:p14="http://schemas.microsoft.com/office/powerpoint/2010/main" val="4236629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3</a:t>
            </a:fld>
            <a:endParaRPr lang="nl-NL" altLang="en-US" dirty="0"/>
          </a:p>
        </p:txBody>
      </p:sp>
    </p:spTree>
    <p:extLst>
      <p:ext uri="{BB962C8B-B14F-4D97-AF65-F5344CB8AC3E}">
        <p14:creationId xmlns:p14="http://schemas.microsoft.com/office/powerpoint/2010/main" val="20946242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30</a:t>
            </a:fld>
            <a:endParaRPr lang="nl-NL" altLang="en-US" dirty="0"/>
          </a:p>
        </p:txBody>
      </p:sp>
    </p:spTree>
    <p:extLst>
      <p:ext uri="{BB962C8B-B14F-4D97-AF65-F5344CB8AC3E}">
        <p14:creationId xmlns:p14="http://schemas.microsoft.com/office/powerpoint/2010/main" val="33460943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31</a:t>
            </a:fld>
            <a:endParaRPr lang="nl-NL" altLang="en-US" dirty="0"/>
          </a:p>
        </p:txBody>
      </p:sp>
    </p:spTree>
    <p:extLst>
      <p:ext uri="{BB962C8B-B14F-4D97-AF65-F5344CB8AC3E}">
        <p14:creationId xmlns:p14="http://schemas.microsoft.com/office/powerpoint/2010/main" val="1425894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32</a:t>
            </a:fld>
            <a:endParaRPr lang="nl-NL" altLang="en-US" dirty="0"/>
          </a:p>
        </p:txBody>
      </p:sp>
    </p:spTree>
    <p:extLst>
      <p:ext uri="{BB962C8B-B14F-4D97-AF65-F5344CB8AC3E}">
        <p14:creationId xmlns:p14="http://schemas.microsoft.com/office/powerpoint/2010/main" val="34465039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7"/>
        <p:cNvGrpSpPr/>
        <p:nvPr/>
      </p:nvGrpSpPr>
      <p:grpSpPr>
        <a:xfrm>
          <a:off x="0" y="0"/>
          <a:ext cx="0" cy="0"/>
          <a:chOff x="0" y="0"/>
          <a:chExt cx="0" cy="0"/>
        </a:xfrm>
      </p:grpSpPr>
      <p:sp>
        <p:nvSpPr>
          <p:cNvPr id="798" name="Google Shape;798;p17:notes"/>
          <p:cNvSpPr>
            <a:spLocks noGrp="1" noRot="1" noChangeAspect="1"/>
          </p:cNvSpPr>
          <p:nvPr>
            <p:ph type="sldImg" idx="2"/>
          </p:nvPr>
        </p:nvSpPr>
        <p:spPr>
          <a:xfrm>
            <a:off x="341313" y="696913"/>
            <a:ext cx="6199187" cy="348773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9" name="Google Shape;799;p17:notes"/>
          <p:cNvSpPr txBox="1">
            <a:spLocks noGrp="1"/>
          </p:cNvSpPr>
          <p:nvPr>
            <p:ph type="body" idx="1"/>
          </p:nvPr>
        </p:nvSpPr>
        <p:spPr>
          <a:xfrm>
            <a:off x="107680" y="4415790"/>
            <a:ext cx="6666455" cy="4183381"/>
          </a:xfrm>
          <a:prstGeom prst="rect">
            <a:avLst/>
          </a:prstGeom>
          <a:noFill/>
          <a:ln>
            <a:noFill/>
          </a:ln>
        </p:spPr>
        <p:txBody>
          <a:bodyPr spcFirstLastPara="1" wrap="square" lIns="91425" tIns="45700" rIns="91425" bIns="45700" anchor="t" anchorCtr="0">
            <a:normAutofit/>
          </a:bodyPr>
          <a:lstStyle/>
          <a:p>
            <a:pPr marL="171450" lvl="0" indent="-120650" algn="l">
              <a:spcBef>
                <a:spcPts val="0"/>
              </a:spcBef>
              <a:spcAft>
                <a:spcPts val="0"/>
              </a:spcAft>
              <a:buClr>
                <a:schemeClr val="dk1"/>
              </a:buClr>
              <a:buSzPts val="800"/>
              <a:buNone/>
            </a:pPr>
            <a:endParaRPr lang="nl-NL" dirty="0"/>
          </a:p>
        </p:txBody>
      </p:sp>
      <p:sp>
        <p:nvSpPr>
          <p:cNvPr id="800" name="Google Shape;800;p17:notes"/>
          <p:cNvSpPr txBox="1">
            <a:spLocks noGrp="1"/>
          </p:cNvSpPr>
          <p:nvPr>
            <p:ph type="sldNum" idx="12"/>
          </p:nvPr>
        </p:nvSpPr>
        <p:spPr>
          <a:xfrm>
            <a:off x="3898102" y="9052623"/>
            <a:ext cx="2982119" cy="242164"/>
          </a:xfrm>
          <a:prstGeom prst="rect">
            <a:avLst/>
          </a:prstGeom>
          <a:noFill/>
          <a:ln>
            <a:noFill/>
          </a:ln>
        </p:spPr>
        <p:txBody>
          <a:bodyPr spcFirstLastPara="1" wrap="square" lIns="91425" tIns="45700" rIns="91425" bIns="45700" anchor="b" anchorCtr="0">
            <a:noAutofit/>
          </a:bodyPr>
          <a:lstStyle/>
          <a:p>
            <a:pPr marL="180000" lvl="0" indent="-180000" algn="r">
              <a:lnSpc>
                <a:spcPct val="90000"/>
              </a:lnSpc>
              <a:spcBef>
                <a:spcPts val="0"/>
              </a:spcBef>
              <a:spcAft>
                <a:spcPts val="0"/>
              </a:spcAft>
              <a:buSzPts val="1200"/>
              <a:buChar char="●"/>
            </a:pPr>
            <a:fld id="{00000000-1234-1234-1234-123412341234}" type="slidenum">
              <a:rPr lang="nl-NL" smtClean="0"/>
              <a:pPr marL="180000" lvl="0" indent="-180000" algn="r">
                <a:lnSpc>
                  <a:spcPct val="90000"/>
                </a:lnSpc>
                <a:spcBef>
                  <a:spcPts val="0"/>
                </a:spcBef>
                <a:spcAft>
                  <a:spcPts val="0"/>
                </a:spcAft>
                <a:buSzPts val="1200"/>
                <a:buChar char="●"/>
              </a:pPr>
              <a:t>33</a:t>
            </a:fld>
            <a:endParaRPr lang="nl-NL" dirty="0"/>
          </a:p>
        </p:txBody>
      </p:sp>
    </p:spTree>
    <p:extLst>
      <p:ext uri="{BB962C8B-B14F-4D97-AF65-F5344CB8AC3E}">
        <p14:creationId xmlns:p14="http://schemas.microsoft.com/office/powerpoint/2010/main" val="14255892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34</a:t>
            </a:fld>
            <a:endParaRPr lang="nl-NL" altLang="en-US" dirty="0"/>
          </a:p>
        </p:txBody>
      </p:sp>
    </p:spTree>
    <p:extLst>
      <p:ext uri="{BB962C8B-B14F-4D97-AF65-F5344CB8AC3E}">
        <p14:creationId xmlns:p14="http://schemas.microsoft.com/office/powerpoint/2010/main" val="338307334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38</a:t>
            </a:fld>
            <a:endParaRPr lang="nl-NL" altLang="en-US" dirty="0"/>
          </a:p>
        </p:txBody>
      </p:sp>
    </p:spTree>
    <p:extLst>
      <p:ext uri="{BB962C8B-B14F-4D97-AF65-F5344CB8AC3E}">
        <p14:creationId xmlns:p14="http://schemas.microsoft.com/office/powerpoint/2010/main" val="413050428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39</a:t>
            </a:fld>
            <a:endParaRPr lang="nl-NL" altLang="en-US" dirty="0"/>
          </a:p>
        </p:txBody>
      </p:sp>
    </p:spTree>
    <p:extLst>
      <p:ext uri="{BB962C8B-B14F-4D97-AF65-F5344CB8AC3E}">
        <p14:creationId xmlns:p14="http://schemas.microsoft.com/office/powerpoint/2010/main" val="13936086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4</a:t>
            </a:fld>
            <a:endParaRPr lang="nl-NL" altLang="en-US" dirty="0"/>
          </a:p>
        </p:txBody>
      </p:sp>
    </p:spTree>
    <p:extLst>
      <p:ext uri="{BB962C8B-B14F-4D97-AF65-F5344CB8AC3E}">
        <p14:creationId xmlns:p14="http://schemas.microsoft.com/office/powerpoint/2010/main" val="30814258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5</a:t>
            </a:fld>
            <a:endParaRPr lang="nl-NL" altLang="en-US" dirty="0"/>
          </a:p>
        </p:txBody>
      </p:sp>
    </p:spTree>
    <p:extLst>
      <p:ext uri="{BB962C8B-B14F-4D97-AF65-F5344CB8AC3E}">
        <p14:creationId xmlns:p14="http://schemas.microsoft.com/office/powerpoint/2010/main" val="30618387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6</a:t>
            </a:fld>
            <a:endParaRPr lang="nl-NL" altLang="en-US" dirty="0"/>
          </a:p>
        </p:txBody>
      </p:sp>
    </p:spTree>
    <p:extLst>
      <p:ext uri="{BB962C8B-B14F-4D97-AF65-F5344CB8AC3E}">
        <p14:creationId xmlns:p14="http://schemas.microsoft.com/office/powerpoint/2010/main" val="9476603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7</a:t>
            </a:fld>
            <a:endParaRPr lang="nl-NL" altLang="en-US" dirty="0"/>
          </a:p>
        </p:txBody>
      </p:sp>
    </p:spTree>
    <p:extLst>
      <p:ext uri="{BB962C8B-B14F-4D97-AF65-F5344CB8AC3E}">
        <p14:creationId xmlns:p14="http://schemas.microsoft.com/office/powerpoint/2010/main" val="5717282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8</a:t>
            </a:fld>
            <a:endParaRPr lang="nl-NL" altLang="en-US" dirty="0"/>
          </a:p>
        </p:txBody>
      </p:sp>
    </p:spTree>
    <p:extLst>
      <p:ext uri="{BB962C8B-B14F-4D97-AF65-F5344CB8AC3E}">
        <p14:creationId xmlns:p14="http://schemas.microsoft.com/office/powerpoint/2010/main" val="6402023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9</a:t>
            </a:fld>
            <a:endParaRPr lang="nl-NL" altLang="en-US" dirty="0"/>
          </a:p>
        </p:txBody>
      </p:sp>
    </p:spTree>
    <p:extLst>
      <p:ext uri="{BB962C8B-B14F-4D97-AF65-F5344CB8AC3E}">
        <p14:creationId xmlns:p14="http://schemas.microsoft.com/office/powerpoint/2010/main" val="26000518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NUL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NULL"/><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NULL"/><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NULL"/><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NULL"/><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NULL"/><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NULL"/><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NULL"/><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NULL"/><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NULL"/><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NULL"/><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NUL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NULL"/><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NULL"/><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NULL"/><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NULL"/><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NULL"/><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6.vml"/><Relationship Id="rId5" Type="http://schemas.openxmlformats.org/officeDocument/2006/relationships/image" Target="NULL"/><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27.vml"/><Relationship Id="rId5" Type="http://schemas.openxmlformats.org/officeDocument/2006/relationships/image" Target="NULL"/><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8.vml"/><Relationship Id="rId5" Type="http://schemas.openxmlformats.org/officeDocument/2006/relationships/image" Target="NULL"/><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NULL"/><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NULL"/><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NUL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NULL"/><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NULL"/><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image" Target="NULL"/><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Master" Target="../slideMasters/slideMaster1.xml"/><Relationship Id="rId7" Type="http://schemas.openxmlformats.org/officeDocument/2006/relationships/image" Target="../media/image1.png"/><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hyperlink" Target="http://www.itspublic.nl/" TargetMode="External"/><Relationship Id="rId5" Type="http://schemas.openxmlformats.org/officeDocument/2006/relationships/image" Target="NULL"/><Relationship Id="rId10" Type="http://schemas.openxmlformats.org/officeDocument/2006/relationships/image" Target="../media/image4.svg"/><Relationship Id="rId4" Type="http://schemas.openxmlformats.org/officeDocument/2006/relationships/oleObject" Target="../embeddings/oleObject34.bin"/><Relationship Id="rId9" Type="http://schemas.openxmlformats.org/officeDocument/2006/relationships/image" Target="../media/image3.png"/></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5.vml"/><Relationship Id="rId6" Type="http://schemas.openxmlformats.org/officeDocument/2006/relationships/image" Target="NULL"/><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vmlDrawing" Target="../drawings/vmlDrawing36.vml"/><Relationship Id="rId4" Type="http://schemas.openxmlformats.org/officeDocument/2006/relationships/image" Target="NUL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vmlDrawing" Target="../drawings/vmlDrawing37.vml"/><Relationship Id="rId4" Type="http://schemas.openxmlformats.org/officeDocument/2006/relationships/image" Target="NUL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vmlDrawing" Target="../drawings/vmlDrawing38.vml"/><Relationship Id="rId5" Type="http://schemas.openxmlformats.org/officeDocument/2006/relationships/image" Target="NULL"/><Relationship Id="rId4" Type="http://schemas.openxmlformats.org/officeDocument/2006/relationships/oleObject" Target="../embeddings/oleObject38.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NUL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NUL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NULL"/><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NULL"/><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NUL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NULL"/><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userDrawn="1">
            <p:custDataLst>
              <p:tags r:id="rId2"/>
            </p:custDataLst>
            <p:extLst>
              <p:ext uri="{D42A27DB-BD31-4B8C-83A1-F6EECF244321}">
                <p14:modId xmlns:p14="http://schemas.microsoft.com/office/powerpoint/2010/main" val="681502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userDrawn="1"/>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640367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2"/>
            </p:custDataLst>
            <p:extLst>
              <p:ext uri="{D42A27DB-BD31-4B8C-83A1-F6EECF244321}">
                <p14:modId xmlns:p14="http://schemas.microsoft.com/office/powerpoint/2010/main" val="3388184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9A4E6FC4-5579-468F-8467-6CA5FEF091D3}"/>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23042E7E-DE38-4688-819F-50A8F21BE1A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32" name="Slide Number Placeholder">
            <a:extLst>
              <a:ext uri="{FF2B5EF4-FFF2-40B4-BE49-F238E27FC236}">
                <a16:creationId xmlns:a16="http://schemas.microsoft.com/office/drawing/2014/main" id="{6F78D136-F8C7-420E-A008-9A055B450EAB}"/>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214053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userDrawn="1">
            <p:custDataLst>
              <p:tags r:id="rId2"/>
            </p:custDataLst>
            <p:extLst>
              <p:ext uri="{D42A27DB-BD31-4B8C-83A1-F6EECF244321}">
                <p14:modId xmlns:p14="http://schemas.microsoft.com/office/powerpoint/2010/main" val="641081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EB4EFE0B-B91D-4698-A0E6-2BADA6AAF22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3665A114-B8E2-4A58-A0DC-074FD823342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32" name="Slide Number Placeholder">
            <a:extLst>
              <a:ext uri="{FF2B5EF4-FFF2-40B4-BE49-F238E27FC236}">
                <a16:creationId xmlns:a16="http://schemas.microsoft.com/office/drawing/2014/main" id="{4387B528-C06A-4496-BF65-59ACEFE964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2000709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userDrawn="1">
            <p:custDataLst>
              <p:tags r:id="rId2"/>
            </p:custDataLst>
            <p:extLst>
              <p:ext uri="{D42A27DB-BD31-4B8C-83A1-F6EECF244321}">
                <p14:modId xmlns:p14="http://schemas.microsoft.com/office/powerpoint/2010/main" val="3705633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8" name="Footnote">
            <a:extLst>
              <a:ext uri="{FF2B5EF4-FFF2-40B4-BE49-F238E27FC236}">
                <a16:creationId xmlns:a16="http://schemas.microsoft.com/office/drawing/2014/main" id="{F270D417-F087-4412-8296-274CF5D739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4903FFFF-5427-44B8-8F87-77760870472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40" name="Slide Number Placeholder">
            <a:extLst>
              <a:ext uri="{FF2B5EF4-FFF2-40B4-BE49-F238E27FC236}">
                <a16:creationId xmlns:a16="http://schemas.microsoft.com/office/drawing/2014/main" id="{B3F9E402-1293-46D8-B9EA-17A2BE352F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6645138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userDrawn="1">
            <p:custDataLst>
              <p:tags r:id="rId2"/>
            </p:custDataLst>
            <p:extLst>
              <p:ext uri="{D42A27DB-BD31-4B8C-83A1-F6EECF244321}">
                <p14:modId xmlns:p14="http://schemas.microsoft.com/office/powerpoint/2010/main" val="1230719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ADDDE832-94A1-4F7A-B1EB-19B791C6DC4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49FB4CEC-D5DA-4A7F-BF7D-418F835FE816}"/>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28" name="Slide Number Placeholder">
            <a:extLst>
              <a:ext uri="{FF2B5EF4-FFF2-40B4-BE49-F238E27FC236}">
                <a16:creationId xmlns:a16="http://schemas.microsoft.com/office/drawing/2014/main" id="{6D8AA918-1EA8-4AA8-BC00-07E18E17E6C9}"/>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2879826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userDrawn="1">
            <p:custDataLst>
              <p:tags r:id="rId2"/>
            </p:custDataLst>
            <p:extLst>
              <p:ext uri="{D42A27DB-BD31-4B8C-83A1-F6EECF244321}">
                <p14:modId xmlns:p14="http://schemas.microsoft.com/office/powerpoint/2010/main" val="2239626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Footnote">
            <a:extLst>
              <a:ext uri="{FF2B5EF4-FFF2-40B4-BE49-F238E27FC236}">
                <a16:creationId xmlns:a16="http://schemas.microsoft.com/office/drawing/2014/main" id="{5D021D81-5673-4842-8612-7218465B76C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38A40ABF-A518-4C8C-9141-45C869616C0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33" name="Slide Number Placeholder">
            <a:extLst>
              <a:ext uri="{FF2B5EF4-FFF2-40B4-BE49-F238E27FC236}">
                <a16:creationId xmlns:a16="http://schemas.microsoft.com/office/drawing/2014/main" id="{C897F4E5-593E-44C1-A6CA-F4861895A2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929014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2"/>
            </p:custDataLst>
            <p:extLst>
              <p:ext uri="{D42A27DB-BD31-4B8C-83A1-F6EECF244321}">
                <p14:modId xmlns:p14="http://schemas.microsoft.com/office/powerpoint/2010/main" val="1758138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D642650-435E-4E97-B1AE-032ABC6D2A41}"/>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6813E805-2C60-4E65-825D-8A6D40079DB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40" name="Slide Number Placeholder">
            <a:extLst>
              <a:ext uri="{FF2B5EF4-FFF2-40B4-BE49-F238E27FC236}">
                <a16:creationId xmlns:a16="http://schemas.microsoft.com/office/drawing/2014/main" id="{126C183E-8580-4926-9281-8F0DB635015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9609616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userDrawn="1">
            <p:custDataLst>
              <p:tags r:id="rId2"/>
            </p:custDataLst>
            <p:extLst>
              <p:ext uri="{D42A27DB-BD31-4B8C-83A1-F6EECF244321}">
                <p14:modId xmlns:p14="http://schemas.microsoft.com/office/powerpoint/2010/main" val="2257513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309F2A7-CBCF-4A2F-835D-79A67AA3CC0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A6F3F361-CCFE-42D2-9790-F5280C95D6A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40" name="Slide Number Placeholder">
            <a:extLst>
              <a:ext uri="{FF2B5EF4-FFF2-40B4-BE49-F238E27FC236}">
                <a16:creationId xmlns:a16="http://schemas.microsoft.com/office/drawing/2014/main" id="{9E778F63-2FEA-427F-8237-8FD956CCA33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1297718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userDrawn="1">
            <p:custDataLst>
              <p:tags r:id="rId2"/>
            </p:custDataLst>
            <p:extLst>
              <p:ext uri="{D42A27DB-BD31-4B8C-83A1-F6EECF244321}">
                <p14:modId xmlns:p14="http://schemas.microsoft.com/office/powerpoint/2010/main" val="884756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9" name="Footnote">
            <a:extLst>
              <a:ext uri="{FF2B5EF4-FFF2-40B4-BE49-F238E27FC236}">
                <a16:creationId xmlns:a16="http://schemas.microsoft.com/office/drawing/2014/main" id="{25B0DFC8-6F93-41E6-84DF-134437D8C61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50" name="Footer Placeholder">
            <a:extLst>
              <a:ext uri="{FF2B5EF4-FFF2-40B4-BE49-F238E27FC236}">
                <a16:creationId xmlns:a16="http://schemas.microsoft.com/office/drawing/2014/main" id="{5746C519-C28E-429E-81FD-80A98C8513A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51" name="Slide Number Placeholder">
            <a:extLst>
              <a:ext uri="{FF2B5EF4-FFF2-40B4-BE49-F238E27FC236}">
                <a16:creationId xmlns:a16="http://schemas.microsoft.com/office/drawing/2014/main" id="{55B5761E-F6D2-4934-BE92-F6F85063C29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0104993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2"/>
            </p:custDataLst>
            <p:extLst>
              <p:ext uri="{D42A27DB-BD31-4B8C-83A1-F6EECF244321}">
                <p14:modId xmlns:p14="http://schemas.microsoft.com/office/powerpoint/2010/main" val="3766314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7" name="Footnote">
            <a:extLst>
              <a:ext uri="{FF2B5EF4-FFF2-40B4-BE49-F238E27FC236}">
                <a16:creationId xmlns:a16="http://schemas.microsoft.com/office/drawing/2014/main" id="{17D5123A-23DD-4CFF-B94D-8B464E6839AB}"/>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1D9E080F-FCE4-4ECA-90E8-595E6257408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29" name="Slide Number Placeholder">
            <a:extLst>
              <a:ext uri="{FF2B5EF4-FFF2-40B4-BE49-F238E27FC236}">
                <a16:creationId xmlns:a16="http://schemas.microsoft.com/office/drawing/2014/main" id="{660D2474-44EA-4F64-86CD-0B338F29A51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9514609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2"/>
            </p:custDataLst>
            <p:extLst>
              <p:ext uri="{D42A27DB-BD31-4B8C-83A1-F6EECF244321}">
                <p14:modId xmlns:p14="http://schemas.microsoft.com/office/powerpoint/2010/main" val="1176984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90AC9C2C-6AFB-43D1-8CC2-37D40F0264C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7" name="Footer Placeholder">
            <a:extLst>
              <a:ext uri="{FF2B5EF4-FFF2-40B4-BE49-F238E27FC236}">
                <a16:creationId xmlns:a16="http://schemas.microsoft.com/office/drawing/2014/main" id="{6005ED40-9694-4F6B-A487-A8F543CB2E6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28" name="Slide Number Placeholder">
            <a:extLst>
              <a:ext uri="{FF2B5EF4-FFF2-40B4-BE49-F238E27FC236}">
                <a16:creationId xmlns:a16="http://schemas.microsoft.com/office/drawing/2014/main" id="{613AC9C8-E021-4ADD-8C41-7D1A21C8F1D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0158781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userDrawn="1">
            <p:custDataLst>
              <p:tags r:id="rId2"/>
            </p:custDataLst>
            <p:extLst>
              <p:ext uri="{D42A27DB-BD31-4B8C-83A1-F6EECF244321}">
                <p14:modId xmlns:p14="http://schemas.microsoft.com/office/powerpoint/2010/main" val="471892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7132189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userDrawn="1">
            <p:custDataLst>
              <p:tags r:id="rId2"/>
            </p:custDataLst>
            <p:extLst>
              <p:ext uri="{D42A27DB-BD31-4B8C-83A1-F6EECF244321}">
                <p14:modId xmlns:p14="http://schemas.microsoft.com/office/powerpoint/2010/main" val="987459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7" name="Footnote">
            <a:extLst>
              <a:ext uri="{FF2B5EF4-FFF2-40B4-BE49-F238E27FC236}">
                <a16:creationId xmlns:a16="http://schemas.microsoft.com/office/drawing/2014/main" id="{BDA2C624-ECFD-4784-BEE8-CAAE9625AF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A475558F-03A3-4505-B727-A534FD789A9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22" name="Slide Number Placeholder">
            <a:extLst>
              <a:ext uri="{FF2B5EF4-FFF2-40B4-BE49-F238E27FC236}">
                <a16:creationId xmlns:a16="http://schemas.microsoft.com/office/drawing/2014/main" id="{AECDDFA0-6FDF-4C5C-837E-B4D8324B47B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8475435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userDrawn="1">
            <p:custDataLst>
              <p:tags r:id="rId2"/>
            </p:custDataLst>
            <p:extLst>
              <p:ext uri="{D42A27DB-BD31-4B8C-83A1-F6EECF244321}">
                <p14:modId xmlns:p14="http://schemas.microsoft.com/office/powerpoint/2010/main" val="2660074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6" name="Footnote">
            <a:extLst>
              <a:ext uri="{FF2B5EF4-FFF2-40B4-BE49-F238E27FC236}">
                <a16:creationId xmlns:a16="http://schemas.microsoft.com/office/drawing/2014/main" id="{CA86F4FA-100F-49E4-870D-331BFB397FA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27668C38-B63A-43FD-91D3-C050C0D42A4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23" name="Slide Number Placeholder">
            <a:extLst>
              <a:ext uri="{FF2B5EF4-FFF2-40B4-BE49-F238E27FC236}">
                <a16:creationId xmlns:a16="http://schemas.microsoft.com/office/drawing/2014/main" id="{84E0A646-10AD-4491-B360-CBE7D2F0F0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975332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userDrawn="1">
            <p:custDataLst>
              <p:tags r:id="rId2"/>
            </p:custDataLst>
            <p:extLst>
              <p:ext uri="{D42A27DB-BD31-4B8C-83A1-F6EECF244321}">
                <p14:modId xmlns:p14="http://schemas.microsoft.com/office/powerpoint/2010/main" val="1188563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6"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userDrawn="1"/>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6" name="Background"/>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10" name="Picture Placeholder 1">
            <a:extLst>
              <a:ext uri="{FF2B5EF4-FFF2-40B4-BE49-F238E27FC236}">
                <a16:creationId xmlns:a16="http://schemas.microsoft.com/office/drawing/2014/main" id="{EB980F4A-8C01-448F-86D6-9EBD211FC5D5}"/>
              </a:ext>
            </a:extLst>
          </p:cNvPr>
          <p:cNvSpPr>
            <a:spLocks noGrp="1"/>
          </p:cNvSpPr>
          <p:nvPr>
            <p:ph type="pic" sz="quarter" idx="13" hasCustomPrompt="1"/>
          </p:nvPr>
        </p:nvSpPr>
        <p:spPr>
          <a:xfrm>
            <a:off x="6096001" y="0"/>
            <a:ext cx="5437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9383569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userDrawn="1">
            <p:custDataLst>
              <p:tags r:id="rId2"/>
            </p:custDataLst>
            <p:extLst>
              <p:ext uri="{D42A27DB-BD31-4B8C-83A1-F6EECF244321}">
                <p14:modId xmlns:p14="http://schemas.microsoft.com/office/powerpoint/2010/main" val="177115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0"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userDrawn="1"/>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27" name="Logo 13">
            <a:extLst>
              <a:ext uri="{FF2B5EF4-FFF2-40B4-BE49-F238E27FC236}">
                <a16:creationId xmlns:a16="http://schemas.microsoft.com/office/drawing/2014/main" id="{67340306-C4C1-4DE1-9279-C162F718866C}"/>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9500446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2"/>
            </p:custDataLst>
            <p:extLst>
              <p:ext uri="{D42A27DB-BD31-4B8C-83A1-F6EECF244321}">
                <p14:modId xmlns:p14="http://schemas.microsoft.com/office/powerpoint/2010/main" val="1968909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4"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1147074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userDrawn="1">
            <p:custDataLst>
              <p:tags r:id="rId2"/>
            </p:custDataLst>
            <p:extLst>
              <p:ext uri="{D42A27DB-BD31-4B8C-83A1-F6EECF244321}">
                <p14:modId xmlns:p14="http://schemas.microsoft.com/office/powerpoint/2010/main" val="2909271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8"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992CD0B2-8AB2-4C6C-8876-E15753662C9B}" type="slidenum">
              <a:rPr lang="nl-NL" smtClean="0"/>
              <a:pPr/>
              <a:t>‹#›</a:t>
            </a:fld>
            <a:endParaRPr lang="nl-NL" dirty="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rtl="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rtl="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37165350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userDrawn="1">
            <p:custDataLst>
              <p:tags r:id="rId2"/>
            </p:custDataLst>
            <p:extLst>
              <p:ext uri="{D42A27DB-BD31-4B8C-83A1-F6EECF244321}">
                <p14:modId xmlns:p14="http://schemas.microsoft.com/office/powerpoint/2010/main" val="3132634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2"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28551151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userDrawn="1">
            <p:custDataLst>
              <p:tags r:id="rId2"/>
            </p:custDataLst>
            <p:extLst>
              <p:ext uri="{D42A27DB-BD31-4B8C-83A1-F6EECF244321}">
                <p14:modId xmlns:p14="http://schemas.microsoft.com/office/powerpoint/2010/main" val="2776013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6"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17594685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userDrawn="1">
            <p:custDataLst>
              <p:tags r:id="rId2"/>
            </p:custDataLst>
            <p:extLst>
              <p:ext uri="{D42A27DB-BD31-4B8C-83A1-F6EECF244321}">
                <p14:modId xmlns:p14="http://schemas.microsoft.com/office/powerpoint/2010/main" val="3943958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0"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28072616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userDrawn="1">
            <p:custDataLst>
              <p:tags r:id="rId2"/>
            </p:custDataLst>
            <p:extLst>
              <p:ext uri="{D42A27DB-BD31-4B8C-83A1-F6EECF244321}">
                <p14:modId xmlns:p14="http://schemas.microsoft.com/office/powerpoint/2010/main" val="74793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4"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992CD0B2-8AB2-4C6C-8876-E15753662C9B}"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rtl="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719391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userDrawn="1">
            <p:custDataLst>
              <p:tags r:id="rId2"/>
            </p:custDataLst>
            <p:extLst>
              <p:ext uri="{D42A27DB-BD31-4B8C-83A1-F6EECF244321}">
                <p14:modId xmlns:p14="http://schemas.microsoft.com/office/powerpoint/2010/main" val="887215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5" name="Footnote">
            <a:extLst>
              <a:ext uri="{FF2B5EF4-FFF2-40B4-BE49-F238E27FC236}">
                <a16:creationId xmlns:a16="http://schemas.microsoft.com/office/drawing/2014/main" id="{D3625DBF-FCF4-4A3E-A28C-2A05992E729F}"/>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26895FB9-C292-496B-9F03-7BE38C16BF4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27" name="Slide Number Placeholder">
            <a:extLst>
              <a:ext uri="{FF2B5EF4-FFF2-40B4-BE49-F238E27FC236}">
                <a16:creationId xmlns:a16="http://schemas.microsoft.com/office/drawing/2014/main" id="{476D4CE2-CC63-428D-81FB-D8688643877D}"/>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070108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userDrawn="1">
            <p:custDataLst>
              <p:tags r:id="rId2"/>
            </p:custDataLst>
            <p:extLst>
              <p:ext uri="{D42A27DB-BD31-4B8C-83A1-F6EECF244321}">
                <p14:modId xmlns:p14="http://schemas.microsoft.com/office/powerpoint/2010/main" val="3882532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8" name="think-cell Slide" r:id="rId4" imgW="501" imgH="502" progId="TCLayout.ActiveDocument.1">
                  <p:embed/>
                </p:oleObj>
              </mc:Choice>
              <mc:Fallback>
                <p:oleObj name="think-cell Slide" r:id="rId4"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p:txBody>
          <a:bodyPr/>
          <a:lstStyle>
            <a:lvl1pPr rtl="0">
              <a:defRPr/>
            </a:lvl1pPr>
          </a:lstStyle>
          <a:p>
            <a:fld id="{992CD0B2-8AB2-4C6C-8876-E15753662C9B}"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rtl="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3050596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userDrawn="1">
            <p:custDataLst>
              <p:tags r:id="rId2"/>
            </p:custDataLst>
            <p:extLst>
              <p:ext uri="{D42A27DB-BD31-4B8C-83A1-F6EECF244321}">
                <p14:modId xmlns:p14="http://schemas.microsoft.com/office/powerpoint/2010/main" val="1810429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2"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Footnote">
            <a:extLst>
              <a:ext uri="{FF2B5EF4-FFF2-40B4-BE49-F238E27FC236}">
                <a16:creationId xmlns:a16="http://schemas.microsoft.com/office/drawing/2014/main" id="{A09F8A40-DC4E-417E-A0C9-836724A07F2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A2169B12-1899-421D-908A-306F54A1208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33" name="Slide Number Placeholder">
            <a:extLst>
              <a:ext uri="{FF2B5EF4-FFF2-40B4-BE49-F238E27FC236}">
                <a16:creationId xmlns:a16="http://schemas.microsoft.com/office/drawing/2014/main" id="{38BDB37D-CFF5-415D-8132-14964D54548E}"/>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7138905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userDrawn="1">
            <p:custDataLst>
              <p:tags r:id="rId2"/>
            </p:custDataLst>
            <p:extLst>
              <p:ext uri="{D42A27DB-BD31-4B8C-83A1-F6EECF244321}">
                <p14:modId xmlns:p14="http://schemas.microsoft.com/office/powerpoint/2010/main" val="2502880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6"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8" name="Footnote">
            <a:extLst>
              <a:ext uri="{FF2B5EF4-FFF2-40B4-BE49-F238E27FC236}">
                <a16:creationId xmlns:a16="http://schemas.microsoft.com/office/drawing/2014/main" id="{B6FF97A8-0AD2-4D01-9486-8BB24B03059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65" name="Footer Placeholder">
            <a:extLst>
              <a:ext uri="{FF2B5EF4-FFF2-40B4-BE49-F238E27FC236}">
                <a16:creationId xmlns:a16="http://schemas.microsoft.com/office/drawing/2014/main" id="{97801D3F-9B09-4F2B-9B17-23672729C4E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66" name="Slide Number Placeholder">
            <a:extLst>
              <a:ext uri="{FF2B5EF4-FFF2-40B4-BE49-F238E27FC236}">
                <a16:creationId xmlns:a16="http://schemas.microsoft.com/office/drawing/2014/main" id="{375BDC9E-7F29-40C0-987B-695D4F0A7B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9630557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userDrawn="1">
            <p:custDataLst>
              <p:tags r:id="rId2"/>
            </p:custDataLst>
            <p:extLst>
              <p:ext uri="{D42A27DB-BD31-4B8C-83A1-F6EECF244321}">
                <p14:modId xmlns:p14="http://schemas.microsoft.com/office/powerpoint/2010/main" val="3575556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0" name="think-cell Slide" r:id="rId4" imgW="501" imgH="502" progId="TCLayout.ActiveDocument.1">
                  <p:embed/>
                </p:oleObj>
              </mc:Choice>
              <mc:Fallback>
                <p:oleObj name="think-cell Slide" r:id="rId4"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rtl="0">
              <a:defRPr>
                <a:solidFill>
                  <a:schemeClr val="bg1"/>
                </a:solidFill>
              </a:defRPr>
            </a:lvl1pPr>
          </a:lstStyle>
          <a:p>
            <a:fld id="{992CD0B2-8AB2-4C6C-8876-E15753662C9B}" type="slidenum">
              <a:rPr lang="nl-NL" smtClean="0"/>
              <a:pPr/>
              <a:t>‹#›</a:t>
            </a:fld>
            <a:endParaRPr lang="nl-NL" dirty="0"/>
          </a:p>
        </p:txBody>
      </p:sp>
      <p:sp>
        <p:nvSpPr>
          <p:cNvPr id="19" name="Logo 14">
            <a:extLst>
              <a:ext uri="{FF2B5EF4-FFF2-40B4-BE49-F238E27FC236}">
                <a16:creationId xmlns:a16="http://schemas.microsoft.com/office/drawing/2014/main" id="{9CD50B4C-7136-431A-A5CC-F0B22E34E981}"/>
              </a:ext>
            </a:extLst>
          </p:cNvPr>
          <p:cNvSpPr/>
          <p:nvPr userDrawn="1"/>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userDrawn="1"/>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a:t>
            </a: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Middenlaan 62, 1018 DH</a:t>
            </a:r>
            <a:r>
              <a:rPr kumimoji="0" lang="en-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 </a:t>
            </a: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Amsterdam</a:t>
            </a:r>
            <a:b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Voor </a:t>
            </a: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userDrawn="1"/>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dirty="0">
              <a:latin typeface="Corbel" panose="020B0503020204020204" pitchFamily="34" charset="0"/>
            </a:endParaRPr>
          </a:p>
        </p:txBody>
      </p:sp>
      <p:sp>
        <p:nvSpPr>
          <p:cNvPr id="45" name="Gebruikt materiaal">
            <a:extLst>
              <a:ext uri="{FF2B5EF4-FFF2-40B4-BE49-F238E27FC236}">
                <a16:creationId xmlns:a16="http://schemas.microsoft.com/office/drawing/2014/main" id="{3ADAD100-3848-4E36-BF5D-30C2D79F7A7B}"/>
              </a:ext>
            </a:extLst>
          </p:cNvPr>
          <p:cNvSpPr txBox="1"/>
          <p:nvPr userDrawn="1"/>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rtl="0">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rtl="0">
              <a:spcBef>
                <a:spcPts val="0"/>
              </a:spcBef>
              <a:buNone/>
              <a:defRPr>
                <a:solidFill>
                  <a:schemeClr val="bg1"/>
                </a:solidFill>
              </a:defRPr>
            </a:lvl1pPr>
          </a:lstStyle>
          <a:p>
            <a:pPr lvl="0"/>
            <a:r>
              <a:rPr lang="nl-NL" noProof="0" dirty="0"/>
              <a:t>Naam Achternaam (naam.achternaam@itspublic.nl)</a:t>
            </a:r>
          </a:p>
        </p:txBody>
      </p:sp>
      <p:pic>
        <p:nvPicPr>
          <p:cNvPr id="35" name="CC">
            <a:extLst>
              <a:ext uri="{FF2B5EF4-FFF2-40B4-BE49-F238E27FC236}">
                <a16:creationId xmlns:a16="http://schemas.microsoft.com/office/drawing/2014/main" id="{F2B5F9D6-0E2E-4027-A474-27374007B15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23043" y="5570848"/>
            <a:ext cx="609600" cy="609600"/>
          </a:xfrm>
          <a:prstGeom prst="rect">
            <a:avLst/>
          </a:prstGeom>
        </p:spPr>
      </p:pic>
      <p:pic>
        <p:nvPicPr>
          <p:cNvPr id="36" name="BY">
            <a:extLst>
              <a:ext uri="{FF2B5EF4-FFF2-40B4-BE49-F238E27FC236}">
                <a16:creationId xmlns:a16="http://schemas.microsoft.com/office/drawing/2014/main" id="{E9269E25-C251-4286-9970-3AF324592407}"/>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520321" y="5570848"/>
            <a:ext cx="609600" cy="609600"/>
          </a:xfrm>
          <a:prstGeom prst="rect">
            <a:avLst/>
          </a:prstGeom>
        </p:spPr>
      </p:pic>
    </p:spTree>
    <p:extLst>
      <p:ext uri="{BB962C8B-B14F-4D97-AF65-F5344CB8AC3E}">
        <p14:creationId xmlns:p14="http://schemas.microsoft.com/office/powerpoint/2010/main" val="13856414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B646493-F58D-4917-BAC1-7D365D0BC507}"/>
              </a:ext>
            </a:extLst>
          </p:cNvPr>
          <p:cNvGraphicFramePr>
            <a:graphicFrameLocks noChangeAspect="1"/>
          </p:cNvGraphicFramePr>
          <p:nvPr userDrawn="1">
            <p:custDataLst>
              <p:tags r:id="rId2"/>
            </p:custDataLst>
            <p:extLst>
              <p:ext uri="{D42A27DB-BD31-4B8C-83A1-F6EECF244321}">
                <p14:modId xmlns:p14="http://schemas.microsoft.com/office/powerpoint/2010/main" val="973031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4" name="think-cell Slide" r:id="rId5" imgW="347" imgH="348" progId="TCLayout.ActiveDocument.1">
                  <p:embed/>
                </p:oleObj>
              </mc:Choice>
              <mc:Fallback>
                <p:oleObj name="think-cell Slide" r:id="rId5" imgW="347" imgH="348" progId="TCLayout.ActiveDocument.1">
                  <p:embed/>
                  <p:pic>
                    <p:nvPicPr>
                      <p:cNvPr id="3" name="Object 2" hidden="1">
                        <a:extLst>
                          <a:ext uri="{FF2B5EF4-FFF2-40B4-BE49-F238E27FC236}">
                            <a16:creationId xmlns:a16="http://schemas.microsoft.com/office/drawing/2014/main" id="{0B646493-F58D-4917-BAC1-7D365D0BC5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A1BEC8D-6502-4CBE-8A55-622D83F3D6F8}"/>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dirty="0"/>
              <a:t>Dummy text</a:t>
            </a:r>
          </a:p>
          <a:p>
            <a:pPr lvl="1"/>
            <a:r>
              <a:rPr lang="nl-NL" dirty="0"/>
              <a:t>Text</a:t>
            </a:r>
          </a:p>
          <a:p>
            <a:pPr lvl="2"/>
            <a:r>
              <a:rPr lang="nl-NL" dirty="0"/>
              <a:t>Text</a:t>
            </a:r>
          </a:p>
          <a:p>
            <a:pPr lvl="3"/>
            <a:r>
              <a:rPr lang="nl-NL" dirty="0"/>
              <a:t>Text</a:t>
            </a:r>
          </a:p>
          <a:p>
            <a:pPr lvl="4"/>
            <a:r>
              <a:rPr lang="nl-NL" dirty="0"/>
              <a:t>Text</a:t>
            </a:r>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dirty="0"/>
              <a:t>Click to edit Master title style</a:t>
            </a:r>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r>
              <a:rPr lang="nl-NL"/>
              <a:t>Bron: </a:t>
            </a:r>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dirty="0"/>
              <a:t>Footnote</a:t>
            </a:r>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3554299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1_Box (1)">
  <p:cSld name="1_Box (1)">
    <p:spTree>
      <p:nvGrpSpPr>
        <p:cNvPr id="1" name="Shape 69"/>
        <p:cNvGrpSpPr/>
        <p:nvPr/>
      </p:nvGrpSpPr>
      <p:grpSpPr>
        <a:xfrm>
          <a:off x="0" y="0"/>
          <a:ext cx="0" cy="0"/>
          <a:chOff x="0" y="0"/>
          <a:chExt cx="0" cy="0"/>
        </a:xfrm>
      </p:grpSpPr>
      <p:graphicFrame>
        <p:nvGraphicFramePr>
          <p:cNvPr id="70" name="Google Shape;70;p39" hidden="1"/>
          <p:cNvGraphicFramePr/>
          <p:nvPr>
            <p:extLst>
              <p:ext uri="{D42A27DB-BD31-4B8C-83A1-F6EECF244321}">
                <p14:modId xmlns:p14="http://schemas.microsoft.com/office/powerpoint/2010/main" val="4127491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8" name="think-cell Slide" r:id="rId3" imgW="1588" imgH="1588" progId="TCLayout.ActiveDocument.1">
                  <p:embed/>
                </p:oleObj>
              </mc:Choice>
              <mc:Fallback>
                <p:oleObj name="think-cell Slide" r:id="rId3" imgW="1588" imgH="1588" progId="TCLayout.ActiveDocument.1">
                  <p:embed/>
                  <p:pic>
                    <p:nvPicPr>
                      <p:cNvPr id="70" name="Google Shape;70;p39" hidden="1"/>
                      <p:cNvPicPr preferRelativeResize="0"/>
                      <p:nvPr/>
                    </p:nvPicPr>
                    <p:blipFill rotWithShape="1">
                      <a:blip r:embed="rId4">
                        <a:alphaModFix/>
                      </a:blip>
                      <a:srcRect/>
                      <a:stretch/>
                    </p:blipFill>
                    <p:spPr>
                      <a:xfrm>
                        <a:off x="1588" y="1588"/>
                        <a:ext cx="1588" cy="1588"/>
                      </a:xfrm>
                      <a:prstGeom prst="rect">
                        <a:avLst/>
                      </a:prstGeom>
                      <a:noFill/>
                      <a:ln>
                        <a:noFill/>
                      </a:ln>
                    </p:spPr>
                  </p:pic>
                </p:oleObj>
              </mc:Fallback>
            </mc:AlternateContent>
          </a:graphicData>
        </a:graphic>
      </p:graphicFrame>
      <p:sp>
        <p:nvSpPr>
          <p:cNvPr id="71" name="Google Shape;71;p39"/>
          <p:cNvSpPr txBox="1">
            <a:spLocks noGrp="1"/>
          </p:cNvSpPr>
          <p:nvPr>
            <p:ph type="body" idx="1"/>
          </p:nvPr>
        </p:nvSpPr>
        <p:spPr>
          <a:xfrm>
            <a:off x="666748" y="1592263"/>
            <a:ext cx="10866440" cy="4716462"/>
          </a:xfrm>
          <a:prstGeom prst="rect">
            <a:avLst/>
          </a:prstGeom>
          <a:noFill/>
          <a:ln>
            <a:noFill/>
          </a:ln>
        </p:spPr>
        <p:txBody>
          <a:bodyPr spcFirstLastPara="1" wrap="square" lIns="72000" tIns="72000" rIns="72000" bIns="72000" anchor="t" anchorCtr="0">
            <a:noAutofit/>
          </a:bodyPr>
          <a:lstStyle>
            <a:lvl1pPr marL="457200" lvl="0" indent="-317500" algn="l" rtl="0">
              <a:lnSpc>
                <a:spcPct val="90000"/>
              </a:lnSpc>
              <a:spcBef>
                <a:spcPts val="375"/>
              </a:spcBef>
              <a:spcAft>
                <a:spcPts val="0"/>
              </a:spcAft>
              <a:buSzPts val="1400"/>
              <a:buChar char="▪"/>
              <a:defRPr/>
            </a:lvl1pPr>
            <a:lvl2pPr marL="914400" lvl="1" indent="-317500" algn="l">
              <a:lnSpc>
                <a:spcPct val="90000"/>
              </a:lnSpc>
              <a:spcBef>
                <a:spcPts val="375"/>
              </a:spcBef>
              <a:spcAft>
                <a:spcPts val="0"/>
              </a:spcAft>
              <a:buSzPts val="1400"/>
              <a:buFont typeface="Corbel"/>
              <a:buChar char="-"/>
              <a:defRPr/>
            </a:lvl2pPr>
            <a:lvl3pPr marL="1371600" lvl="2" indent="-317500" algn="l">
              <a:lnSpc>
                <a:spcPct val="90000"/>
              </a:lnSpc>
              <a:spcBef>
                <a:spcPts val="375"/>
              </a:spcBef>
              <a:spcAft>
                <a:spcPts val="0"/>
              </a:spcAft>
              <a:buSzPts val="1400"/>
              <a:buFont typeface="Corbel"/>
              <a:buChar char="-"/>
              <a:defRPr/>
            </a:lvl3pPr>
            <a:lvl4pPr marL="1828800" lvl="3" indent="-317500" algn="l">
              <a:lnSpc>
                <a:spcPct val="90000"/>
              </a:lnSpc>
              <a:spcBef>
                <a:spcPts val="375"/>
              </a:spcBef>
              <a:spcAft>
                <a:spcPts val="0"/>
              </a:spcAft>
              <a:buSzPts val="1400"/>
              <a:buFont typeface="Corbel"/>
              <a:buChar char="-"/>
              <a:defRPr/>
            </a:lvl4pPr>
            <a:lvl5pPr marL="2286000" lvl="4" indent="-317500" algn="l">
              <a:spcBef>
                <a:spcPts val="0"/>
              </a:spcBef>
              <a:spcAft>
                <a:spcPts val="0"/>
              </a:spcAft>
              <a:buSzPts val="1400"/>
              <a:buChar char="-"/>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lang="nl-NL" dirty="0"/>
          </a:p>
        </p:txBody>
      </p:sp>
      <p:sp>
        <p:nvSpPr>
          <p:cNvPr id="72" name="Google Shape;72;p39"/>
          <p:cNvSpPr txBox="1">
            <a:spLocks noGrp="1"/>
          </p:cNvSpPr>
          <p:nvPr>
            <p:ph type="title"/>
          </p:nvPr>
        </p:nvSpPr>
        <p:spPr>
          <a:xfrm>
            <a:off x="666747" y="266699"/>
            <a:ext cx="10866441" cy="930276"/>
          </a:xfrm>
          <a:prstGeom prst="rect">
            <a:avLst/>
          </a:prstGeom>
          <a:noFill/>
          <a:ln>
            <a:noFill/>
          </a:ln>
        </p:spPr>
        <p:txBody>
          <a:bodyPr spcFirstLastPara="1" wrap="square" lIns="36000" tIns="36000" rIns="36000" bIns="36000" anchor="b" anchorCtr="0">
            <a:noAutofit/>
          </a:bodyPr>
          <a:lstStyle>
            <a:lvl1pPr lvl="0" algn="l" rtl="0">
              <a:lnSpc>
                <a:spcPct val="90000"/>
              </a:lnSpc>
              <a:spcBef>
                <a:spcPts val="0"/>
              </a:spcBef>
              <a:spcAft>
                <a:spcPts val="0"/>
              </a:spcAft>
              <a:buClr>
                <a:schemeClr val="dk2"/>
              </a:buClr>
              <a:buSzPts val="2800"/>
              <a:buFont typeface="Corbe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nl-NL" dirty="0"/>
          </a:p>
        </p:txBody>
      </p:sp>
      <p:sp>
        <p:nvSpPr>
          <p:cNvPr id="73" name="Google Shape;73;p39"/>
          <p:cNvSpPr txBox="1">
            <a:spLocks noGrp="1"/>
          </p:cNvSpPr>
          <p:nvPr>
            <p:ph type="sldNum" idx="12"/>
          </p:nvPr>
        </p:nvSpPr>
        <p:spPr>
          <a:xfrm>
            <a:off x="10510048" y="6619875"/>
            <a:ext cx="1023140" cy="163513"/>
          </a:xfrm>
          <a:prstGeom prst="rect">
            <a:avLst/>
          </a:prstGeom>
          <a:noFill/>
          <a:ln>
            <a:noFill/>
          </a:ln>
        </p:spPr>
        <p:txBody>
          <a:bodyPr spcFirstLastPara="1" wrap="square" lIns="0" tIns="0" rIns="72000" bIns="0" anchor="t" anchorCtr="0">
            <a:noAutofit/>
          </a:bodyPr>
          <a:lstStyle>
            <a:lvl1pPr marL="0" lvl="0" indent="0" algn="r" rtl="0">
              <a:lnSpc>
                <a:spcPct val="90000"/>
              </a:lnSpc>
              <a:spcBef>
                <a:spcPts val="0"/>
              </a:spcBef>
              <a:buSzPts val="1000"/>
              <a:buNone/>
              <a:defRPr/>
            </a:lvl1pPr>
            <a:lvl2pPr marL="0" lvl="1" indent="0" algn="r">
              <a:lnSpc>
                <a:spcPct val="90000"/>
              </a:lnSpc>
              <a:spcBef>
                <a:spcPts val="0"/>
              </a:spcBef>
              <a:buSzPts val="1000"/>
              <a:buNone/>
              <a:defRPr/>
            </a:lvl2pPr>
            <a:lvl3pPr marL="0" lvl="2" indent="0" algn="r">
              <a:lnSpc>
                <a:spcPct val="90000"/>
              </a:lnSpc>
              <a:spcBef>
                <a:spcPts val="0"/>
              </a:spcBef>
              <a:buSzPts val="1000"/>
              <a:buNone/>
              <a:defRPr/>
            </a:lvl3pPr>
            <a:lvl4pPr marL="0" lvl="3" indent="0" algn="r">
              <a:lnSpc>
                <a:spcPct val="90000"/>
              </a:lnSpc>
              <a:spcBef>
                <a:spcPts val="0"/>
              </a:spcBef>
              <a:buSzPts val="1000"/>
              <a:buNone/>
              <a:defRPr/>
            </a:lvl4pPr>
            <a:lvl5pPr marL="0" lvl="4" indent="0" algn="r">
              <a:lnSpc>
                <a:spcPct val="90000"/>
              </a:lnSpc>
              <a:spcBef>
                <a:spcPts val="0"/>
              </a:spcBef>
              <a:buSzPts val="1000"/>
              <a:buNone/>
              <a:defRPr/>
            </a:lvl5pPr>
            <a:lvl6pPr marL="0" lvl="5" indent="0" algn="r">
              <a:lnSpc>
                <a:spcPct val="90000"/>
              </a:lnSpc>
              <a:spcBef>
                <a:spcPts val="0"/>
              </a:spcBef>
              <a:buSzPts val="1000"/>
              <a:buNone/>
              <a:defRPr/>
            </a:lvl6pPr>
            <a:lvl7pPr marL="0" lvl="6" indent="0" algn="r">
              <a:lnSpc>
                <a:spcPct val="90000"/>
              </a:lnSpc>
              <a:spcBef>
                <a:spcPts val="0"/>
              </a:spcBef>
              <a:buSzPts val="1000"/>
              <a:buNone/>
              <a:defRPr/>
            </a:lvl7pPr>
            <a:lvl8pPr marL="0" lvl="7" indent="0" algn="r">
              <a:lnSpc>
                <a:spcPct val="90000"/>
              </a:lnSpc>
              <a:spcBef>
                <a:spcPts val="0"/>
              </a:spcBef>
              <a:buSzPts val="1000"/>
              <a:buNone/>
              <a:defRPr/>
            </a:lvl8pPr>
            <a:lvl9pPr marL="0" lvl="8" indent="0" algn="r">
              <a:lnSpc>
                <a:spcPct val="90000"/>
              </a:lnSpc>
              <a:spcBef>
                <a:spcPts val="0"/>
              </a:spcBef>
              <a:buSzPts val="1000"/>
              <a:buNone/>
              <a:defRPr/>
            </a:lvl9pPr>
          </a:lstStyle>
          <a:p>
            <a:fld id="{00000000-1234-1234-1234-123412341234}" type="slidenum">
              <a:rPr lang="nl-NL" smtClean="0"/>
              <a:pPr/>
              <a:t>‹#›</a:t>
            </a:fld>
            <a:endParaRPr lang="nl-NL" dirty="0"/>
          </a:p>
        </p:txBody>
      </p:sp>
      <p:sp>
        <p:nvSpPr>
          <p:cNvPr id="74" name="Google Shape;74;p39"/>
          <p:cNvSpPr txBox="1">
            <a:spLocks noGrp="1"/>
          </p:cNvSpPr>
          <p:nvPr>
            <p:ph type="ftr" idx="11"/>
          </p:nvPr>
        </p:nvSpPr>
        <p:spPr>
          <a:xfrm>
            <a:off x="658813" y="6619875"/>
            <a:ext cx="9799639" cy="163512"/>
          </a:xfrm>
          <a:prstGeom prst="rect">
            <a:avLst/>
          </a:prstGeom>
          <a:noFill/>
          <a:ln>
            <a:noFill/>
          </a:ln>
        </p:spPr>
        <p:txBody>
          <a:bodyPr spcFirstLastPara="1" wrap="square" lIns="36000" tIns="36000" rIns="36000" bIns="36000" anchor="ctr" anchorCtr="0">
            <a:noAutofit/>
          </a:bodyPr>
          <a:lstStyle>
            <a:lvl1pPr lvl="0" algn="l" rtl="0">
              <a:lnSpc>
                <a:spcPct val="90000"/>
              </a:lnSpc>
              <a:spcBef>
                <a:spcPts val="375"/>
              </a:spcBef>
              <a:spcAft>
                <a:spcPts val="0"/>
              </a:spcAft>
              <a:buSzPts val="800"/>
              <a:buNone/>
              <a:defRPr sz="800">
                <a:solidFill>
                  <a:srgbClr val="000000"/>
                </a:solidFill>
                <a:latin typeface="Corbel"/>
                <a:ea typeface="Corbel"/>
                <a:cs typeface="Corbel"/>
                <a:sym typeface="Corbel"/>
              </a:defRPr>
            </a:lvl1pPr>
            <a:lvl2pPr lvl="1" algn="l">
              <a:lnSpc>
                <a:spcPct val="90000"/>
              </a:lnSpc>
              <a:spcBef>
                <a:spcPts val="375"/>
              </a:spcBef>
              <a:spcAft>
                <a:spcPts val="0"/>
              </a:spcAft>
              <a:buSzPts val="1800"/>
              <a:buChar char="-"/>
              <a:defRPr/>
            </a:lvl2pPr>
            <a:lvl3pPr lvl="2" algn="l">
              <a:lnSpc>
                <a:spcPct val="90000"/>
              </a:lnSpc>
              <a:spcBef>
                <a:spcPts val="375"/>
              </a:spcBef>
              <a:spcAft>
                <a:spcPts val="0"/>
              </a:spcAft>
              <a:buSzPts val="1800"/>
              <a:buChar char="-"/>
              <a:defRPr/>
            </a:lvl3pPr>
            <a:lvl4pPr lvl="3" algn="l">
              <a:lnSpc>
                <a:spcPct val="90000"/>
              </a:lnSpc>
              <a:spcBef>
                <a:spcPts val="375"/>
              </a:spcBef>
              <a:spcAft>
                <a:spcPts val="0"/>
              </a:spcAft>
              <a:buSzPts val="1800"/>
              <a:buChar char="-"/>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nl-NL" dirty="0"/>
          </a:p>
        </p:txBody>
      </p:sp>
      <p:sp>
        <p:nvSpPr>
          <p:cNvPr id="75" name="Google Shape;75;p39"/>
          <p:cNvSpPr txBox="1">
            <a:spLocks noGrp="1"/>
          </p:cNvSpPr>
          <p:nvPr>
            <p:ph type="body" idx="2"/>
          </p:nvPr>
        </p:nvSpPr>
        <p:spPr>
          <a:xfrm>
            <a:off x="658812" y="6426470"/>
            <a:ext cx="9799637" cy="163512"/>
          </a:xfrm>
          <a:prstGeom prst="rect">
            <a:avLst/>
          </a:prstGeom>
          <a:noFill/>
          <a:ln>
            <a:noFill/>
          </a:ln>
        </p:spPr>
        <p:txBody>
          <a:bodyPr spcFirstLastPara="1" wrap="square" lIns="72000" tIns="72000" rIns="72000" bIns="72000" anchor="t" anchorCtr="0">
            <a:noAutofit/>
          </a:bodyPr>
          <a:lstStyle>
            <a:lvl1pPr marL="457200" lvl="0" indent="-279400" algn="l" rtl="0">
              <a:lnSpc>
                <a:spcPct val="90000"/>
              </a:lnSpc>
              <a:spcBef>
                <a:spcPts val="375"/>
              </a:spcBef>
              <a:spcAft>
                <a:spcPts val="0"/>
              </a:spcAft>
              <a:buSzPts val="800"/>
              <a:buChar char="▪"/>
              <a:defRPr sz="800"/>
            </a:lvl1pPr>
            <a:lvl2pPr marL="914400" lvl="1" indent="-342900" algn="l">
              <a:lnSpc>
                <a:spcPct val="90000"/>
              </a:lnSpc>
              <a:spcBef>
                <a:spcPts val="375"/>
              </a:spcBef>
              <a:spcAft>
                <a:spcPts val="0"/>
              </a:spcAft>
              <a:buSzPts val="1800"/>
              <a:buChar char="-"/>
              <a:defRPr/>
            </a:lvl2pPr>
            <a:lvl3pPr marL="1371600" lvl="2" indent="-342900" algn="l">
              <a:lnSpc>
                <a:spcPct val="90000"/>
              </a:lnSpc>
              <a:spcBef>
                <a:spcPts val="375"/>
              </a:spcBef>
              <a:spcAft>
                <a:spcPts val="0"/>
              </a:spcAft>
              <a:buSzPts val="1800"/>
              <a:buChar char="-"/>
              <a:defRPr/>
            </a:lvl3pPr>
            <a:lvl4pPr marL="1828800" lvl="3" indent="-342900" algn="l">
              <a:lnSpc>
                <a:spcPct val="90000"/>
              </a:lnSpc>
              <a:spcBef>
                <a:spcPts val="375"/>
              </a:spcBef>
              <a:spcAft>
                <a:spcPts val="0"/>
              </a:spcAft>
              <a:buSzPts val="1800"/>
              <a:buChar char="-"/>
              <a:defRPr/>
            </a:lvl4pPr>
            <a:lvl5pPr marL="2286000" lvl="4" indent="-342900" algn="l">
              <a:spcBef>
                <a:spcPts val="0"/>
              </a:spcBef>
              <a:spcAft>
                <a:spcPts val="0"/>
              </a:spcAft>
              <a:buSzPts val="1800"/>
              <a:buChar char="-"/>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lang="nl-NL" dirty="0"/>
          </a:p>
        </p:txBody>
      </p:sp>
      <p:sp>
        <p:nvSpPr>
          <p:cNvPr id="76" name="Google Shape;76;p39"/>
          <p:cNvSpPr txBox="1">
            <a:spLocks noGrp="1"/>
          </p:cNvSpPr>
          <p:nvPr>
            <p:ph type="body" idx="3"/>
          </p:nvPr>
        </p:nvSpPr>
        <p:spPr>
          <a:xfrm>
            <a:off x="666750" y="1228725"/>
            <a:ext cx="10872000" cy="247650"/>
          </a:xfrm>
          <a:prstGeom prst="rect">
            <a:avLst/>
          </a:prstGeom>
          <a:noFill/>
          <a:ln>
            <a:noFill/>
          </a:ln>
        </p:spPr>
        <p:txBody>
          <a:bodyPr spcFirstLastPara="1" wrap="square" lIns="72000" tIns="72000" rIns="72000" bIns="72000" anchor="t" anchorCtr="0">
            <a:noAutofit/>
          </a:bodyPr>
          <a:lstStyle>
            <a:lvl1pPr marL="457200" lvl="0" indent="-317500" algn="l" rtl="0">
              <a:lnSpc>
                <a:spcPct val="90000"/>
              </a:lnSpc>
              <a:spcBef>
                <a:spcPts val="375"/>
              </a:spcBef>
              <a:spcAft>
                <a:spcPts val="0"/>
              </a:spcAft>
              <a:buSzPts val="1400"/>
              <a:buChar char="▪"/>
              <a:defRPr b="1"/>
            </a:lvl1pPr>
            <a:lvl2pPr marL="914400" lvl="1" indent="-342900" algn="l">
              <a:lnSpc>
                <a:spcPct val="90000"/>
              </a:lnSpc>
              <a:spcBef>
                <a:spcPts val="375"/>
              </a:spcBef>
              <a:spcAft>
                <a:spcPts val="0"/>
              </a:spcAft>
              <a:buSzPts val="1800"/>
              <a:buChar char="-"/>
              <a:defRPr/>
            </a:lvl2pPr>
            <a:lvl3pPr marL="1371600" lvl="2" indent="-342900" algn="l">
              <a:lnSpc>
                <a:spcPct val="90000"/>
              </a:lnSpc>
              <a:spcBef>
                <a:spcPts val="375"/>
              </a:spcBef>
              <a:spcAft>
                <a:spcPts val="0"/>
              </a:spcAft>
              <a:buSzPts val="1800"/>
              <a:buChar char="-"/>
              <a:defRPr/>
            </a:lvl3pPr>
            <a:lvl4pPr marL="1828800" lvl="3" indent="-342900" algn="l">
              <a:lnSpc>
                <a:spcPct val="90000"/>
              </a:lnSpc>
              <a:spcBef>
                <a:spcPts val="375"/>
              </a:spcBef>
              <a:spcAft>
                <a:spcPts val="0"/>
              </a:spcAft>
              <a:buSzPts val="1800"/>
              <a:buChar char="-"/>
              <a:defRPr/>
            </a:lvl4pPr>
            <a:lvl5pPr marL="2286000" lvl="4" indent="-342900" algn="l">
              <a:spcBef>
                <a:spcPts val="0"/>
              </a:spcBef>
              <a:spcAft>
                <a:spcPts val="0"/>
              </a:spcAft>
              <a:buSzPts val="1800"/>
              <a:buChar char="-"/>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lang="nl-NL" dirty="0"/>
          </a:p>
        </p:txBody>
      </p:sp>
    </p:spTree>
    <p:extLst>
      <p:ext uri="{BB962C8B-B14F-4D97-AF65-F5344CB8AC3E}">
        <p14:creationId xmlns:p14="http://schemas.microsoft.com/office/powerpoint/2010/main" val="10323855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Box (2) Charts (2)">
  <p:cSld name="1_Box (2) Charts (2)">
    <p:spTree>
      <p:nvGrpSpPr>
        <p:cNvPr id="1" name="Shape 87"/>
        <p:cNvGrpSpPr/>
        <p:nvPr/>
      </p:nvGrpSpPr>
      <p:grpSpPr>
        <a:xfrm>
          <a:off x="0" y="0"/>
          <a:ext cx="0" cy="0"/>
          <a:chOff x="0" y="0"/>
          <a:chExt cx="0" cy="0"/>
        </a:xfrm>
      </p:grpSpPr>
      <p:graphicFrame>
        <p:nvGraphicFramePr>
          <p:cNvPr id="88" name="Google Shape;88;p41" hidden="1"/>
          <p:cNvGraphicFramePr/>
          <p:nvPr>
            <p:extLst>
              <p:ext uri="{D42A27DB-BD31-4B8C-83A1-F6EECF244321}">
                <p14:modId xmlns:p14="http://schemas.microsoft.com/office/powerpoint/2010/main" val="87492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2" name="think-cell Slide" r:id="rId3" imgW="1588" imgH="1588" progId="TCLayout.ActiveDocument.1">
                  <p:embed/>
                </p:oleObj>
              </mc:Choice>
              <mc:Fallback>
                <p:oleObj name="think-cell Slide" r:id="rId3" imgW="1588" imgH="1588" progId="TCLayout.ActiveDocument.1">
                  <p:embed/>
                  <p:pic>
                    <p:nvPicPr>
                      <p:cNvPr id="88" name="Google Shape;88;p41" hidden="1"/>
                      <p:cNvPicPr preferRelativeResize="0"/>
                      <p:nvPr/>
                    </p:nvPicPr>
                    <p:blipFill rotWithShape="1">
                      <a:blip r:embed="rId4">
                        <a:alphaModFix/>
                      </a:blip>
                      <a:srcRect/>
                      <a:stretch/>
                    </p:blipFill>
                    <p:spPr>
                      <a:xfrm>
                        <a:off x="1588" y="1588"/>
                        <a:ext cx="1588" cy="1588"/>
                      </a:xfrm>
                      <a:prstGeom prst="rect">
                        <a:avLst/>
                      </a:prstGeom>
                      <a:noFill/>
                      <a:ln>
                        <a:noFill/>
                      </a:ln>
                    </p:spPr>
                  </p:pic>
                </p:oleObj>
              </mc:Fallback>
            </mc:AlternateContent>
          </a:graphicData>
        </a:graphic>
      </p:graphicFrame>
      <p:sp>
        <p:nvSpPr>
          <p:cNvPr id="89" name="Google Shape;89;p41"/>
          <p:cNvSpPr txBox="1">
            <a:spLocks noGrp="1"/>
          </p:cNvSpPr>
          <p:nvPr>
            <p:ph type="body" idx="1"/>
          </p:nvPr>
        </p:nvSpPr>
        <p:spPr>
          <a:xfrm>
            <a:off x="6237221" y="2059963"/>
            <a:ext cx="5292000" cy="4284000"/>
          </a:xfrm>
          <a:prstGeom prst="rect">
            <a:avLst/>
          </a:prstGeom>
          <a:noFill/>
          <a:ln>
            <a:noFill/>
          </a:ln>
        </p:spPr>
        <p:txBody>
          <a:bodyPr spcFirstLastPara="1" wrap="square" lIns="72000" tIns="72000" rIns="72000" bIns="72000" anchor="t" anchorCtr="0">
            <a:normAutofit/>
          </a:bodyPr>
          <a:lstStyle>
            <a:lvl1pPr marL="457200" lvl="0" indent="-317500" algn="l" rtl="0">
              <a:lnSpc>
                <a:spcPct val="90000"/>
              </a:lnSpc>
              <a:spcBef>
                <a:spcPts val="375"/>
              </a:spcBef>
              <a:spcAft>
                <a:spcPts val="0"/>
              </a:spcAft>
              <a:buSzPts val="1400"/>
              <a:buChar char="▪"/>
              <a:defRPr/>
            </a:lvl1pPr>
            <a:lvl2pPr marL="914400" lvl="1" indent="-317500" algn="l">
              <a:lnSpc>
                <a:spcPct val="90000"/>
              </a:lnSpc>
              <a:spcBef>
                <a:spcPts val="375"/>
              </a:spcBef>
              <a:spcAft>
                <a:spcPts val="0"/>
              </a:spcAft>
              <a:buSzPts val="1400"/>
              <a:buFont typeface="Corbel"/>
              <a:buChar char="-"/>
              <a:defRPr>
                <a:solidFill>
                  <a:schemeClr val="dk1"/>
                </a:solidFill>
              </a:defRPr>
            </a:lvl2pPr>
            <a:lvl3pPr marL="1371600" lvl="2" indent="-317500" algn="l">
              <a:lnSpc>
                <a:spcPct val="90000"/>
              </a:lnSpc>
              <a:spcBef>
                <a:spcPts val="375"/>
              </a:spcBef>
              <a:spcAft>
                <a:spcPts val="0"/>
              </a:spcAft>
              <a:buSzPts val="1400"/>
              <a:buFont typeface="Corbel"/>
              <a:buChar char="-"/>
              <a:defRPr>
                <a:solidFill>
                  <a:schemeClr val="dk1"/>
                </a:solidFill>
              </a:defRPr>
            </a:lvl3pPr>
            <a:lvl4pPr marL="1828800" lvl="3" indent="-317500" algn="l">
              <a:lnSpc>
                <a:spcPct val="90000"/>
              </a:lnSpc>
              <a:spcBef>
                <a:spcPts val="375"/>
              </a:spcBef>
              <a:spcAft>
                <a:spcPts val="0"/>
              </a:spcAft>
              <a:buSzPts val="1400"/>
              <a:buFont typeface="Corbel"/>
              <a:buChar char="-"/>
              <a:defRPr>
                <a:solidFill>
                  <a:schemeClr val="dk1"/>
                </a:solidFill>
              </a:defRPr>
            </a:lvl4pPr>
            <a:lvl5pPr marL="2286000" lvl="4" indent="-317500" algn="l">
              <a:spcBef>
                <a:spcPts val="0"/>
              </a:spcBef>
              <a:spcAft>
                <a:spcPts val="0"/>
              </a:spcAft>
              <a:buSzPts val="1400"/>
              <a:buChar char="-"/>
              <a:defRPr>
                <a:solidFill>
                  <a:schemeClr val="dk1"/>
                </a:solidFill>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lang="nl-NL" dirty="0"/>
          </a:p>
        </p:txBody>
      </p:sp>
      <p:sp>
        <p:nvSpPr>
          <p:cNvPr id="90" name="Google Shape;90;p41"/>
          <p:cNvSpPr txBox="1">
            <a:spLocks noGrp="1"/>
          </p:cNvSpPr>
          <p:nvPr>
            <p:ph type="body" idx="2"/>
          </p:nvPr>
        </p:nvSpPr>
        <p:spPr>
          <a:xfrm>
            <a:off x="662780" y="2059963"/>
            <a:ext cx="5292000" cy="4284000"/>
          </a:xfrm>
          <a:prstGeom prst="rect">
            <a:avLst/>
          </a:prstGeom>
          <a:noFill/>
          <a:ln>
            <a:noFill/>
          </a:ln>
        </p:spPr>
        <p:txBody>
          <a:bodyPr spcFirstLastPara="1" wrap="square" lIns="72000" tIns="72000" rIns="72000" bIns="72000" anchor="t" anchorCtr="0">
            <a:normAutofit/>
          </a:bodyPr>
          <a:lstStyle>
            <a:lvl1pPr marL="457200" lvl="0" indent="-317500" algn="l" rtl="0">
              <a:lnSpc>
                <a:spcPct val="90000"/>
              </a:lnSpc>
              <a:spcBef>
                <a:spcPts val="375"/>
              </a:spcBef>
              <a:spcAft>
                <a:spcPts val="0"/>
              </a:spcAft>
              <a:buSzPts val="1400"/>
              <a:buChar char="▪"/>
              <a:defRPr/>
            </a:lvl1pPr>
            <a:lvl2pPr marL="914400" lvl="1" indent="-317500" algn="l">
              <a:lnSpc>
                <a:spcPct val="90000"/>
              </a:lnSpc>
              <a:spcBef>
                <a:spcPts val="375"/>
              </a:spcBef>
              <a:spcAft>
                <a:spcPts val="0"/>
              </a:spcAft>
              <a:buSzPts val="1400"/>
              <a:buFont typeface="Corbel"/>
              <a:buChar char="-"/>
              <a:defRPr>
                <a:solidFill>
                  <a:schemeClr val="dk1"/>
                </a:solidFill>
              </a:defRPr>
            </a:lvl2pPr>
            <a:lvl3pPr marL="1371600" lvl="2" indent="-317500" algn="l">
              <a:lnSpc>
                <a:spcPct val="90000"/>
              </a:lnSpc>
              <a:spcBef>
                <a:spcPts val="375"/>
              </a:spcBef>
              <a:spcAft>
                <a:spcPts val="0"/>
              </a:spcAft>
              <a:buSzPts val="1400"/>
              <a:buFont typeface="Corbel"/>
              <a:buChar char="-"/>
              <a:defRPr>
                <a:solidFill>
                  <a:schemeClr val="dk1"/>
                </a:solidFill>
              </a:defRPr>
            </a:lvl3pPr>
            <a:lvl4pPr marL="1828800" lvl="3" indent="-317500" algn="l">
              <a:lnSpc>
                <a:spcPct val="90000"/>
              </a:lnSpc>
              <a:spcBef>
                <a:spcPts val="375"/>
              </a:spcBef>
              <a:spcAft>
                <a:spcPts val="0"/>
              </a:spcAft>
              <a:buSzPts val="1400"/>
              <a:buFont typeface="Corbel"/>
              <a:buChar char="-"/>
              <a:defRPr>
                <a:solidFill>
                  <a:schemeClr val="dk1"/>
                </a:solidFill>
              </a:defRPr>
            </a:lvl4pPr>
            <a:lvl5pPr marL="2286000" lvl="4" indent="-317500" algn="l">
              <a:spcBef>
                <a:spcPts val="0"/>
              </a:spcBef>
              <a:spcAft>
                <a:spcPts val="0"/>
              </a:spcAft>
              <a:buSzPts val="1400"/>
              <a:buChar char="-"/>
              <a:defRPr>
                <a:solidFill>
                  <a:schemeClr val="dk1"/>
                </a:solidFill>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lang="nl-NL" dirty="0"/>
          </a:p>
        </p:txBody>
      </p:sp>
      <p:sp>
        <p:nvSpPr>
          <p:cNvPr id="91" name="Google Shape;91;p41"/>
          <p:cNvSpPr txBox="1">
            <a:spLocks noGrp="1"/>
          </p:cNvSpPr>
          <p:nvPr>
            <p:ph type="body" idx="3"/>
          </p:nvPr>
        </p:nvSpPr>
        <p:spPr>
          <a:xfrm>
            <a:off x="6237221" y="1699963"/>
            <a:ext cx="5292000" cy="360000"/>
          </a:xfrm>
          <a:prstGeom prst="rect">
            <a:avLst/>
          </a:prstGeom>
          <a:noFill/>
          <a:ln>
            <a:noFill/>
          </a:ln>
        </p:spPr>
        <p:txBody>
          <a:bodyPr spcFirstLastPara="1" wrap="square" lIns="7200" tIns="0" rIns="0" bIns="0" anchor="ctr" anchorCtr="0">
            <a:noAutofit/>
          </a:bodyPr>
          <a:lstStyle>
            <a:lvl1pPr marL="457200" lvl="0" indent="-228600" algn="l" rtl="0">
              <a:lnSpc>
                <a:spcPct val="90000"/>
              </a:lnSpc>
              <a:spcBef>
                <a:spcPts val="375"/>
              </a:spcBef>
              <a:spcAft>
                <a:spcPts val="0"/>
              </a:spcAft>
              <a:buSzPts val="1400"/>
              <a:buNone/>
              <a:defRPr b="1">
                <a:solidFill>
                  <a:schemeClr val="dk1"/>
                </a:solidFill>
              </a:defRPr>
            </a:lvl1pPr>
            <a:lvl2pPr marL="914400" lvl="1" indent="-342900" algn="l">
              <a:lnSpc>
                <a:spcPct val="90000"/>
              </a:lnSpc>
              <a:spcBef>
                <a:spcPts val="375"/>
              </a:spcBef>
              <a:spcAft>
                <a:spcPts val="0"/>
              </a:spcAft>
              <a:buSzPts val="1800"/>
              <a:buChar char="-"/>
              <a:defRPr/>
            </a:lvl2pPr>
            <a:lvl3pPr marL="1371600" lvl="2" indent="-342900" algn="l">
              <a:lnSpc>
                <a:spcPct val="90000"/>
              </a:lnSpc>
              <a:spcBef>
                <a:spcPts val="375"/>
              </a:spcBef>
              <a:spcAft>
                <a:spcPts val="0"/>
              </a:spcAft>
              <a:buSzPts val="1800"/>
              <a:buChar char="-"/>
              <a:defRPr/>
            </a:lvl3pPr>
            <a:lvl4pPr marL="1828800" lvl="3" indent="-342900" algn="l">
              <a:lnSpc>
                <a:spcPct val="90000"/>
              </a:lnSpc>
              <a:spcBef>
                <a:spcPts val="375"/>
              </a:spcBef>
              <a:spcAft>
                <a:spcPts val="0"/>
              </a:spcAft>
              <a:buSzPts val="1800"/>
              <a:buChar char="-"/>
              <a:defRPr/>
            </a:lvl4pPr>
            <a:lvl5pPr marL="2286000" lvl="4" indent="-342900" algn="l">
              <a:spcBef>
                <a:spcPts val="0"/>
              </a:spcBef>
              <a:spcAft>
                <a:spcPts val="0"/>
              </a:spcAft>
              <a:buSzPts val="1800"/>
              <a:buChar char="-"/>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lang="nl-NL" dirty="0"/>
          </a:p>
        </p:txBody>
      </p:sp>
      <p:sp>
        <p:nvSpPr>
          <p:cNvPr id="92" name="Google Shape;92;p41"/>
          <p:cNvSpPr txBox="1">
            <a:spLocks noGrp="1"/>
          </p:cNvSpPr>
          <p:nvPr>
            <p:ph type="body" idx="4"/>
          </p:nvPr>
        </p:nvSpPr>
        <p:spPr>
          <a:xfrm>
            <a:off x="662780" y="1699963"/>
            <a:ext cx="5292000" cy="360000"/>
          </a:xfrm>
          <a:prstGeom prst="rect">
            <a:avLst/>
          </a:prstGeom>
          <a:noFill/>
          <a:ln>
            <a:noFill/>
          </a:ln>
        </p:spPr>
        <p:txBody>
          <a:bodyPr spcFirstLastPara="1" wrap="square" lIns="7200" tIns="0" rIns="0" bIns="0" anchor="ctr" anchorCtr="0">
            <a:noAutofit/>
          </a:bodyPr>
          <a:lstStyle>
            <a:lvl1pPr marL="457200" lvl="0" indent="-228600" algn="l" rtl="0">
              <a:lnSpc>
                <a:spcPct val="90000"/>
              </a:lnSpc>
              <a:spcBef>
                <a:spcPts val="375"/>
              </a:spcBef>
              <a:spcAft>
                <a:spcPts val="0"/>
              </a:spcAft>
              <a:buSzPts val="1400"/>
              <a:buNone/>
              <a:defRPr b="1">
                <a:solidFill>
                  <a:schemeClr val="dk1"/>
                </a:solidFill>
              </a:defRPr>
            </a:lvl1pPr>
            <a:lvl2pPr marL="914400" lvl="1" indent="-342900" algn="l">
              <a:lnSpc>
                <a:spcPct val="90000"/>
              </a:lnSpc>
              <a:spcBef>
                <a:spcPts val="375"/>
              </a:spcBef>
              <a:spcAft>
                <a:spcPts val="0"/>
              </a:spcAft>
              <a:buSzPts val="1800"/>
              <a:buChar char="-"/>
              <a:defRPr/>
            </a:lvl2pPr>
            <a:lvl3pPr marL="1371600" lvl="2" indent="-342900" algn="l">
              <a:lnSpc>
                <a:spcPct val="90000"/>
              </a:lnSpc>
              <a:spcBef>
                <a:spcPts val="375"/>
              </a:spcBef>
              <a:spcAft>
                <a:spcPts val="0"/>
              </a:spcAft>
              <a:buSzPts val="1800"/>
              <a:buChar char="-"/>
              <a:defRPr/>
            </a:lvl3pPr>
            <a:lvl4pPr marL="1828800" lvl="3" indent="-342900" algn="l">
              <a:lnSpc>
                <a:spcPct val="90000"/>
              </a:lnSpc>
              <a:spcBef>
                <a:spcPts val="375"/>
              </a:spcBef>
              <a:spcAft>
                <a:spcPts val="0"/>
              </a:spcAft>
              <a:buSzPts val="1800"/>
              <a:buChar char="-"/>
              <a:defRPr/>
            </a:lvl4pPr>
            <a:lvl5pPr marL="2286000" lvl="4" indent="-342900" algn="l">
              <a:spcBef>
                <a:spcPts val="0"/>
              </a:spcBef>
              <a:spcAft>
                <a:spcPts val="0"/>
              </a:spcAft>
              <a:buSzPts val="1800"/>
              <a:buChar char="-"/>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lang="nl-NL" dirty="0"/>
          </a:p>
        </p:txBody>
      </p:sp>
      <p:sp>
        <p:nvSpPr>
          <p:cNvPr id="93" name="Google Shape;93;p41"/>
          <p:cNvSpPr txBox="1">
            <a:spLocks noGrp="1"/>
          </p:cNvSpPr>
          <p:nvPr>
            <p:ph type="body" idx="5"/>
          </p:nvPr>
        </p:nvSpPr>
        <p:spPr>
          <a:xfrm>
            <a:off x="662780" y="6487298"/>
            <a:ext cx="10868400" cy="122400"/>
          </a:xfrm>
          <a:prstGeom prst="rect">
            <a:avLst/>
          </a:prstGeom>
          <a:noFill/>
          <a:ln>
            <a:noFill/>
          </a:ln>
        </p:spPr>
        <p:txBody>
          <a:bodyPr spcFirstLastPara="1" wrap="square" lIns="36000" tIns="0" rIns="36000" bIns="0" anchor="b" anchorCtr="0">
            <a:noAutofit/>
          </a:bodyPr>
          <a:lstStyle>
            <a:lvl1pPr marL="457200" lvl="0" indent="-279400" algn="l" rtl="0">
              <a:lnSpc>
                <a:spcPct val="90000"/>
              </a:lnSpc>
              <a:spcBef>
                <a:spcPts val="0"/>
              </a:spcBef>
              <a:spcAft>
                <a:spcPts val="0"/>
              </a:spcAft>
              <a:buClr>
                <a:srgbClr val="000000"/>
              </a:buClr>
              <a:buSzPts val="800"/>
              <a:buFont typeface="Corbel"/>
              <a:buAutoNum type="arabicPeriod"/>
              <a:defRPr sz="800"/>
            </a:lvl1pPr>
            <a:lvl2pPr marL="914400" lvl="1" indent="-342900" algn="l">
              <a:lnSpc>
                <a:spcPct val="90000"/>
              </a:lnSpc>
              <a:spcBef>
                <a:spcPts val="375"/>
              </a:spcBef>
              <a:spcAft>
                <a:spcPts val="0"/>
              </a:spcAft>
              <a:buSzPts val="1800"/>
              <a:buChar char="-"/>
              <a:defRPr/>
            </a:lvl2pPr>
            <a:lvl3pPr marL="1371600" lvl="2" indent="-342900" algn="l">
              <a:lnSpc>
                <a:spcPct val="90000"/>
              </a:lnSpc>
              <a:spcBef>
                <a:spcPts val="375"/>
              </a:spcBef>
              <a:spcAft>
                <a:spcPts val="0"/>
              </a:spcAft>
              <a:buSzPts val="1800"/>
              <a:buChar char="-"/>
              <a:defRPr/>
            </a:lvl3pPr>
            <a:lvl4pPr marL="1828800" lvl="3" indent="-342900" algn="l">
              <a:lnSpc>
                <a:spcPct val="90000"/>
              </a:lnSpc>
              <a:spcBef>
                <a:spcPts val="375"/>
              </a:spcBef>
              <a:spcAft>
                <a:spcPts val="0"/>
              </a:spcAft>
              <a:buSzPts val="1800"/>
              <a:buChar char="-"/>
              <a:defRPr/>
            </a:lvl4pPr>
            <a:lvl5pPr marL="2286000" lvl="4" indent="-342900" algn="l">
              <a:spcBef>
                <a:spcPts val="0"/>
              </a:spcBef>
              <a:spcAft>
                <a:spcPts val="0"/>
              </a:spcAft>
              <a:buSzPts val="1800"/>
              <a:buChar char="-"/>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lang="nl-NL" dirty="0"/>
          </a:p>
        </p:txBody>
      </p:sp>
      <p:sp>
        <p:nvSpPr>
          <p:cNvPr id="94" name="Google Shape;94;p41"/>
          <p:cNvSpPr txBox="1">
            <a:spLocks noGrp="1"/>
          </p:cNvSpPr>
          <p:nvPr>
            <p:ph type="ftr" idx="11"/>
          </p:nvPr>
        </p:nvSpPr>
        <p:spPr>
          <a:xfrm>
            <a:off x="661800" y="6624637"/>
            <a:ext cx="10868400" cy="122400"/>
          </a:xfrm>
          <a:prstGeom prst="rect">
            <a:avLst/>
          </a:prstGeom>
          <a:noFill/>
          <a:ln>
            <a:noFill/>
          </a:ln>
        </p:spPr>
        <p:txBody>
          <a:bodyPr spcFirstLastPara="1" wrap="square" lIns="36000" tIns="0" rIns="36000" bIns="0" anchor="b" anchorCtr="0">
            <a:noAutofit/>
          </a:bodyPr>
          <a:lstStyle>
            <a:lvl1pPr lvl="0" algn="l" rtl="0">
              <a:lnSpc>
                <a:spcPct val="90000"/>
              </a:lnSpc>
              <a:spcBef>
                <a:spcPts val="375"/>
              </a:spcBef>
              <a:spcAft>
                <a:spcPts val="0"/>
              </a:spcAft>
              <a:buSzPts val="800"/>
              <a:buNone/>
              <a:defRPr sz="800">
                <a:solidFill>
                  <a:srgbClr val="000000"/>
                </a:solidFill>
                <a:latin typeface="Corbel"/>
                <a:ea typeface="Corbel"/>
                <a:cs typeface="Corbel"/>
                <a:sym typeface="Corbel"/>
              </a:defRPr>
            </a:lvl1pPr>
            <a:lvl2pPr lvl="1" algn="l">
              <a:lnSpc>
                <a:spcPct val="90000"/>
              </a:lnSpc>
              <a:spcBef>
                <a:spcPts val="375"/>
              </a:spcBef>
              <a:spcAft>
                <a:spcPts val="0"/>
              </a:spcAft>
              <a:buSzPts val="1800"/>
              <a:buChar char="-"/>
              <a:defRPr/>
            </a:lvl2pPr>
            <a:lvl3pPr lvl="2" algn="l">
              <a:lnSpc>
                <a:spcPct val="90000"/>
              </a:lnSpc>
              <a:spcBef>
                <a:spcPts val="375"/>
              </a:spcBef>
              <a:spcAft>
                <a:spcPts val="0"/>
              </a:spcAft>
              <a:buSzPts val="1800"/>
              <a:buChar char="-"/>
              <a:defRPr/>
            </a:lvl3pPr>
            <a:lvl4pPr lvl="3" algn="l">
              <a:lnSpc>
                <a:spcPct val="90000"/>
              </a:lnSpc>
              <a:spcBef>
                <a:spcPts val="375"/>
              </a:spcBef>
              <a:spcAft>
                <a:spcPts val="0"/>
              </a:spcAft>
              <a:buSzPts val="1800"/>
              <a:buChar char="-"/>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nl-NL" dirty="0"/>
          </a:p>
        </p:txBody>
      </p:sp>
      <p:sp>
        <p:nvSpPr>
          <p:cNvPr id="95" name="Google Shape;95;p41"/>
          <p:cNvSpPr txBox="1">
            <a:spLocks noGrp="1"/>
          </p:cNvSpPr>
          <p:nvPr>
            <p:ph type="sldNum" idx="12"/>
          </p:nvPr>
        </p:nvSpPr>
        <p:spPr>
          <a:xfrm>
            <a:off x="10510048" y="6583524"/>
            <a:ext cx="1023140" cy="163513"/>
          </a:xfrm>
          <a:prstGeom prst="rect">
            <a:avLst/>
          </a:prstGeom>
          <a:noFill/>
          <a:ln>
            <a:noFill/>
          </a:ln>
        </p:spPr>
        <p:txBody>
          <a:bodyPr spcFirstLastPara="1" wrap="square" lIns="0" tIns="0" rIns="72000" bIns="0" anchor="t" anchorCtr="0">
            <a:noAutofit/>
          </a:bodyPr>
          <a:lstStyle>
            <a:lvl1pPr marL="0" lvl="0" indent="0" algn="r" rtl="0">
              <a:lnSpc>
                <a:spcPct val="90000"/>
              </a:lnSpc>
              <a:spcBef>
                <a:spcPts val="0"/>
              </a:spcBef>
              <a:buSzPts val="1000"/>
              <a:buNone/>
              <a:defRPr/>
            </a:lvl1pPr>
            <a:lvl2pPr marL="0" lvl="1" indent="0" algn="r">
              <a:lnSpc>
                <a:spcPct val="90000"/>
              </a:lnSpc>
              <a:spcBef>
                <a:spcPts val="0"/>
              </a:spcBef>
              <a:buSzPts val="1000"/>
              <a:buNone/>
              <a:defRPr/>
            </a:lvl2pPr>
            <a:lvl3pPr marL="0" lvl="2" indent="0" algn="r">
              <a:lnSpc>
                <a:spcPct val="90000"/>
              </a:lnSpc>
              <a:spcBef>
                <a:spcPts val="0"/>
              </a:spcBef>
              <a:buSzPts val="1000"/>
              <a:buNone/>
              <a:defRPr/>
            </a:lvl3pPr>
            <a:lvl4pPr marL="0" lvl="3" indent="0" algn="r">
              <a:lnSpc>
                <a:spcPct val="90000"/>
              </a:lnSpc>
              <a:spcBef>
                <a:spcPts val="0"/>
              </a:spcBef>
              <a:buSzPts val="1000"/>
              <a:buNone/>
              <a:defRPr/>
            </a:lvl4pPr>
            <a:lvl5pPr marL="0" lvl="4" indent="0" algn="r">
              <a:lnSpc>
                <a:spcPct val="90000"/>
              </a:lnSpc>
              <a:spcBef>
                <a:spcPts val="0"/>
              </a:spcBef>
              <a:buSzPts val="1000"/>
              <a:buNone/>
              <a:defRPr/>
            </a:lvl5pPr>
            <a:lvl6pPr marL="0" lvl="5" indent="0" algn="r">
              <a:lnSpc>
                <a:spcPct val="90000"/>
              </a:lnSpc>
              <a:spcBef>
                <a:spcPts val="0"/>
              </a:spcBef>
              <a:buSzPts val="1000"/>
              <a:buNone/>
              <a:defRPr/>
            </a:lvl6pPr>
            <a:lvl7pPr marL="0" lvl="6" indent="0" algn="r">
              <a:lnSpc>
                <a:spcPct val="90000"/>
              </a:lnSpc>
              <a:spcBef>
                <a:spcPts val="0"/>
              </a:spcBef>
              <a:buSzPts val="1000"/>
              <a:buNone/>
              <a:defRPr/>
            </a:lvl7pPr>
            <a:lvl8pPr marL="0" lvl="7" indent="0" algn="r">
              <a:lnSpc>
                <a:spcPct val="90000"/>
              </a:lnSpc>
              <a:spcBef>
                <a:spcPts val="0"/>
              </a:spcBef>
              <a:buSzPts val="1000"/>
              <a:buNone/>
              <a:defRPr/>
            </a:lvl8pPr>
            <a:lvl9pPr marL="0" lvl="8" indent="0" algn="r">
              <a:lnSpc>
                <a:spcPct val="90000"/>
              </a:lnSpc>
              <a:spcBef>
                <a:spcPts val="0"/>
              </a:spcBef>
              <a:buSzPts val="1000"/>
              <a:buNone/>
              <a:defRPr/>
            </a:lvl9pPr>
          </a:lstStyle>
          <a:p>
            <a:fld id="{00000000-1234-1234-1234-123412341234}" type="slidenum">
              <a:rPr lang="nl-NL" smtClean="0"/>
              <a:pPr/>
              <a:t>‹#›</a:t>
            </a:fld>
            <a:endParaRPr lang="nl-NL" dirty="0"/>
          </a:p>
        </p:txBody>
      </p:sp>
      <p:sp>
        <p:nvSpPr>
          <p:cNvPr id="96" name="Google Shape;96;p41"/>
          <p:cNvSpPr txBox="1">
            <a:spLocks noGrp="1"/>
          </p:cNvSpPr>
          <p:nvPr>
            <p:ph type="body" idx="6"/>
          </p:nvPr>
        </p:nvSpPr>
        <p:spPr>
          <a:xfrm>
            <a:off x="662780" y="1203211"/>
            <a:ext cx="10866440" cy="388800"/>
          </a:xfrm>
          <a:prstGeom prst="rect">
            <a:avLst/>
          </a:prstGeom>
          <a:noFill/>
          <a:ln>
            <a:noFill/>
          </a:ln>
        </p:spPr>
        <p:txBody>
          <a:bodyPr spcFirstLastPara="1" wrap="square" lIns="7200" tIns="0" rIns="0" bIns="0" anchor="t" anchorCtr="0">
            <a:noAutofit/>
          </a:bodyPr>
          <a:lstStyle>
            <a:lvl1pPr marL="457200" lvl="0" indent="-228600" algn="l" rtl="0">
              <a:lnSpc>
                <a:spcPct val="90000"/>
              </a:lnSpc>
              <a:spcBef>
                <a:spcPts val="0"/>
              </a:spcBef>
              <a:spcAft>
                <a:spcPts val="0"/>
              </a:spcAft>
              <a:buSzPts val="1400"/>
              <a:buNone/>
              <a:defRPr b="1"/>
            </a:lvl1pPr>
            <a:lvl2pPr marL="914400" lvl="1" indent="-342900" algn="l">
              <a:lnSpc>
                <a:spcPct val="90000"/>
              </a:lnSpc>
              <a:spcBef>
                <a:spcPts val="375"/>
              </a:spcBef>
              <a:spcAft>
                <a:spcPts val="0"/>
              </a:spcAft>
              <a:buSzPts val="1800"/>
              <a:buChar char="-"/>
              <a:defRPr/>
            </a:lvl2pPr>
            <a:lvl3pPr marL="1371600" lvl="2" indent="-342900" algn="l">
              <a:lnSpc>
                <a:spcPct val="90000"/>
              </a:lnSpc>
              <a:spcBef>
                <a:spcPts val="375"/>
              </a:spcBef>
              <a:spcAft>
                <a:spcPts val="0"/>
              </a:spcAft>
              <a:buSzPts val="1800"/>
              <a:buChar char="-"/>
              <a:defRPr/>
            </a:lvl3pPr>
            <a:lvl4pPr marL="1828800" lvl="3" indent="-342900" algn="l">
              <a:lnSpc>
                <a:spcPct val="90000"/>
              </a:lnSpc>
              <a:spcBef>
                <a:spcPts val="375"/>
              </a:spcBef>
              <a:spcAft>
                <a:spcPts val="0"/>
              </a:spcAft>
              <a:buSzPts val="1800"/>
              <a:buChar char="-"/>
              <a:defRPr/>
            </a:lvl4pPr>
            <a:lvl5pPr marL="2286000" lvl="4" indent="-342900" algn="l">
              <a:spcBef>
                <a:spcPts val="0"/>
              </a:spcBef>
              <a:spcAft>
                <a:spcPts val="0"/>
              </a:spcAft>
              <a:buSzPts val="1800"/>
              <a:buChar char="-"/>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lang="nl-NL" dirty="0"/>
          </a:p>
        </p:txBody>
      </p:sp>
      <p:sp>
        <p:nvSpPr>
          <p:cNvPr id="97" name="Google Shape;97;p41"/>
          <p:cNvSpPr txBox="1">
            <a:spLocks noGrp="1"/>
          </p:cNvSpPr>
          <p:nvPr>
            <p:ph type="title"/>
          </p:nvPr>
        </p:nvSpPr>
        <p:spPr>
          <a:xfrm>
            <a:off x="662780" y="384876"/>
            <a:ext cx="10866441" cy="774000"/>
          </a:xfrm>
          <a:prstGeom prst="rect">
            <a:avLst/>
          </a:prstGeom>
          <a:noFill/>
          <a:ln>
            <a:noFill/>
          </a:ln>
        </p:spPr>
        <p:txBody>
          <a:bodyPr spcFirstLastPara="1" wrap="square" lIns="0" tIns="0" rIns="0" bIns="0" anchor="b" anchorCtr="0">
            <a:noAutofit/>
          </a:bodyPr>
          <a:lstStyle>
            <a:lvl1pPr lvl="0" algn="l" rtl="0">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nl-NL" dirty="0"/>
          </a:p>
        </p:txBody>
      </p:sp>
    </p:spTree>
    <p:extLst>
      <p:ext uri="{BB962C8B-B14F-4D97-AF65-F5344CB8AC3E}">
        <p14:creationId xmlns:p14="http://schemas.microsoft.com/office/powerpoint/2010/main" val="8565210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Box (2)">
  <p:cSld name="1_Box (2)">
    <p:spTree>
      <p:nvGrpSpPr>
        <p:cNvPr id="1" name="Shape 1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BCFDA2D-22A0-4168-AB0B-1EFE0EDF6EB5}"/>
              </a:ext>
            </a:extLst>
          </p:cNvPr>
          <p:cNvGraphicFramePr>
            <a:graphicFrameLocks noChangeAspect="1"/>
          </p:cNvGraphicFramePr>
          <p:nvPr userDrawn="1">
            <p:custDataLst>
              <p:tags r:id="rId2"/>
            </p:custDataLst>
            <p:extLst>
              <p:ext uri="{D42A27DB-BD31-4B8C-83A1-F6EECF244321}">
                <p14:modId xmlns:p14="http://schemas.microsoft.com/office/powerpoint/2010/main" val="4235553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6"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BBCFDA2D-22A0-4168-AB0B-1EFE0EDF6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4" name="Google Shape;124;p15"/>
          <p:cNvSpPr txBox="1">
            <a:spLocks noGrp="1"/>
          </p:cNvSpPr>
          <p:nvPr>
            <p:ph type="ftr" idx="11"/>
          </p:nvPr>
        </p:nvSpPr>
        <p:spPr>
          <a:xfrm>
            <a:off x="658814" y="6619875"/>
            <a:ext cx="9675812" cy="163512"/>
          </a:xfrm>
          <a:prstGeom prst="rect">
            <a:avLst/>
          </a:prstGeom>
          <a:noFill/>
          <a:ln>
            <a:noFill/>
          </a:ln>
        </p:spPr>
        <p:txBody>
          <a:bodyPr spcFirstLastPara="1" wrap="square" lIns="54000" tIns="13500" rIns="54000" bIns="13500" anchor="b" anchorCtr="0">
            <a:noAutofit/>
          </a:bodyPr>
          <a:lstStyle>
            <a:lvl1pPr lvl="0" algn="l" rtl="0">
              <a:spcBef>
                <a:spcPts val="0"/>
              </a:spcBef>
              <a:spcAft>
                <a:spcPts val="0"/>
              </a:spcAft>
              <a:buClr>
                <a:srgbClr val="000000"/>
              </a:buClr>
              <a:buSzPts val="1100"/>
              <a:buFont typeface="Corbel"/>
              <a:buNone/>
              <a:defRPr/>
            </a:lvl1pPr>
            <a:lvl2pPr lvl="1" algn="l">
              <a:spcBef>
                <a:spcPts val="0"/>
              </a:spcBef>
              <a:spcAft>
                <a:spcPts val="0"/>
              </a:spcAft>
              <a:buClr>
                <a:schemeClr val="dk1"/>
              </a:buClr>
              <a:buSzPts val="1100"/>
              <a:buFont typeface="Corbel"/>
              <a:buNone/>
              <a:defRPr/>
            </a:lvl2pPr>
            <a:lvl3pPr lvl="2" algn="l">
              <a:spcBef>
                <a:spcPts val="0"/>
              </a:spcBef>
              <a:spcAft>
                <a:spcPts val="0"/>
              </a:spcAft>
              <a:buClr>
                <a:schemeClr val="dk1"/>
              </a:buClr>
              <a:buSzPts val="1100"/>
              <a:buFont typeface="Corbel"/>
              <a:buNone/>
              <a:defRPr/>
            </a:lvl3pPr>
            <a:lvl4pPr lvl="3" algn="l">
              <a:spcBef>
                <a:spcPts val="0"/>
              </a:spcBef>
              <a:spcAft>
                <a:spcPts val="0"/>
              </a:spcAft>
              <a:buClr>
                <a:schemeClr val="dk1"/>
              </a:buClr>
              <a:buSzPts val="1100"/>
              <a:buFont typeface="Corbel"/>
              <a:buNone/>
              <a:defRPr/>
            </a:lvl4pPr>
            <a:lvl5pPr lvl="4" algn="l">
              <a:spcBef>
                <a:spcPts val="0"/>
              </a:spcBef>
              <a:spcAft>
                <a:spcPts val="0"/>
              </a:spcAft>
              <a:buClr>
                <a:schemeClr val="dk1"/>
              </a:buClr>
              <a:buSzPts val="1100"/>
              <a:buFont typeface="Corbel"/>
              <a:buNone/>
              <a:defRPr/>
            </a:lvl5pPr>
            <a:lvl6pPr lvl="5" algn="l">
              <a:spcBef>
                <a:spcPts val="0"/>
              </a:spcBef>
              <a:spcAft>
                <a:spcPts val="0"/>
              </a:spcAft>
              <a:buClr>
                <a:schemeClr val="dk1"/>
              </a:buClr>
              <a:buSzPts val="1100"/>
              <a:buFont typeface="Corbel"/>
              <a:buNone/>
              <a:defRPr/>
            </a:lvl6pPr>
            <a:lvl7pPr lvl="6" algn="l">
              <a:spcBef>
                <a:spcPts val="0"/>
              </a:spcBef>
              <a:spcAft>
                <a:spcPts val="0"/>
              </a:spcAft>
              <a:buClr>
                <a:schemeClr val="dk1"/>
              </a:buClr>
              <a:buSzPts val="1100"/>
              <a:buFont typeface="Corbel"/>
              <a:buNone/>
              <a:defRPr/>
            </a:lvl7pPr>
            <a:lvl8pPr lvl="7" algn="l">
              <a:spcBef>
                <a:spcPts val="0"/>
              </a:spcBef>
              <a:spcAft>
                <a:spcPts val="0"/>
              </a:spcAft>
              <a:buClr>
                <a:schemeClr val="dk1"/>
              </a:buClr>
              <a:buSzPts val="1100"/>
              <a:buFont typeface="Corbel"/>
              <a:buNone/>
              <a:defRPr/>
            </a:lvl8pPr>
            <a:lvl9pPr lvl="8" algn="l">
              <a:spcBef>
                <a:spcPts val="0"/>
              </a:spcBef>
              <a:spcAft>
                <a:spcPts val="0"/>
              </a:spcAft>
              <a:buClr>
                <a:schemeClr val="dk1"/>
              </a:buClr>
              <a:buSzPts val="1100"/>
              <a:buFont typeface="Corbel"/>
              <a:buNone/>
              <a:defRPr/>
            </a:lvl9pPr>
          </a:lstStyle>
          <a:p>
            <a:r>
              <a:rPr lang="nl-NL"/>
              <a:t>Bron: </a:t>
            </a:r>
            <a:endParaRPr lang="nl-NL" dirty="0"/>
          </a:p>
        </p:txBody>
      </p:sp>
      <p:sp>
        <p:nvSpPr>
          <p:cNvPr id="125" name="Google Shape;125;p15"/>
          <p:cNvSpPr txBox="1">
            <a:spLocks noGrp="1"/>
          </p:cNvSpPr>
          <p:nvPr>
            <p:ph type="sldNum" idx="12"/>
          </p:nvPr>
        </p:nvSpPr>
        <p:spPr>
          <a:xfrm>
            <a:off x="10991965" y="6483948"/>
            <a:ext cx="1023140" cy="168275"/>
          </a:xfrm>
          <a:prstGeom prst="rect">
            <a:avLst/>
          </a:prstGeom>
          <a:noFill/>
          <a:ln>
            <a:noFill/>
          </a:ln>
        </p:spPr>
        <p:txBody>
          <a:bodyPr spcFirstLastPara="1" wrap="square" lIns="68575" tIns="34275" rIns="68575" bIns="34275" anchor="ctr" anchorCtr="0">
            <a:noAutofit/>
          </a:bodyPr>
          <a:lstStyle>
            <a:lvl1pPr marL="0" lvl="0" indent="0" algn="r" rtl="0">
              <a:spcBef>
                <a:spcPts val="0"/>
              </a:spcBef>
              <a:buClr>
                <a:schemeClr val="dk1"/>
              </a:buClr>
              <a:buSzPts val="1000"/>
              <a:buFont typeface="Corbel"/>
              <a:buNone/>
              <a:defRPr sz="1000">
                <a:solidFill>
                  <a:schemeClr val="dk1"/>
                </a:solidFill>
                <a:latin typeface="Corbel"/>
                <a:ea typeface="Corbel" panose="020B0503020204020204" pitchFamily="34" charset="0"/>
                <a:cs typeface="Corbel" panose="020B0503020204020204" pitchFamily="34" charset="0"/>
                <a:sym typeface="Corbel"/>
              </a:defRPr>
            </a:lvl1pPr>
            <a:lvl2pPr marL="0" lvl="1" indent="0" algn="r">
              <a:spcBef>
                <a:spcPts val="0"/>
              </a:spcBef>
              <a:buClr>
                <a:schemeClr val="dk1"/>
              </a:buClr>
              <a:buSzPts val="1000"/>
              <a:buFont typeface="Corbel"/>
              <a:buNone/>
              <a:defRPr sz="1000">
                <a:solidFill>
                  <a:schemeClr val="dk1"/>
                </a:solidFill>
                <a:latin typeface="Corbel"/>
                <a:ea typeface="Corbel"/>
                <a:cs typeface="Corbel"/>
                <a:sym typeface="Corbel"/>
              </a:defRPr>
            </a:lvl2pPr>
            <a:lvl3pPr marL="0" lvl="2" indent="0" algn="r">
              <a:spcBef>
                <a:spcPts val="0"/>
              </a:spcBef>
              <a:buClr>
                <a:schemeClr val="dk1"/>
              </a:buClr>
              <a:buSzPts val="1000"/>
              <a:buFont typeface="Corbel"/>
              <a:buNone/>
              <a:defRPr sz="1000">
                <a:solidFill>
                  <a:schemeClr val="dk1"/>
                </a:solidFill>
                <a:latin typeface="Corbel"/>
                <a:ea typeface="Corbel"/>
                <a:cs typeface="Corbel"/>
                <a:sym typeface="Corbel"/>
              </a:defRPr>
            </a:lvl3pPr>
            <a:lvl4pPr marL="0" lvl="3" indent="0" algn="r">
              <a:spcBef>
                <a:spcPts val="0"/>
              </a:spcBef>
              <a:buClr>
                <a:schemeClr val="dk1"/>
              </a:buClr>
              <a:buSzPts val="1000"/>
              <a:buFont typeface="Corbel"/>
              <a:buNone/>
              <a:defRPr sz="1000">
                <a:solidFill>
                  <a:schemeClr val="dk1"/>
                </a:solidFill>
                <a:latin typeface="Corbel"/>
                <a:ea typeface="Corbel"/>
                <a:cs typeface="Corbel"/>
                <a:sym typeface="Corbel"/>
              </a:defRPr>
            </a:lvl4pPr>
            <a:lvl5pPr marL="0" lvl="4" indent="0" algn="r">
              <a:spcBef>
                <a:spcPts val="0"/>
              </a:spcBef>
              <a:buClr>
                <a:schemeClr val="dk1"/>
              </a:buClr>
              <a:buSzPts val="1000"/>
              <a:buFont typeface="Corbel"/>
              <a:buNone/>
              <a:defRPr sz="1000">
                <a:solidFill>
                  <a:schemeClr val="dk1"/>
                </a:solidFill>
                <a:latin typeface="Corbel"/>
                <a:ea typeface="Corbel"/>
                <a:cs typeface="Corbel"/>
                <a:sym typeface="Corbel"/>
              </a:defRPr>
            </a:lvl5pPr>
            <a:lvl6pPr marL="0" lvl="5" indent="0" algn="r">
              <a:spcBef>
                <a:spcPts val="0"/>
              </a:spcBef>
              <a:buClr>
                <a:schemeClr val="dk1"/>
              </a:buClr>
              <a:buSzPts val="1000"/>
              <a:buFont typeface="Corbel"/>
              <a:buNone/>
              <a:defRPr sz="1000">
                <a:solidFill>
                  <a:schemeClr val="dk1"/>
                </a:solidFill>
                <a:latin typeface="Corbel"/>
                <a:ea typeface="Corbel"/>
                <a:cs typeface="Corbel"/>
                <a:sym typeface="Corbel"/>
              </a:defRPr>
            </a:lvl6pPr>
            <a:lvl7pPr marL="0" lvl="6" indent="0" algn="r">
              <a:spcBef>
                <a:spcPts val="0"/>
              </a:spcBef>
              <a:buClr>
                <a:schemeClr val="dk1"/>
              </a:buClr>
              <a:buSzPts val="1000"/>
              <a:buFont typeface="Corbel"/>
              <a:buNone/>
              <a:defRPr sz="1000">
                <a:solidFill>
                  <a:schemeClr val="dk1"/>
                </a:solidFill>
                <a:latin typeface="Corbel"/>
                <a:ea typeface="Corbel"/>
                <a:cs typeface="Corbel"/>
                <a:sym typeface="Corbel"/>
              </a:defRPr>
            </a:lvl7pPr>
            <a:lvl8pPr marL="0" lvl="7" indent="0" algn="r">
              <a:spcBef>
                <a:spcPts val="0"/>
              </a:spcBef>
              <a:buClr>
                <a:schemeClr val="dk1"/>
              </a:buClr>
              <a:buSzPts val="1000"/>
              <a:buFont typeface="Corbel"/>
              <a:buNone/>
              <a:defRPr sz="1000">
                <a:solidFill>
                  <a:schemeClr val="dk1"/>
                </a:solidFill>
                <a:latin typeface="Corbel"/>
                <a:ea typeface="Corbel"/>
                <a:cs typeface="Corbel"/>
                <a:sym typeface="Corbel"/>
              </a:defRPr>
            </a:lvl8pPr>
            <a:lvl9pPr marL="0" lvl="8" indent="0" algn="r">
              <a:spcBef>
                <a:spcPts val="0"/>
              </a:spcBef>
              <a:buClr>
                <a:schemeClr val="dk1"/>
              </a:buClr>
              <a:buSzPts val="1000"/>
              <a:buFont typeface="Corbel"/>
              <a:buNone/>
              <a:defRPr sz="1000">
                <a:solidFill>
                  <a:schemeClr val="dk1"/>
                </a:solidFill>
                <a:latin typeface="Corbel"/>
                <a:ea typeface="Corbel"/>
                <a:cs typeface="Corbel"/>
                <a:sym typeface="Corbel"/>
              </a:defRPr>
            </a:lvl9pPr>
          </a:lstStyle>
          <a:p>
            <a:fld id="{00000000-1234-1234-1234-123412341234}" type="slidenum">
              <a:rPr lang="nl-NL" smtClean="0"/>
              <a:pPr/>
              <a:t>‹#›</a:t>
            </a:fld>
            <a:endParaRPr lang="nl-NL" dirty="0"/>
          </a:p>
        </p:txBody>
      </p:sp>
      <p:sp>
        <p:nvSpPr>
          <p:cNvPr id="126" name="Google Shape;126;p15"/>
          <p:cNvSpPr txBox="1">
            <a:spLocks noGrp="1"/>
          </p:cNvSpPr>
          <p:nvPr>
            <p:ph type="body" idx="1"/>
          </p:nvPr>
        </p:nvSpPr>
        <p:spPr>
          <a:xfrm>
            <a:off x="666749" y="1592263"/>
            <a:ext cx="5332401" cy="4716463"/>
          </a:xfrm>
          <a:prstGeom prst="rect">
            <a:avLst/>
          </a:prstGeom>
          <a:noFill/>
          <a:ln>
            <a:noFill/>
          </a:ln>
        </p:spPr>
        <p:txBody>
          <a:bodyPr spcFirstLastPara="1" wrap="square" lIns="54000" tIns="40500" rIns="54000" bIns="40500" anchor="t" anchorCtr="0">
            <a:noAutofit/>
          </a:bodyPr>
          <a:lstStyle>
            <a:lvl1pPr marL="457200" lvl="0" indent="-228600" algn="l" rtl="0">
              <a:lnSpc>
                <a:spcPct val="90000"/>
              </a:lnSpc>
              <a:spcBef>
                <a:spcPts val="800"/>
              </a:spcBef>
              <a:spcAft>
                <a:spcPts val="0"/>
              </a:spcAft>
              <a:buSzPts val="1100"/>
              <a:buFont typeface="Corbel"/>
              <a:buNone/>
              <a:defRPr/>
            </a:lvl1pPr>
            <a:lvl2pPr marL="914400" lvl="1" indent="-298450" algn="l">
              <a:lnSpc>
                <a:spcPct val="90000"/>
              </a:lnSpc>
              <a:spcBef>
                <a:spcPts val="400"/>
              </a:spcBef>
              <a:spcAft>
                <a:spcPts val="0"/>
              </a:spcAft>
              <a:buSzPts val="1100"/>
              <a:buChar char="▪"/>
              <a:defRPr/>
            </a:lvl2pPr>
            <a:lvl3pPr marL="1371600" lvl="2" indent="-298450" algn="l">
              <a:lnSpc>
                <a:spcPct val="90000"/>
              </a:lnSpc>
              <a:spcBef>
                <a:spcPts val="400"/>
              </a:spcBef>
              <a:spcAft>
                <a:spcPts val="0"/>
              </a:spcAft>
              <a:buSzPts val="1100"/>
              <a:buFont typeface="Corbel"/>
              <a:buChar char="-"/>
              <a:defRPr/>
            </a:lvl3pPr>
            <a:lvl4pPr marL="1828800" lvl="3" indent="-298450" algn="l">
              <a:lnSpc>
                <a:spcPct val="90000"/>
              </a:lnSpc>
              <a:spcBef>
                <a:spcPts val="400"/>
              </a:spcBef>
              <a:spcAft>
                <a:spcPts val="0"/>
              </a:spcAft>
              <a:buSzPts val="1100"/>
              <a:buFont typeface="Corbel"/>
              <a:buChar char="-"/>
              <a:defRPr/>
            </a:lvl4pPr>
            <a:lvl5pPr marL="2286000" lvl="4" indent="-298450" algn="l">
              <a:lnSpc>
                <a:spcPct val="90000"/>
              </a:lnSpc>
              <a:spcBef>
                <a:spcPts val="400"/>
              </a:spcBef>
              <a:spcAft>
                <a:spcPts val="0"/>
              </a:spcAft>
              <a:buSzPts val="1100"/>
              <a:buFont typeface="Corbel"/>
              <a:buChar char="-"/>
              <a:defRPr/>
            </a:lvl5pPr>
            <a:lvl6pPr marL="2743200" lvl="5" indent="-317500" algn="l">
              <a:lnSpc>
                <a:spcPct val="90000"/>
              </a:lnSpc>
              <a:spcBef>
                <a:spcPts val="400"/>
              </a:spcBef>
              <a:spcAft>
                <a:spcPts val="0"/>
              </a:spcAft>
              <a:buSzPts val="1400"/>
              <a:buFont typeface="Corbel"/>
              <a:buChar char="-"/>
              <a:defRPr/>
            </a:lvl6pPr>
            <a:lvl7pPr marL="3200400" lvl="6" indent="-317500" algn="l">
              <a:lnSpc>
                <a:spcPct val="90000"/>
              </a:lnSpc>
              <a:spcBef>
                <a:spcPts val="400"/>
              </a:spcBef>
              <a:spcAft>
                <a:spcPts val="0"/>
              </a:spcAft>
              <a:buSzPts val="1400"/>
              <a:buFont typeface="Corbel"/>
              <a:buChar char="-"/>
              <a:defRPr/>
            </a:lvl7pPr>
            <a:lvl8pPr marL="3657600" lvl="7" indent="-317500" algn="l">
              <a:lnSpc>
                <a:spcPct val="90000"/>
              </a:lnSpc>
              <a:spcBef>
                <a:spcPts val="400"/>
              </a:spcBef>
              <a:spcAft>
                <a:spcPts val="0"/>
              </a:spcAft>
              <a:buSzPts val="1400"/>
              <a:buFont typeface="Corbel"/>
              <a:buChar char="-"/>
              <a:defRPr/>
            </a:lvl8pPr>
            <a:lvl9pPr marL="4114800" lvl="8" indent="-317500" algn="l">
              <a:lnSpc>
                <a:spcPct val="90000"/>
              </a:lnSpc>
              <a:spcBef>
                <a:spcPts val="400"/>
              </a:spcBef>
              <a:spcAft>
                <a:spcPts val="0"/>
              </a:spcAft>
              <a:buSzPts val="1400"/>
              <a:buFont typeface="Corbel"/>
              <a:buChar char="-"/>
              <a:defRPr/>
            </a:lvl9pPr>
          </a:lstStyle>
          <a:p>
            <a:endParaRPr lang="nl-NL" dirty="0"/>
          </a:p>
        </p:txBody>
      </p:sp>
      <p:sp>
        <p:nvSpPr>
          <p:cNvPr id="127" name="Google Shape;127;p15"/>
          <p:cNvSpPr txBox="1">
            <a:spLocks noGrp="1"/>
          </p:cNvSpPr>
          <p:nvPr>
            <p:ph type="body" idx="2"/>
          </p:nvPr>
        </p:nvSpPr>
        <p:spPr>
          <a:xfrm>
            <a:off x="6200788" y="1592263"/>
            <a:ext cx="5332401" cy="4716463"/>
          </a:xfrm>
          <a:prstGeom prst="rect">
            <a:avLst/>
          </a:prstGeom>
          <a:noFill/>
          <a:ln>
            <a:noFill/>
          </a:ln>
        </p:spPr>
        <p:txBody>
          <a:bodyPr spcFirstLastPara="1" wrap="square" lIns="54000" tIns="40500" rIns="54000" bIns="40500" anchor="t" anchorCtr="0">
            <a:noAutofit/>
          </a:bodyPr>
          <a:lstStyle>
            <a:lvl1pPr marL="457200" lvl="0" indent="-228600" algn="l" rtl="0">
              <a:lnSpc>
                <a:spcPct val="90000"/>
              </a:lnSpc>
              <a:spcBef>
                <a:spcPts val="800"/>
              </a:spcBef>
              <a:spcAft>
                <a:spcPts val="0"/>
              </a:spcAft>
              <a:buSzPts val="1100"/>
              <a:buFont typeface="Corbel"/>
              <a:buNone/>
              <a:defRPr/>
            </a:lvl1pPr>
            <a:lvl2pPr marL="914400" lvl="1" indent="-298450" algn="l">
              <a:lnSpc>
                <a:spcPct val="90000"/>
              </a:lnSpc>
              <a:spcBef>
                <a:spcPts val="400"/>
              </a:spcBef>
              <a:spcAft>
                <a:spcPts val="0"/>
              </a:spcAft>
              <a:buSzPts val="1100"/>
              <a:buChar char="▪"/>
              <a:defRPr/>
            </a:lvl2pPr>
            <a:lvl3pPr marL="1371600" lvl="2" indent="-298450" algn="l">
              <a:lnSpc>
                <a:spcPct val="90000"/>
              </a:lnSpc>
              <a:spcBef>
                <a:spcPts val="400"/>
              </a:spcBef>
              <a:spcAft>
                <a:spcPts val="0"/>
              </a:spcAft>
              <a:buSzPts val="1100"/>
              <a:buFont typeface="Corbel"/>
              <a:buChar char="-"/>
              <a:defRPr/>
            </a:lvl3pPr>
            <a:lvl4pPr marL="1828800" lvl="3" indent="-298450" algn="l">
              <a:lnSpc>
                <a:spcPct val="90000"/>
              </a:lnSpc>
              <a:spcBef>
                <a:spcPts val="400"/>
              </a:spcBef>
              <a:spcAft>
                <a:spcPts val="0"/>
              </a:spcAft>
              <a:buSzPts val="1100"/>
              <a:buFont typeface="Corbel"/>
              <a:buChar char="-"/>
              <a:defRPr/>
            </a:lvl4pPr>
            <a:lvl5pPr marL="2286000" lvl="4" indent="-298450" algn="l">
              <a:lnSpc>
                <a:spcPct val="90000"/>
              </a:lnSpc>
              <a:spcBef>
                <a:spcPts val="400"/>
              </a:spcBef>
              <a:spcAft>
                <a:spcPts val="0"/>
              </a:spcAft>
              <a:buSzPts val="1100"/>
              <a:buFont typeface="Corbel"/>
              <a:buChar char="-"/>
              <a:defRPr/>
            </a:lvl5pPr>
            <a:lvl6pPr marL="2743200" lvl="5" indent="-317500" algn="l">
              <a:lnSpc>
                <a:spcPct val="90000"/>
              </a:lnSpc>
              <a:spcBef>
                <a:spcPts val="400"/>
              </a:spcBef>
              <a:spcAft>
                <a:spcPts val="0"/>
              </a:spcAft>
              <a:buSzPts val="1400"/>
              <a:buFont typeface="Corbel"/>
              <a:buChar char="-"/>
              <a:defRPr/>
            </a:lvl6pPr>
            <a:lvl7pPr marL="3200400" lvl="6" indent="-317500" algn="l">
              <a:lnSpc>
                <a:spcPct val="90000"/>
              </a:lnSpc>
              <a:spcBef>
                <a:spcPts val="400"/>
              </a:spcBef>
              <a:spcAft>
                <a:spcPts val="0"/>
              </a:spcAft>
              <a:buSzPts val="1400"/>
              <a:buFont typeface="Corbel"/>
              <a:buChar char="-"/>
              <a:defRPr/>
            </a:lvl7pPr>
            <a:lvl8pPr marL="3657600" lvl="7" indent="-317500" algn="l">
              <a:lnSpc>
                <a:spcPct val="90000"/>
              </a:lnSpc>
              <a:spcBef>
                <a:spcPts val="400"/>
              </a:spcBef>
              <a:spcAft>
                <a:spcPts val="0"/>
              </a:spcAft>
              <a:buSzPts val="1400"/>
              <a:buFont typeface="Corbel"/>
              <a:buChar char="-"/>
              <a:defRPr/>
            </a:lvl8pPr>
            <a:lvl9pPr marL="4114800" lvl="8" indent="-317500" algn="l">
              <a:lnSpc>
                <a:spcPct val="90000"/>
              </a:lnSpc>
              <a:spcBef>
                <a:spcPts val="400"/>
              </a:spcBef>
              <a:spcAft>
                <a:spcPts val="0"/>
              </a:spcAft>
              <a:buSzPts val="1400"/>
              <a:buFont typeface="Corbel"/>
              <a:buChar char="-"/>
              <a:defRPr/>
            </a:lvl9pPr>
          </a:lstStyle>
          <a:p>
            <a:endParaRPr lang="nl-NL" dirty="0"/>
          </a:p>
        </p:txBody>
      </p:sp>
      <p:sp>
        <p:nvSpPr>
          <p:cNvPr id="128" name="Google Shape;128;p15"/>
          <p:cNvSpPr txBox="1">
            <a:spLocks noGrp="1"/>
          </p:cNvSpPr>
          <p:nvPr>
            <p:ph type="title"/>
          </p:nvPr>
        </p:nvSpPr>
        <p:spPr>
          <a:xfrm>
            <a:off x="666748" y="266699"/>
            <a:ext cx="10866441" cy="930276"/>
          </a:xfrm>
          <a:prstGeom prst="rect">
            <a:avLst/>
          </a:prstGeom>
          <a:noFill/>
          <a:ln>
            <a:noFill/>
          </a:ln>
        </p:spPr>
        <p:txBody>
          <a:bodyPr spcFirstLastPara="1" wrap="square" lIns="68575" tIns="34275" rIns="68575" bIns="34275" anchor="b" anchorCtr="0">
            <a:noAutofit/>
          </a:bodyPr>
          <a:lstStyle>
            <a:lvl1pPr lvl="0" algn="l" rtl="0">
              <a:lnSpc>
                <a:spcPct val="90000"/>
              </a:lnSpc>
              <a:spcBef>
                <a:spcPts val="0"/>
              </a:spcBef>
              <a:spcAft>
                <a:spcPts val="0"/>
              </a:spcAft>
              <a:buClr>
                <a:schemeClr val="dk2"/>
              </a:buClr>
              <a:buSzPts val="2100"/>
              <a:buFont typeface="Corbel"/>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lang="nl-NL" dirty="0"/>
          </a:p>
        </p:txBody>
      </p:sp>
    </p:spTree>
    <p:extLst>
      <p:ext uri="{BB962C8B-B14F-4D97-AF65-F5344CB8AC3E}">
        <p14:creationId xmlns:p14="http://schemas.microsoft.com/office/powerpoint/2010/main" val="19199424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userDrawn="1">
            <p:custDataLst>
              <p:tags r:id="rId2"/>
            </p:custDataLst>
            <p:extLst>
              <p:ext uri="{D42A27DB-BD31-4B8C-83A1-F6EECF244321}">
                <p14:modId xmlns:p14="http://schemas.microsoft.com/office/powerpoint/2010/main" val="3888971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73D6CF54-6888-49C1-B8BF-6977FFAB9D3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C2F6D9E3-EDE5-46CD-84A7-D45BBCE6F5A2}"/>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39" name="Slide Number Placeholder">
            <a:extLst>
              <a:ext uri="{FF2B5EF4-FFF2-40B4-BE49-F238E27FC236}">
                <a16:creationId xmlns:a16="http://schemas.microsoft.com/office/drawing/2014/main" id="{E257673E-F987-4E91-9F0D-935C402E5C33}"/>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26419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2"/>
            </p:custDataLst>
            <p:extLst>
              <p:ext uri="{D42A27DB-BD31-4B8C-83A1-F6EECF244321}">
                <p14:modId xmlns:p14="http://schemas.microsoft.com/office/powerpoint/2010/main" val="2470934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34D27F35-324A-49ED-B9DA-EDDAC7A59CB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41" name="Footer Placeholder">
            <a:extLst>
              <a:ext uri="{FF2B5EF4-FFF2-40B4-BE49-F238E27FC236}">
                <a16:creationId xmlns:a16="http://schemas.microsoft.com/office/drawing/2014/main" id="{17E19EDB-F0A8-49BD-B0D8-BF45CE665CD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42" name="Slide Number Placeholder">
            <a:extLst>
              <a:ext uri="{FF2B5EF4-FFF2-40B4-BE49-F238E27FC236}">
                <a16:creationId xmlns:a16="http://schemas.microsoft.com/office/drawing/2014/main" id="{14CB2A98-E6DC-45FF-ACB9-B612C6C61AA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132716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userDrawn="1">
            <p:custDataLst>
              <p:tags r:id="rId2"/>
            </p:custDataLst>
            <p:extLst>
              <p:ext uri="{D42A27DB-BD31-4B8C-83A1-F6EECF244321}">
                <p14:modId xmlns:p14="http://schemas.microsoft.com/office/powerpoint/2010/main" val="426000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07DD6854-ADAC-4C5E-A9F1-AB8D4096608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36AC9973-9AF8-4AC9-BDFB-45EAB7FF0CF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39" name="Slide Number Placeholder">
            <a:extLst>
              <a:ext uri="{FF2B5EF4-FFF2-40B4-BE49-F238E27FC236}">
                <a16:creationId xmlns:a16="http://schemas.microsoft.com/office/drawing/2014/main" id="{3AFE1989-5198-415A-9214-2A488D7DC21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6160525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userDrawn="1">
            <p:custDataLst>
              <p:tags r:id="rId2"/>
            </p:custDataLst>
            <p:extLst>
              <p:ext uri="{D42A27DB-BD31-4B8C-83A1-F6EECF244321}">
                <p14:modId xmlns:p14="http://schemas.microsoft.com/office/powerpoint/2010/main" val="3057307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86927345-2635-4884-A8DE-CF34E923F6A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F30EEE49-E20C-4591-A9C7-7F95868692C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28" name="Slide Number Placeholder">
            <a:extLst>
              <a:ext uri="{FF2B5EF4-FFF2-40B4-BE49-F238E27FC236}">
                <a16:creationId xmlns:a16="http://schemas.microsoft.com/office/drawing/2014/main" id="{E132760D-4599-4160-85A5-7CBF5988375A}"/>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579948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userDrawn="1">
            <p:custDataLst>
              <p:tags r:id="rId2"/>
            </p:custDataLst>
            <p:extLst>
              <p:ext uri="{D42A27DB-BD31-4B8C-83A1-F6EECF244321}">
                <p14:modId xmlns:p14="http://schemas.microsoft.com/office/powerpoint/2010/main" val="2452474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Footnote">
            <a:extLst>
              <a:ext uri="{FF2B5EF4-FFF2-40B4-BE49-F238E27FC236}">
                <a16:creationId xmlns:a16="http://schemas.microsoft.com/office/drawing/2014/main" id="{1D930EB1-B3F0-4ADB-8D73-6D19D446940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3" name="Footer Placeholder">
            <a:extLst>
              <a:ext uri="{FF2B5EF4-FFF2-40B4-BE49-F238E27FC236}">
                <a16:creationId xmlns:a16="http://schemas.microsoft.com/office/drawing/2014/main" id="{DDF64068-3A71-4E09-B0B4-CF00279E25E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24" name="Slide Number Placeholder">
            <a:extLst>
              <a:ext uri="{FF2B5EF4-FFF2-40B4-BE49-F238E27FC236}">
                <a16:creationId xmlns:a16="http://schemas.microsoft.com/office/drawing/2014/main" id="{6E3DBDE4-B679-4342-B506-AD314F14AB3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2235368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2"/>
            </p:custDataLst>
            <p:extLst>
              <p:ext uri="{D42A27DB-BD31-4B8C-83A1-F6EECF244321}">
                <p14:modId xmlns:p14="http://schemas.microsoft.com/office/powerpoint/2010/main" val="837123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Footnote">
            <a:extLst>
              <a:ext uri="{FF2B5EF4-FFF2-40B4-BE49-F238E27FC236}">
                <a16:creationId xmlns:a16="http://schemas.microsoft.com/office/drawing/2014/main" id="{73D0CAFC-CCC1-4CB1-9483-BF4E956E02CD}"/>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D49BCB0D-802F-40B1-B335-72A4185C934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27" name="Slide Number Placeholder">
            <a:extLst>
              <a:ext uri="{FF2B5EF4-FFF2-40B4-BE49-F238E27FC236}">
                <a16:creationId xmlns:a16="http://schemas.microsoft.com/office/drawing/2014/main" id="{B25FAFE7-1BC7-46C2-A013-C9C73D8350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9239448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NUL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0"/>
            </p:custDataLst>
            <p:extLst>
              <p:ext uri="{D42A27DB-BD31-4B8C-83A1-F6EECF244321}">
                <p14:modId xmlns:p14="http://schemas.microsoft.com/office/powerpoint/2010/main" val="250678594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8" name="think-cell Slide" r:id="rId42" imgW="470" imgH="469" progId="TCLayout.ActiveDocument.1">
                  <p:embed/>
                </p:oleObj>
              </mc:Choice>
              <mc:Fallback>
                <p:oleObj name="think-cell Slide" r:id="rId42" imgW="470" imgH="469" progId="TCLayout.ActiveDocument.1">
                  <p:embed/>
                  <p:pic>
                    <p:nvPicPr>
                      <p:cNvPr id="4" name="Object 3" hidden="1"/>
                      <p:cNvPicPr/>
                      <p:nvPr/>
                    </p:nvPicPr>
                    <p:blipFill>
                      <a:blip r:embed="rId43"/>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userDrawn="1">
            <p:custDataLst>
              <p:tags r:id="rId41"/>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6" name="Logo 14">
            <a:extLst>
              <a:ext uri="{FF2B5EF4-FFF2-40B4-BE49-F238E27FC236}">
                <a16:creationId xmlns:a16="http://schemas.microsoft.com/office/drawing/2014/main" id="{90B4F34B-2003-4AA1-8D3D-ED2C69CC3061}"/>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583524"/>
            <a:ext cx="1023140" cy="163513"/>
          </a:xfrm>
          <a:prstGeom prst="rect">
            <a:avLst/>
          </a:prstGeom>
        </p:spPr>
        <p:txBody>
          <a:bodyPr lIns="0" tIns="0" rIns="72000" bIns="0"/>
          <a:lstStyle>
            <a:lvl1pPr marL="0" indent="0" algn="r" rtl="0">
              <a:buNone/>
              <a:defRPr sz="1000">
                <a:latin typeface="+mj-lt"/>
              </a:defRPr>
            </a:lvl1pPr>
          </a:lstStyle>
          <a:p>
            <a:fld id="{992CD0B2-8AB2-4C6C-8876-E15753662C9B}" type="slidenum">
              <a:rPr lang="nl-NL" smtClean="0"/>
              <a:pPr/>
              <a:t>‹#›</a:t>
            </a:fld>
            <a:endParaRPr lang="nl-NL" dirty="0"/>
          </a:p>
        </p:txBody>
      </p:sp>
      <p:sp>
        <p:nvSpPr>
          <p:cNvPr id="33" name="Footer Placeholder">
            <a:extLst>
              <a:ext uri="{FF2B5EF4-FFF2-40B4-BE49-F238E27FC236}">
                <a16:creationId xmlns:a16="http://schemas.microsoft.com/office/drawing/2014/main" id="{593325AB-2E3E-4F09-994C-09FEE1213BD5}"/>
              </a:ext>
            </a:extLst>
          </p:cNvPr>
          <p:cNvSpPr>
            <a:spLocks noGrp="1"/>
          </p:cNvSpPr>
          <p:nvPr>
            <p:ph type="ftr" sz="quarter" idx="3"/>
          </p:nvPr>
        </p:nvSpPr>
        <p:spPr>
          <a:xfrm>
            <a:off x="661193" y="6624637"/>
            <a:ext cx="10868400" cy="122400"/>
          </a:xfrm>
          <a:prstGeom prst="rect">
            <a:avLst/>
          </a:prstGeom>
        </p:spPr>
        <p:txBody>
          <a:bodyPr vert="horz" lIns="36000" tIns="0" rIns="36000" bIns="0" rtlCol="0" anchor="b"/>
          <a:lstStyle>
            <a:lvl1pPr marL="0" indent="0" algn="l" rtl="0">
              <a:buNone/>
              <a:defRPr sz="800">
                <a:solidFill>
                  <a:srgbClr val="000000"/>
                </a:solidFill>
                <a:latin typeface="+mn-lt"/>
              </a:defRPr>
            </a:lvl1pPr>
          </a:lstStyle>
          <a:p>
            <a:r>
              <a:rPr lang="nl-NL"/>
              <a:t>Bron: </a:t>
            </a:r>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1690676330"/>
      </p:ext>
    </p:extLst>
  </p:cSld>
  <p:clrMap bg1="lt1" tx1="dk1" bg2="lt2" tx2="dk2" accent1="accent1" accent2="accent2" accent3="accent3" accent4="accent4" accent5="accent5" accent6="accent6" hlink="hlink" folHlink="folHlink"/>
  <p:sldLayoutIdLst>
    <p:sldLayoutId id="2147484008" r:id="rId1"/>
    <p:sldLayoutId id="2147484002" r:id="rId2"/>
    <p:sldLayoutId id="2147483962" r:id="rId3"/>
    <p:sldLayoutId id="2147483994" r:id="rId4"/>
    <p:sldLayoutId id="2147484007" r:id="rId5"/>
    <p:sldLayoutId id="2147483996" r:id="rId6"/>
    <p:sldLayoutId id="2147483997" r:id="rId7"/>
    <p:sldLayoutId id="2147483973" r:id="rId8"/>
    <p:sldLayoutId id="2147483963" r:id="rId9"/>
    <p:sldLayoutId id="2147484010" r:id="rId10"/>
    <p:sldLayoutId id="2147483969" r:id="rId11"/>
    <p:sldLayoutId id="2147483964" r:id="rId12"/>
    <p:sldLayoutId id="2147483967" r:id="rId13"/>
    <p:sldLayoutId id="2147483968" r:id="rId14"/>
    <p:sldLayoutId id="2147484000" r:id="rId15"/>
    <p:sldLayoutId id="2147483966" r:id="rId16"/>
    <p:sldLayoutId id="2147483970" r:id="rId17"/>
    <p:sldLayoutId id="2147484009" r:id="rId18"/>
    <p:sldLayoutId id="2147483975" r:id="rId19"/>
    <p:sldLayoutId id="2147483974" r:id="rId20"/>
    <p:sldLayoutId id="2147483972" r:id="rId21"/>
    <p:sldLayoutId id="2147483987" r:id="rId22"/>
    <p:sldLayoutId id="2147484001" r:id="rId23"/>
    <p:sldLayoutId id="2147483988" r:id="rId24"/>
    <p:sldLayoutId id="2147483965" r:id="rId25"/>
    <p:sldLayoutId id="2147484003" r:id="rId26"/>
    <p:sldLayoutId id="2147484004" r:id="rId27"/>
    <p:sldLayoutId id="2147484005" r:id="rId28"/>
    <p:sldLayoutId id="2147483989" r:id="rId29"/>
    <p:sldLayoutId id="2147483995" r:id="rId30"/>
    <p:sldLayoutId id="2147483993" r:id="rId31"/>
    <p:sldLayoutId id="2147483991" r:id="rId32"/>
    <p:sldLayoutId id="2147484006" r:id="rId33"/>
    <p:sldLayoutId id="2147484013" r:id="rId34"/>
    <p:sldLayoutId id="2147484014" r:id="rId35"/>
    <p:sldLayoutId id="2147484015" r:id="rId36"/>
    <p:sldLayoutId id="2147484016" r:id="rId37"/>
  </p:sldLayoutIdLst>
  <p:hf hdr="0" dt="0"/>
  <p:txStyles>
    <p:title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F26B43"/>
          </p15:clr>
        </p15:guide>
        <p15:guide id="2" pos="415" userDrawn="1">
          <p15:clr>
            <a:srgbClr val="F26B43"/>
          </p15:clr>
        </p15:guide>
        <p15:guide id="3" pos="3840" userDrawn="1">
          <p15:clr>
            <a:srgbClr val="F26B43"/>
          </p15:clr>
        </p15:guide>
        <p15:guide id="4" orient="horz" pos="3974" userDrawn="1">
          <p15:clr>
            <a:srgbClr val="F26B43"/>
          </p15:clr>
        </p15:guide>
        <p15:guide id="5" orient="horz" pos="754" userDrawn="1">
          <p15:clr>
            <a:srgbClr val="F26B43"/>
          </p15:clr>
        </p15:guide>
        <p15:guide id="6" orient="horz" pos="1003" userDrawn="1">
          <p15:clr>
            <a:srgbClr val="F26B43"/>
          </p15:clr>
        </p15:guide>
        <p15:guide id="7" pos="7265"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24.xml"/><Relationship Id="rId7" Type="http://schemas.openxmlformats.org/officeDocument/2006/relationships/image" Target="../media/image6.png"/><Relationship Id="rId2" Type="http://schemas.openxmlformats.org/officeDocument/2006/relationships/tags" Target="../tags/tag66.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tags" Target="../tags/tag87.xml"/><Relationship Id="rId18" Type="http://schemas.openxmlformats.org/officeDocument/2006/relationships/notesSlide" Target="../notesSlides/notesSlide10.xml"/><Relationship Id="rId3" Type="http://schemas.openxmlformats.org/officeDocument/2006/relationships/tags" Target="../tags/tag77.xml"/><Relationship Id="rId21" Type="http://schemas.openxmlformats.org/officeDocument/2006/relationships/chart" Target="../charts/chart1.xml"/><Relationship Id="rId7" Type="http://schemas.openxmlformats.org/officeDocument/2006/relationships/tags" Target="../tags/tag81.xml"/><Relationship Id="rId12" Type="http://schemas.openxmlformats.org/officeDocument/2006/relationships/tags" Target="../tags/tag86.xml"/><Relationship Id="rId17" Type="http://schemas.openxmlformats.org/officeDocument/2006/relationships/slideLayout" Target="../slideLayouts/slideLayout9.xml"/><Relationship Id="rId2" Type="http://schemas.openxmlformats.org/officeDocument/2006/relationships/tags" Target="../tags/tag76.xml"/><Relationship Id="rId16" Type="http://schemas.openxmlformats.org/officeDocument/2006/relationships/tags" Target="../tags/tag90.xml"/><Relationship Id="rId20" Type="http://schemas.openxmlformats.org/officeDocument/2006/relationships/image" Target="NULL"/><Relationship Id="rId1" Type="http://schemas.openxmlformats.org/officeDocument/2006/relationships/vmlDrawing" Target="../drawings/vmlDrawing48.vml"/><Relationship Id="rId6" Type="http://schemas.openxmlformats.org/officeDocument/2006/relationships/tags" Target="../tags/tag80.xml"/><Relationship Id="rId11" Type="http://schemas.openxmlformats.org/officeDocument/2006/relationships/tags" Target="../tags/tag85.xml"/><Relationship Id="rId5" Type="http://schemas.openxmlformats.org/officeDocument/2006/relationships/tags" Target="../tags/tag79.xml"/><Relationship Id="rId15" Type="http://schemas.openxmlformats.org/officeDocument/2006/relationships/tags" Target="../tags/tag89.xml"/><Relationship Id="rId10" Type="http://schemas.openxmlformats.org/officeDocument/2006/relationships/tags" Target="../tags/tag84.xml"/><Relationship Id="rId19" Type="http://schemas.openxmlformats.org/officeDocument/2006/relationships/oleObject" Target="../embeddings/oleObject48.bin"/><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tags" Target="../tags/tag88.xml"/><Relationship Id="rId22" Type="http://schemas.openxmlformats.org/officeDocument/2006/relationships/chart" Target="../charts/chart2.xml"/></Relationships>
</file>

<file path=ppt/slides/_rels/slide11.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slideLayout" Target="../slideLayouts/slideLayout37.xml"/><Relationship Id="rId18" Type="http://schemas.openxmlformats.org/officeDocument/2006/relationships/slide" Target="slide32.xml"/><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chart" Target="../charts/chart3.xml"/><Relationship Id="rId2" Type="http://schemas.openxmlformats.org/officeDocument/2006/relationships/tags" Target="../tags/tag91.xml"/><Relationship Id="rId16" Type="http://schemas.openxmlformats.org/officeDocument/2006/relationships/image" Target="NULL"/><Relationship Id="rId20" Type="http://schemas.openxmlformats.org/officeDocument/2006/relationships/image" Target="../media/image47.svg"/><Relationship Id="rId1" Type="http://schemas.openxmlformats.org/officeDocument/2006/relationships/vmlDrawing" Target="../drawings/vmlDrawing49.vml"/><Relationship Id="rId6" Type="http://schemas.openxmlformats.org/officeDocument/2006/relationships/tags" Target="../tags/tag95.xml"/><Relationship Id="rId11" Type="http://schemas.openxmlformats.org/officeDocument/2006/relationships/tags" Target="../tags/tag100.xml"/><Relationship Id="rId5" Type="http://schemas.openxmlformats.org/officeDocument/2006/relationships/tags" Target="../tags/tag94.xml"/><Relationship Id="rId15" Type="http://schemas.openxmlformats.org/officeDocument/2006/relationships/oleObject" Target="../embeddings/oleObject49.bin"/><Relationship Id="rId10" Type="http://schemas.openxmlformats.org/officeDocument/2006/relationships/tags" Target="../tags/tag99.xml"/><Relationship Id="rId19" Type="http://schemas.openxmlformats.org/officeDocument/2006/relationships/image" Target="../media/image46.png"/><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tags" Target="../tags/tag102.xml"/><Relationship Id="rId16" Type="http://schemas.openxmlformats.org/officeDocument/2006/relationships/image" Target="../media/image16.svg"/><Relationship Id="rId1" Type="http://schemas.openxmlformats.org/officeDocument/2006/relationships/vmlDrawing" Target="../drawings/vmlDrawing50.vml"/><Relationship Id="rId6" Type="http://schemas.openxmlformats.org/officeDocument/2006/relationships/image" Target="../media/image5.emf"/><Relationship Id="rId11" Type="http://schemas.openxmlformats.org/officeDocument/2006/relationships/image" Target="../media/image11.png"/><Relationship Id="rId5" Type="http://schemas.openxmlformats.org/officeDocument/2006/relationships/oleObject" Target="../embeddings/oleObject50.bin"/><Relationship Id="rId15" Type="http://schemas.openxmlformats.org/officeDocument/2006/relationships/image" Target="../media/image15.png"/><Relationship Id="rId10" Type="http://schemas.openxmlformats.org/officeDocument/2006/relationships/image" Target="../media/image10.svg"/><Relationship Id="rId4" Type="http://schemas.openxmlformats.org/officeDocument/2006/relationships/notesSlide" Target="../notesSlides/notesSlide12.xml"/><Relationship Id="rId9" Type="http://schemas.openxmlformats.org/officeDocument/2006/relationships/image" Target="../media/image9.png"/><Relationship Id="rId14" Type="http://schemas.openxmlformats.org/officeDocument/2006/relationships/image" Target="../media/image14.svg"/></Relationships>
</file>

<file path=ppt/slides/_rels/slide13.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52.png"/><Relationship Id="rId18" Type="http://schemas.openxmlformats.org/officeDocument/2006/relationships/image" Target="../media/image57.svg"/><Relationship Id="rId3" Type="http://schemas.openxmlformats.org/officeDocument/2006/relationships/slideLayout" Target="../slideLayouts/slideLayout8.xml"/><Relationship Id="rId7" Type="http://schemas.openxmlformats.org/officeDocument/2006/relationships/image" Target="../media/image7.png"/><Relationship Id="rId12" Type="http://schemas.openxmlformats.org/officeDocument/2006/relationships/image" Target="../media/image51.svg"/><Relationship Id="rId17" Type="http://schemas.openxmlformats.org/officeDocument/2006/relationships/image" Target="../media/image56.png"/><Relationship Id="rId2" Type="http://schemas.openxmlformats.org/officeDocument/2006/relationships/tags" Target="../tags/tag103.xml"/><Relationship Id="rId16" Type="http://schemas.openxmlformats.org/officeDocument/2006/relationships/image" Target="../media/image55.svg"/><Relationship Id="rId20" Type="http://schemas.openxmlformats.org/officeDocument/2006/relationships/image" Target="../media/image59.svg"/><Relationship Id="rId1" Type="http://schemas.openxmlformats.org/officeDocument/2006/relationships/vmlDrawing" Target="../drawings/vmlDrawing51.vml"/><Relationship Id="rId6" Type="http://schemas.openxmlformats.org/officeDocument/2006/relationships/image" Target="NULL"/><Relationship Id="rId11" Type="http://schemas.openxmlformats.org/officeDocument/2006/relationships/image" Target="../media/image50.png"/><Relationship Id="rId5" Type="http://schemas.openxmlformats.org/officeDocument/2006/relationships/oleObject" Target="../embeddings/oleObject51.bin"/><Relationship Id="rId15" Type="http://schemas.openxmlformats.org/officeDocument/2006/relationships/image" Target="../media/image54.png"/><Relationship Id="rId10" Type="http://schemas.openxmlformats.org/officeDocument/2006/relationships/image" Target="../media/image49.svg"/><Relationship Id="rId19" Type="http://schemas.openxmlformats.org/officeDocument/2006/relationships/image" Target="../media/image58.png"/><Relationship Id="rId4" Type="http://schemas.openxmlformats.org/officeDocument/2006/relationships/notesSlide" Target="../notesSlides/notesSlide13.xml"/><Relationship Id="rId9" Type="http://schemas.openxmlformats.org/officeDocument/2006/relationships/image" Target="../media/image48.png"/><Relationship Id="rId14" Type="http://schemas.openxmlformats.org/officeDocument/2006/relationships/image" Target="../media/image53.svg"/></Relationships>
</file>

<file path=ppt/slides/_rels/slide14.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18" Type="http://schemas.openxmlformats.org/officeDocument/2006/relationships/tags" Target="../tags/tag120.xml"/><Relationship Id="rId26" Type="http://schemas.openxmlformats.org/officeDocument/2006/relationships/tags" Target="../tags/tag128.xml"/><Relationship Id="rId3" Type="http://schemas.openxmlformats.org/officeDocument/2006/relationships/tags" Target="../tags/tag105.xml"/><Relationship Id="rId21" Type="http://schemas.openxmlformats.org/officeDocument/2006/relationships/tags" Target="../tags/tag123.xml"/><Relationship Id="rId34" Type="http://schemas.openxmlformats.org/officeDocument/2006/relationships/image" Target="../media/image66.svg"/><Relationship Id="rId7" Type="http://schemas.openxmlformats.org/officeDocument/2006/relationships/tags" Target="../tags/tag109.xml"/><Relationship Id="rId12" Type="http://schemas.openxmlformats.org/officeDocument/2006/relationships/tags" Target="../tags/tag114.xml"/><Relationship Id="rId17" Type="http://schemas.openxmlformats.org/officeDocument/2006/relationships/tags" Target="../tags/tag119.xml"/><Relationship Id="rId25" Type="http://schemas.openxmlformats.org/officeDocument/2006/relationships/tags" Target="../tags/tag127.xml"/><Relationship Id="rId33" Type="http://schemas.openxmlformats.org/officeDocument/2006/relationships/image" Target="../media/image65.png"/><Relationship Id="rId2" Type="http://schemas.openxmlformats.org/officeDocument/2006/relationships/tags" Target="../tags/tag104.xml"/><Relationship Id="rId16" Type="http://schemas.openxmlformats.org/officeDocument/2006/relationships/tags" Target="../tags/tag118.xml"/><Relationship Id="rId20" Type="http://schemas.openxmlformats.org/officeDocument/2006/relationships/tags" Target="../tags/tag122.xml"/><Relationship Id="rId29" Type="http://schemas.openxmlformats.org/officeDocument/2006/relationships/notesSlide" Target="../notesSlides/notesSlide14.xml"/><Relationship Id="rId1" Type="http://schemas.openxmlformats.org/officeDocument/2006/relationships/vmlDrawing" Target="../drawings/vmlDrawing52.vml"/><Relationship Id="rId6" Type="http://schemas.openxmlformats.org/officeDocument/2006/relationships/tags" Target="../tags/tag108.xml"/><Relationship Id="rId11" Type="http://schemas.openxmlformats.org/officeDocument/2006/relationships/tags" Target="../tags/tag113.xml"/><Relationship Id="rId24" Type="http://schemas.openxmlformats.org/officeDocument/2006/relationships/tags" Target="../tags/tag126.xml"/><Relationship Id="rId32" Type="http://schemas.openxmlformats.org/officeDocument/2006/relationships/slide" Target="slide13.xml"/><Relationship Id="rId5" Type="http://schemas.openxmlformats.org/officeDocument/2006/relationships/tags" Target="../tags/tag107.xml"/><Relationship Id="rId15" Type="http://schemas.openxmlformats.org/officeDocument/2006/relationships/tags" Target="../tags/tag117.xml"/><Relationship Id="rId23" Type="http://schemas.openxmlformats.org/officeDocument/2006/relationships/tags" Target="../tags/tag125.xml"/><Relationship Id="rId28" Type="http://schemas.openxmlformats.org/officeDocument/2006/relationships/slideLayout" Target="../slideLayouts/slideLayout9.xml"/><Relationship Id="rId10" Type="http://schemas.openxmlformats.org/officeDocument/2006/relationships/tags" Target="../tags/tag112.xml"/><Relationship Id="rId19" Type="http://schemas.openxmlformats.org/officeDocument/2006/relationships/tags" Target="../tags/tag121.xml"/><Relationship Id="rId31" Type="http://schemas.openxmlformats.org/officeDocument/2006/relationships/image" Target="NUL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tags" Target="../tags/tag116.xml"/><Relationship Id="rId22" Type="http://schemas.openxmlformats.org/officeDocument/2006/relationships/tags" Target="../tags/tag124.xml"/><Relationship Id="rId27" Type="http://schemas.openxmlformats.org/officeDocument/2006/relationships/tags" Target="../tags/tag129.xml"/><Relationship Id="rId30" Type="http://schemas.openxmlformats.org/officeDocument/2006/relationships/oleObject" Target="../embeddings/oleObject52.bin"/><Relationship Id="rId35" Type="http://schemas.openxmlformats.org/officeDocument/2006/relationships/chart" Target="../charts/chart4.xml"/></Relationships>
</file>

<file path=ppt/slides/_rels/slide15.xml.rels><?xml version="1.0" encoding="UTF-8" standalone="yes"?>
<Relationships xmlns="http://schemas.openxmlformats.org/package/2006/relationships"><Relationship Id="rId8" Type="http://schemas.openxmlformats.org/officeDocument/2006/relationships/tags" Target="../tags/tag136.xml"/><Relationship Id="rId13" Type="http://schemas.openxmlformats.org/officeDocument/2006/relationships/tags" Target="../tags/tag141.xml"/><Relationship Id="rId18" Type="http://schemas.openxmlformats.org/officeDocument/2006/relationships/tags" Target="../tags/tag146.xml"/><Relationship Id="rId26" Type="http://schemas.openxmlformats.org/officeDocument/2006/relationships/image" Target="NULL"/><Relationship Id="rId3" Type="http://schemas.openxmlformats.org/officeDocument/2006/relationships/tags" Target="../tags/tag131.xml"/><Relationship Id="rId21" Type="http://schemas.openxmlformats.org/officeDocument/2006/relationships/tags" Target="../tags/tag149.xml"/><Relationship Id="rId7" Type="http://schemas.openxmlformats.org/officeDocument/2006/relationships/tags" Target="../tags/tag135.xml"/><Relationship Id="rId12" Type="http://schemas.openxmlformats.org/officeDocument/2006/relationships/tags" Target="../tags/tag140.xml"/><Relationship Id="rId17" Type="http://schemas.openxmlformats.org/officeDocument/2006/relationships/tags" Target="../tags/tag145.xml"/><Relationship Id="rId25" Type="http://schemas.openxmlformats.org/officeDocument/2006/relationships/oleObject" Target="../embeddings/oleObject53.bin"/><Relationship Id="rId2" Type="http://schemas.openxmlformats.org/officeDocument/2006/relationships/tags" Target="../tags/tag130.xml"/><Relationship Id="rId16" Type="http://schemas.openxmlformats.org/officeDocument/2006/relationships/tags" Target="../tags/tag144.xml"/><Relationship Id="rId20" Type="http://schemas.openxmlformats.org/officeDocument/2006/relationships/tags" Target="../tags/tag148.xml"/><Relationship Id="rId29" Type="http://schemas.openxmlformats.org/officeDocument/2006/relationships/image" Target="../media/image66.svg"/><Relationship Id="rId1" Type="http://schemas.openxmlformats.org/officeDocument/2006/relationships/vmlDrawing" Target="../drawings/vmlDrawing53.vml"/><Relationship Id="rId6" Type="http://schemas.openxmlformats.org/officeDocument/2006/relationships/tags" Target="../tags/tag134.xml"/><Relationship Id="rId11" Type="http://schemas.openxmlformats.org/officeDocument/2006/relationships/tags" Target="../tags/tag139.xml"/><Relationship Id="rId24" Type="http://schemas.openxmlformats.org/officeDocument/2006/relationships/notesSlide" Target="../notesSlides/notesSlide15.xml"/><Relationship Id="rId5" Type="http://schemas.openxmlformats.org/officeDocument/2006/relationships/tags" Target="../tags/tag133.xml"/><Relationship Id="rId15" Type="http://schemas.openxmlformats.org/officeDocument/2006/relationships/tags" Target="../tags/tag143.xml"/><Relationship Id="rId23" Type="http://schemas.openxmlformats.org/officeDocument/2006/relationships/slideLayout" Target="../slideLayouts/slideLayout9.xml"/><Relationship Id="rId28" Type="http://schemas.openxmlformats.org/officeDocument/2006/relationships/image" Target="../media/image65.png"/><Relationship Id="rId10" Type="http://schemas.openxmlformats.org/officeDocument/2006/relationships/tags" Target="../tags/tag138.xml"/><Relationship Id="rId19" Type="http://schemas.openxmlformats.org/officeDocument/2006/relationships/tags" Target="../tags/tag147.xml"/><Relationship Id="rId4" Type="http://schemas.openxmlformats.org/officeDocument/2006/relationships/tags" Target="../tags/tag132.xml"/><Relationship Id="rId9" Type="http://schemas.openxmlformats.org/officeDocument/2006/relationships/tags" Target="../tags/tag137.xml"/><Relationship Id="rId14" Type="http://schemas.openxmlformats.org/officeDocument/2006/relationships/tags" Target="../tags/tag142.xml"/><Relationship Id="rId22" Type="http://schemas.openxmlformats.org/officeDocument/2006/relationships/tags" Target="../tags/tag150.xml"/><Relationship Id="rId27" Type="http://schemas.openxmlformats.org/officeDocument/2006/relationships/slide" Target="slide13.xml"/><Relationship Id="rId30" Type="http://schemas.openxmlformats.org/officeDocument/2006/relationships/chart" Target="../charts/chart5.xml"/></Relationships>
</file>

<file path=ppt/slides/_rels/slide16.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svg"/><Relationship Id="rId18" Type="http://schemas.openxmlformats.org/officeDocument/2006/relationships/image" Target="../media/image66.svg"/><Relationship Id="rId3" Type="http://schemas.openxmlformats.org/officeDocument/2006/relationships/slideLayout" Target="../slideLayouts/slideLayout8.xml"/><Relationship Id="rId21" Type="http://schemas.openxmlformats.org/officeDocument/2006/relationships/slide" Target="slide35.xml"/><Relationship Id="rId7" Type="http://schemas.openxmlformats.org/officeDocument/2006/relationships/image" Target="../media/image67.png"/><Relationship Id="rId12" Type="http://schemas.openxmlformats.org/officeDocument/2006/relationships/image" Target="../media/image72.png"/><Relationship Id="rId17" Type="http://schemas.openxmlformats.org/officeDocument/2006/relationships/image" Target="../media/image65.png"/><Relationship Id="rId2" Type="http://schemas.openxmlformats.org/officeDocument/2006/relationships/tags" Target="../tags/tag151.xml"/><Relationship Id="rId16" Type="http://schemas.openxmlformats.org/officeDocument/2006/relationships/slide" Target="slide13.xml"/><Relationship Id="rId20" Type="http://schemas.openxmlformats.org/officeDocument/2006/relationships/image" Target="../media/image45.svg"/><Relationship Id="rId1" Type="http://schemas.openxmlformats.org/officeDocument/2006/relationships/vmlDrawing" Target="../drawings/vmlDrawing54.vml"/><Relationship Id="rId6" Type="http://schemas.openxmlformats.org/officeDocument/2006/relationships/image" Target="NULL"/><Relationship Id="rId11" Type="http://schemas.openxmlformats.org/officeDocument/2006/relationships/image" Target="../media/image71.png"/><Relationship Id="rId5" Type="http://schemas.openxmlformats.org/officeDocument/2006/relationships/oleObject" Target="../embeddings/oleObject54.bin"/><Relationship Id="rId15" Type="http://schemas.openxmlformats.org/officeDocument/2006/relationships/image" Target="../media/image75.svg"/><Relationship Id="rId23" Type="http://schemas.openxmlformats.org/officeDocument/2006/relationships/image" Target="../media/image47.svg"/><Relationship Id="rId10" Type="http://schemas.openxmlformats.org/officeDocument/2006/relationships/image" Target="../media/image70.svg"/><Relationship Id="rId19" Type="http://schemas.openxmlformats.org/officeDocument/2006/relationships/image" Target="../media/image44.png"/><Relationship Id="rId4" Type="http://schemas.openxmlformats.org/officeDocument/2006/relationships/notesSlide" Target="../notesSlides/notesSlide16.xml"/><Relationship Id="rId9" Type="http://schemas.openxmlformats.org/officeDocument/2006/relationships/image" Target="../media/image69.png"/><Relationship Id="rId14" Type="http://schemas.openxmlformats.org/officeDocument/2006/relationships/image" Target="../media/image74.png"/><Relationship Id="rId22" Type="http://schemas.openxmlformats.org/officeDocument/2006/relationships/image" Target="../media/image46.png"/></Relationships>
</file>

<file path=ppt/slides/_rels/slide17.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xml"/><Relationship Id="rId7" Type="http://schemas.openxmlformats.org/officeDocument/2006/relationships/slide" Target="slide13.xml"/><Relationship Id="rId2" Type="http://schemas.openxmlformats.org/officeDocument/2006/relationships/tags" Target="../tags/tag152.xml"/><Relationship Id="rId1" Type="http://schemas.openxmlformats.org/officeDocument/2006/relationships/vmlDrawing" Target="../drawings/vmlDrawing55.vml"/><Relationship Id="rId6" Type="http://schemas.openxmlformats.org/officeDocument/2006/relationships/image" Target="NULL"/><Relationship Id="rId5" Type="http://schemas.openxmlformats.org/officeDocument/2006/relationships/oleObject" Target="../embeddings/oleObject55.bin"/><Relationship Id="rId4" Type="http://schemas.openxmlformats.org/officeDocument/2006/relationships/notesSlide" Target="../notesSlides/notesSlide17.xml"/><Relationship Id="rId9" Type="http://schemas.openxmlformats.org/officeDocument/2006/relationships/image" Target="../media/image66.svg"/></Relationships>
</file>

<file path=ppt/slides/_rels/slide18.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xml"/><Relationship Id="rId7" Type="http://schemas.openxmlformats.org/officeDocument/2006/relationships/slide" Target="slide13.xml"/><Relationship Id="rId2" Type="http://schemas.openxmlformats.org/officeDocument/2006/relationships/tags" Target="../tags/tag153.xml"/><Relationship Id="rId1" Type="http://schemas.openxmlformats.org/officeDocument/2006/relationships/vmlDrawing" Target="../drawings/vmlDrawing56.vml"/><Relationship Id="rId6" Type="http://schemas.openxmlformats.org/officeDocument/2006/relationships/image" Target="NULL"/><Relationship Id="rId5" Type="http://schemas.openxmlformats.org/officeDocument/2006/relationships/oleObject" Target="../embeddings/oleObject56.bin"/><Relationship Id="rId4" Type="http://schemas.openxmlformats.org/officeDocument/2006/relationships/notesSlide" Target="../notesSlides/notesSlide18.xml"/><Relationship Id="rId9" Type="http://schemas.openxmlformats.org/officeDocument/2006/relationships/image" Target="../media/image66.svg"/></Relationships>
</file>

<file path=ppt/slides/_rels/slide19.xml.rels><?xml version="1.0" encoding="UTF-8" standalone="yes"?>
<Relationships xmlns="http://schemas.openxmlformats.org/package/2006/relationships"><Relationship Id="rId8" Type="http://schemas.openxmlformats.org/officeDocument/2006/relationships/image" Target="../media/image77.svg"/><Relationship Id="rId13" Type="http://schemas.openxmlformats.org/officeDocument/2006/relationships/slide" Target="slide13.xml"/><Relationship Id="rId18" Type="http://schemas.openxmlformats.org/officeDocument/2006/relationships/image" Target="../media/image46.png"/><Relationship Id="rId3" Type="http://schemas.openxmlformats.org/officeDocument/2006/relationships/slideLayout" Target="../slideLayouts/slideLayout8.xml"/><Relationship Id="rId7" Type="http://schemas.openxmlformats.org/officeDocument/2006/relationships/image" Target="../media/image76.png"/><Relationship Id="rId12" Type="http://schemas.openxmlformats.org/officeDocument/2006/relationships/image" Target="../media/image81.svg"/><Relationship Id="rId17" Type="http://schemas.openxmlformats.org/officeDocument/2006/relationships/slide" Target="slide35.xml"/><Relationship Id="rId2" Type="http://schemas.openxmlformats.org/officeDocument/2006/relationships/tags" Target="../tags/tag154.xml"/><Relationship Id="rId16" Type="http://schemas.openxmlformats.org/officeDocument/2006/relationships/slide" Target="slide37.xml"/><Relationship Id="rId1" Type="http://schemas.openxmlformats.org/officeDocument/2006/relationships/vmlDrawing" Target="../drawings/vmlDrawing57.vml"/><Relationship Id="rId6" Type="http://schemas.openxmlformats.org/officeDocument/2006/relationships/image" Target="NULL"/><Relationship Id="rId11" Type="http://schemas.openxmlformats.org/officeDocument/2006/relationships/image" Target="../media/image80.png"/><Relationship Id="rId5" Type="http://schemas.openxmlformats.org/officeDocument/2006/relationships/oleObject" Target="../embeddings/oleObject57.bin"/><Relationship Id="rId15" Type="http://schemas.openxmlformats.org/officeDocument/2006/relationships/image" Target="../media/image66.svg"/><Relationship Id="rId10" Type="http://schemas.openxmlformats.org/officeDocument/2006/relationships/image" Target="../media/image79.svg"/><Relationship Id="rId19" Type="http://schemas.openxmlformats.org/officeDocument/2006/relationships/image" Target="../media/image47.svg"/><Relationship Id="rId4" Type="http://schemas.openxmlformats.org/officeDocument/2006/relationships/notesSlide" Target="../notesSlides/notesSlide19.xml"/><Relationship Id="rId9" Type="http://schemas.openxmlformats.org/officeDocument/2006/relationships/image" Target="../media/image78.png"/><Relationship Id="rId14" Type="http://schemas.openxmlformats.org/officeDocument/2006/relationships/image" Target="../media/image65.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7.xml"/><Relationship Id="rId1" Type="http://schemas.openxmlformats.org/officeDocument/2006/relationships/vmlDrawing" Target="../drawings/vmlDrawing40.vml"/><Relationship Id="rId6" Type="http://schemas.openxmlformats.org/officeDocument/2006/relationships/image" Target="NULL"/><Relationship Id="rId5" Type="http://schemas.openxmlformats.org/officeDocument/2006/relationships/oleObject" Target="../embeddings/oleObject40.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slide" Target="slide13.xml"/><Relationship Id="rId3" Type="http://schemas.openxmlformats.org/officeDocument/2006/relationships/slideLayout" Target="../slideLayouts/slideLayout8.xml"/><Relationship Id="rId7" Type="http://schemas.openxmlformats.org/officeDocument/2006/relationships/image" Target="../media/image82.png"/><Relationship Id="rId2" Type="http://schemas.openxmlformats.org/officeDocument/2006/relationships/tags" Target="../tags/tag155.xml"/><Relationship Id="rId1" Type="http://schemas.openxmlformats.org/officeDocument/2006/relationships/vmlDrawing" Target="../drawings/vmlDrawing58.vml"/><Relationship Id="rId6" Type="http://schemas.openxmlformats.org/officeDocument/2006/relationships/image" Target="NULL"/><Relationship Id="rId5" Type="http://schemas.openxmlformats.org/officeDocument/2006/relationships/oleObject" Target="../embeddings/oleObject58.bin"/><Relationship Id="rId10" Type="http://schemas.openxmlformats.org/officeDocument/2006/relationships/image" Target="../media/image66.svg"/><Relationship Id="rId4" Type="http://schemas.openxmlformats.org/officeDocument/2006/relationships/notesSlide" Target="../notesSlides/notesSlide20.xml"/><Relationship Id="rId9" Type="http://schemas.openxmlformats.org/officeDocument/2006/relationships/image" Target="../media/image65.png"/></Relationships>
</file>

<file path=ppt/slides/_rels/slide21.xml.rels><?xml version="1.0" encoding="UTF-8" standalone="yes"?>
<Relationships xmlns="http://schemas.openxmlformats.org/package/2006/relationships"><Relationship Id="rId8" Type="http://schemas.openxmlformats.org/officeDocument/2006/relationships/image" Target="../media/image84.svg"/><Relationship Id="rId13" Type="http://schemas.openxmlformats.org/officeDocument/2006/relationships/image" Target="../media/image66.svg"/><Relationship Id="rId18" Type="http://schemas.openxmlformats.org/officeDocument/2006/relationships/image" Target="../media/image87.png"/><Relationship Id="rId3" Type="http://schemas.openxmlformats.org/officeDocument/2006/relationships/slideLayout" Target="../slideLayouts/slideLayout8.xml"/><Relationship Id="rId21" Type="http://schemas.openxmlformats.org/officeDocument/2006/relationships/image" Target="../media/image90.svg"/><Relationship Id="rId7" Type="http://schemas.openxmlformats.org/officeDocument/2006/relationships/image" Target="../media/image83.png"/><Relationship Id="rId12" Type="http://schemas.openxmlformats.org/officeDocument/2006/relationships/image" Target="../media/image65.png"/><Relationship Id="rId17" Type="http://schemas.openxmlformats.org/officeDocument/2006/relationships/image" Target="../media/image39.svg"/><Relationship Id="rId2" Type="http://schemas.openxmlformats.org/officeDocument/2006/relationships/tags" Target="../tags/tag156.xml"/><Relationship Id="rId16" Type="http://schemas.openxmlformats.org/officeDocument/2006/relationships/image" Target="../media/image38.png"/><Relationship Id="rId20" Type="http://schemas.openxmlformats.org/officeDocument/2006/relationships/image" Target="../media/image89.png"/><Relationship Id="rId1" Type="http://schemas.openxmlformats.org/officeDocument/2006/relationships/vmlDrawing" Target="../drawings/vmlDrawing59.vml"/><Relationship Id="rId6" Type="http://schemas.openxmlformats.org/officeDocument/2006/relationships/image" Target="NULL"/><Relationship Id="rId11" Type="http://schemas.openxmlformats.org/officeDocument/2006/relationships/slide" Target="slide13.xml"/><Relationship Id="rId5" Type="http://schemas.openxmlformats.org/officeDocument/2006/relationships/oleObject" Target="../embeddings/oleObject59.bin"/><Relationship Id="rId15" Type="http://schemas.openxmlformats.org/officeDocument/2006/relationships/image" Target="../media/image37.svg"/><Relationship Id="rId10" Type="http://schemas.openxmlformats.org/officeDocument/2006/relationships/image" Target="../media/image86.svg"/><Relationship Id="rId19" Type="http://schemas.openxmlformats.org/officeDocument/2006/relationships/image" Target="../media/image88.svg"/><Relationship Id="rId4" Type="http://schemas.openxmlformats.org/officeDocument/2006/relationships/notesSlide" Target="../notesSlides/notesSlide21.xml"/><Relationship Id="rId9" Type="http://schemas.openxmlformats.org/officeDocument/2006/relationships/image" Target="../media/image85.png"/><Relationship Id="rId14" Type="http://schemas.openxmlformats.org/officeDocument/2006/relationships/image" Target="../media/image36.png"/></Relationships>
</file>

<file path=ppt/slides/_rels/slide22.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xml"/><Relationship Id="rId7" Type="http://schemas.openxmlformats.org/officeDocument/2006/relationships/slide" Target="slide13.xml"/><Relationship Id="rId2" Type="http://schemas.openxmlformats.org/officeDocument/2006/relationships/tags" Target="../tags/tag157.xml"/><Relationship Id="rId1" Type="http://schemas.openxmlformats.org/officeDocument/2006/relationships/vmlDrawing" Target="../drawings/vmlDrawing60.vml"/><Relationship Id="rId6" Type="http://schemas.openxmlformats.org/officeDocument/2006/relationships/image" Target="NULL"/><Relationship Id="rId5" Type="http://schemas.openxmlformats.org/officeDocument/2006/relationships/oleObject" Target="../embeddings/oleObject60.bin"/><Relationship Id="rId4" Type="http://schemas.openxmlformats.org/officeDocument/2006/relationships/notesSlide" Target="../notesSlides/notesSlide22.xml"/><Relationship Id="rId9" Type="http://schemas.openxmlformats.org/officeDocument/2006/relationships/image" Target="../media/image66.svg"/></Relationships>
</file>

<file path=ppt/slides/_rels/slide23.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94.svg"/><Relationship Id="rId3" Type="http://schemas.openxmlformats.org/officeDocument/2006/relationships/slideLayout" Target="../slideLayouts/slideLayout8.xml"/><Relationship Id="rId7" Type="http://schemas.openxmlformats.org/officeDocument/2006/relationships/slide" Target="slide13.xml"/><Relationship Id="rId12" Type="http://schemas.openxmlformats.org/officeDocument/2006/relationships/image" Target="../media/image93.png"/><Relationship Id="rId2" Type="http://schemas.openxmlformats.org/officeDocument/2006/relationships/tags" Target="../tags/tag158.xml"/><Relationship Id="rId1" Type="http://schemas.openxmlformats.org/officeDocument/2006/relationships/vmlDrawing" Target="../drawings/vmlDrawing61.vml"/><Relationship Id="rId6" Type="http://schemas.openxmlformats.org/officeDocument/2006/relationships/image" Target="../media/image5.emf"/><Relationship Id="rId11" Type="http://schemas.openxmlformats.org/officeDocument/2006/relationships/image" Target="../media/image92.svg"/><Relationship Id="rId5" Type="http://schemas.openxmlformats.org/officeDocument/2006/relationships/oleObject" Target="../embeddings/oleObject61.bin"/><Relationship Id="rId15" Type="http://schemas.openxmlformats.org/officeDocument/2006/relationships/image" Target="../media/image96.svg"/><Relationship Id="rId10" Type="http://schemas.openxmlformats.org/officeDocument/2006/relationships/image" Target="../media/image91.png"/><Relationship Id="rId4" Type="http://schemas.openxmlformats.org/officeDocument/2006/relationships/notesSlide" Target="../notesSlides/notesSlide23.xml"/><Relationship Id="rId9" Type="http://schemas.openxmlformats.org/officeDocument/2006/relationships/image" Target="../media/image66.svg"/><Relationship Id="rId14" Type="http://schemas.openxmlformats.org/officeDocument/2006/relationships/image" Target="../media/image95.png"/></Relationships>
</file>

<file path=ppt/slides/_rels/slide24.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image" Target="../media/image103.png"/><Relationship Id="rId18" Type="http://schemas.openxmlformats.org/officeDocument/2006/relationships/image" Target="../media/image65.png"/><Relationship Id="rId3" Type="http://schemas.openxmlformats.org/officeDocument/2006/relationships/slideLayout" Target="../slideLayouts/slideLayout8.xml"/><Relationship Id="rId21" Type="http://schemas.openxmlformats.org/officeDocument/2006/relationships/image" Target="../media/image107.svg"/><Relationship Id="rId7" Type="http://schemas.openxmlformats.org/officeDocument/2006/relationships/image" Target="../media/image97.png"/><Relationship Id="rId12" Type="http://schemas.openxmlformats.org/officeDocument/2006/relationships/image" Target="../media/image102.svg"/><Relationship Id="rId17" Type="http://schemas.openxmlformats.org/officeDocument/2006/relationships/slide" Target="slide13.xml"/><Relationship Id="rId2" Type="http://schemas.openxmlformats.org/officeDocument/2006/relationships/tags" Target="../tags/tag159.xml"/><Relationship Id="rId16" Type="http://schemas.openxmlformats.org/officeDocument/2006/relationships/image" Target="../media/image106.svg"/><Relationship Id="rId20" Type="http://schemas.openxmlformats.org/officeDocument/2006/relationships/image" Target="../media/image25.png"/><Relationship Id="rId1" Type="http://schemas.openxmlformats.org/officeDocument/2006/relationships/vmlDrawing" Target="../drawings/vmlDrawing62.vml"/><Relationship Id="rId6" Type="http://schemas.openxmlformats.org/officeDocument/2006/relationships/image" Target="NULL"/><Relationship Id="rId11" Type="http://schemas.openxmlformats.org/officeDocument/2006/relationships/image" Target="../media/image101.png"/><Relationship Id="rId5" Type="http://schemas.openxmlformats.org/officeDocument/2006/relationships/oleObject" Target="../embeddings/oleObject62.bin"/><Relationship Id="rId15" Type="http://schemas.openxmlformats.org/officeDocument/2006/relationships/image" Target="../media/image105.png"/><Relationship Id="rId23" Type="http://schemas.openxmlformats.org/officeDocument/2006/relationships/image" Target="../media/image109.svg"/><Relationship Id="rId10" Type="http://schemas.openxmlformats.org/officeDocument/2006/relationships/image" Target="../media/image100.svg"/><Relationship Id="rId19" Type="http://schemas.openxmlformats.org/officeDocument/2006/relationships/image" Target="../media/image66.svg"/><Relationship Id="rId4" Type="http://schemas.openxmlformats.org/officeDocument/2006/relationships/notesSlide" Target="../notesSlides/notesSlide24.xml"/><Relationship Id="rId9" Type="http://schemas.openxmlformats.org/officeDocument/2006/relationships/image" Target="../media/image99.png"/><Relationship Id="rId14" Type="http://schemas.openxmlformats.org/officeDocument/2006/relationships/image" Target="../media/image104.svg"/><Relationship Id="rId22" Type="http://schemas.openxmlformats.org/officeDocument/2006/relationships/image" Target="../media/image108.png"/></Relationships>
</file>

<file path=ppt/slides/_rels/slide25.xml.rels><?xml version="1.0" encoding="UTF-8" standalone="yes"?>
<Relationships xmlns="http://schemas.openxmlformats.org/package/2006/relationships"><Relationship Id="rId8" Type="http://schemas.openxmlformats.org/officeDocument/2006/relationships/image" Target="../media/image111.svg"/><Relationship Id="rId13" Type="http://schemas.openxmlformats.org/officeDocument/2006/relationships/image" Target="../media/image115.png"/><Relationship Id="rId18" Type="http://schemas.openxmlformats.org/officeDocument/2006/relationships/image" Target="../media/image120.svg"/><Relationship Id="rId26" Type="http://schemas.openxmlformats.org/officeDocument/2006/relationships/image" Target="../media/image125.png"/><Relationship Id="rId3" Type="http://schemas.openxmlformats.org/officeDocument/2006/relationships/slideLayout" Target="../slideLayouts/slideLayout8.xml"/><Relationship Id="rId21" Type="http://schemas.openxmlformats.org/officeDocument/2006/relationships/image" Target="../media/image123.png"/><Relationship Id="rId34" Type="http://schemas.openxmlformats.org/officeDocument/2006/relationships/image" Target="../media/image36.png"/><Relationship Id="rId7" Type="http://schemas.openxmlformats.org/officeDocument/2006/relationships/image" Target="../media/image110.png"/><Relationship Id="rId12" Type="http://schemas.openxmlformats.org/officeDocument/2006/relationships/image" Target="../media/image114.svg"/><Relationship Id="rId17" Type="http://schemas.openxmlformats.org/officeDocument/2006/relationships/image" Target="../media/image119.png"/><Relationship Id="rId25" Type="http://schemas.openxmlformats.org/officeDocument/2006/relationships/image" Target="../media/image66.svg"/><Relationship Id="rId33" Type="http://schemas.openxmlformats.org/officeDocument/2006/relationships/image" Target="../media/image129.svg"/><Relationship Id="rId38" Type="http://schemas.openxmlformats.org/officeDocument/2006/relationships/image" Target="../media/image131.svg"/><Relationship Id="rId2" Type="http://schemas.openxmlformats.org/officeDocument/2006/relationships/tags" Target="../tags/tag160.xml"/><Relationship Id="rId16" Type="http://schemas.openxmlformats.org/officeDocument/2006/relationships/image" Target="../media/image118.svg"/><Relationship Id="rId20" Type="http://schemas.openxmlformats.org/officeDocument/2006/relationships/image" Target="../media/image122.svg"/><Relationship Id="rId29" Type="http://schemas.openxmlformats.org/officeDocument/2006/relationships/image" Target="../media/image128.svg"/><Relationship Id="rId1" Type="http://schemas.openxmlformats.org/officeDocument/2006/relationships/vmlDrawing" Target="../drawings/vmlDrawing63.vml"/><Relationship Id="rId6" Type="http://schemas.openxmlformats.org/officeDocument/2006/relationships/image" Target="NULL"/><Relationship Id="rId11" Type="http://schemas.openxmlformats.org/officeDocument/2006/relationships/image" Target="../media/image113.png"/><Relationship Id="rId24" Type="http://schemas.openxmlformats.org/officeDocument/2006/relationships/image" Target="../media/image65.png"/><Relationship Id="rId32" Type="http://schemas.openxmlformats.org/officeDocument/2006/relationships/image" Target="../media/image38.png"/><Relationship Id="rId37" Type="http://schemas.openxmlformats.org/officeDocument/2006/relationships/image" Target="../media/image130.png"/><Relationship Id="rId5" Type="http://schemas.openxmlformats.org/officeDocument/2006/relationships/oleObject" Target="../embeddings/oleObject63.bin"/><Relationship Id="rId15" Type="http://schemas.openxmlformats.org/officeDocument/2006/relationships/image" Target="../media/image117.png"/><Relationship Id="rId23" Type="http://schemas.openxmlformats.org/officeDocument/2006/relationships/slide" Target="slide13.xml"/><Relationship Id="rId28" Type="http://schemas.openxmlformats.org/officeDocument/2006/relationships/image" Target="../media/image127.png"/><Relationship Id="rId36" Type="http://schemas.openxmlformats.org/officeDocument/2006/relationships/image" Target="../media/image39.svg"/><Relationship Id="rId10" Type="http://schemas.openxmlformats.org/officeDocument/2006/relationships/image" Target="../media/image112.png"/><Relationship Id="rId19" Type="http://schemas.openxmlformats.org/officeDocument/2006/relationships/image" Target="../media/image121.png"/><Relationship Id="rId31" Type="http://schemas.openxmlformats.org/officeDocument/2006/relationships/image" Target="../media/image26.svg"/><Relationship Id="rId4" Type="http://schemas.openxmlformats.org/officeDocument/2006/relationships/notesSlide" Target="../notesSlides/notesSlide25.xml"/><Relationship Id="rId9" Type="http://schemas.openxmlformats.org/officeDocument/2006/relationships/hyperlink" Target="https://www.rijksoverheid.nl/onderwerpen/mobiliteit-nu-en-in-de-toekomst/documenten/brochures/2019/05/31/maas-pilots---optimaliseren-van-het-mobiliteitssysteem" TargetMode="External"/><Relationship Id="rId14" Type="http://schemas.openxmlformats.org/officeDocument/2006/relationships/image" Target="../media/image116.svg"/><Relationship Id="rId22" Type="http://schemas.openxmlformats.org/officeDocument/2006/relationships/image" Target="../media/image124.svg"/><Relationship Id="rId27" Type="http://schemas.openxmlformats.org/officeDocument/2006/relationships/image" Target="../media/image126.svg"/><Relationship Id="rId30" Type="http://schemas.openxmlformats.org/officeDocument/2006/relationships/image" Target="../media/image25.png"/><Relationship Id="rId35" Type="http://schemas.openxmlformats.org/officeDocument/2006/relationships/image" Target="../media/image37.svg"/></Relationships>
</file>

<file path=ppt/slides/_rels/slide26.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xml"/><Relationship Id="rId7" Type="http://schemas.openxmlformats.org/officeDocument/2006/relationships/slide" Target="slide14.xml"/><Relationship Id="rId2" Type="http://schemas.openxmlformats.org/officeDocument/2006/relationships/tags" Target="../tags/tag161.xml"/><Relationship Id="rId1" Type="http://schemas.openxmlformats.org/officeDocument/2006/relationships/vmlDrawing" Target="../drawings/vmlDrawing64.vml"/><Relationship Id="rId6" Type="http://schemas.openxmlformats.org/officeDocument/2006/relationships/image" Target="NULL"/><Relationship Id="rId11" Type="http://schemas.openxmlformats.org/officeDocument/2006/relationships/image" Target="../media/image133.svg"/><Relationship Id="rId5" Type="http://schemas.openxmlformats.org/officeDocument/2006/relationships/oleObject" Target="../embeddings/oleObject64.bin"/><Relationship Id="rId10" Type="http://schemas.openxmlformats.org/officeDocument/2006/relationships/image" Target="../media/image132.png"/><Relationship Id="rId4" Type="http://schemas.openxmlformats.org/officeDocument/2006/relationships/notesSlide" Target="../notesSlides/notesSlide26.xml"/><Relationship Id="rId9" Type="http://schemas.openxmlformats.org/officeDocument/2006/relationships/image" Target="../media/image66.svg"/></Relationships>
</file>

<file path=ppt/slides/_rels/slide27.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hyperlink" Target="https://www.taxipro.nl/contractvervoer/2017/04/03/andere-opzet-van-doelgroepenvervoer-midden-brabant/" TargetMode="External"/><Relationship Id="rId3" Type="http://schemas.openxmlformats.org/officeDocument/2006/relationships/slideLayout" Target="../slideLayouts/slideLayout8.xml"/><Relationship Id="rId7" Type="http://schemas.openxmlformats.org/officeDocument/2006/relationships/slide" Target="slide13.xml"/><Relationship Id="rId12" Type="http://schemas.openxmlformats.org/officeDocument/2006/relationships/hyperlink" Target="https://www.brabant.nl/onderwerpen/verkeer-en-vervoer/verkeers-en-vervoersbeleid/vernieuwing-ov" TargetMode="External"/><Relationship Id="rId2" Type="http://schemas.openxmlformats.org/officeDocument/2006/relationships/tags" Target="../tags/tag162.xml"/><Relationship Id="rId16" Type="http://schemas.openxmlformats.org/officeDocument/2006/relationships/hyperlink" Target="https://mrdh.nl/sites/default/files/documents/uitvoeringsagenda_bereikbaarheid_webversie.pdf" TargetMode="External"/><Relationship Id="rId1" Type="http://schemas.openxmlformats.org/officeDocument/2006/relationships/vmlDrawing" Target="../drawings/vmlDrawing65.vml"/><Relationship Id="rId6" Type="http://schemas.openxmlformats.org/officeDocument/2006/relationships/image" Target="NULL"/><Relationship Id="rId11" Type="http://schemas.openxmlformats.org/officeDocument/2006/relationships/hyperlink" Target="https://www.ovpro.nl/bus/2020/11/04/vervoerregio-zet-in-op-versneld-toegankelijk-maken-van-ov/" TargetMode="External"/><Relationship Id="rId5" Type="http://schemas.openxmlformats.org/officeDocument/2006/relationships/oleObject" Target="../embeddings/oleObject65.bin"/><Relationship Id="rId15" Type="http://schemas.openxmlformats.org/officeDocument/2006/relationships/hyperlink" Target="https://www.publiekvervoer.nl/" TargetMode="External"/><Relationship Id="rId10" Type="http://schemas.openxmlformats.org/officeDocument/2006/relationships/hyperlink" Target="https://www.taxipro.nl/contractvervoer/2019/01/10/regiotaxi-utrecht-vanaf-2024-alleen-voor-wmo-clienten/" TargetMode="External"/><Relationship Id="rId4" Type="http://schemas.openxmlformats.org/officeDocument/2006/relationships/notesSlide" Target="../notesSlides/notesSlide27.xml"/><Relationship Id="rId9" Type="http://schemas.openxmlformats.org/officeDocument/2006/relationships/image" Target="../media/image66.svg"/><Relationship Id="rId14" Type="http://schemas.openxmlformats.org/officeDocument/2006/relationships/hyperlink" Target="https://www.sociaalweb.nl/nieuws/provincie-wil-bravoflex-koppelen-aan-wmo-vervoer?utm_source=Mailing+Lijst&amp;utm_medium=email&amp;utm_campaign=Zorg%26Sociaalweb+nieuwsbrief+02-07-2020" TargetMode="External"/></Relationships>
</file>

<file path=ppt/slides/_rels/slide28.xml.rels><?xml version="1.0" encoding="UTF-8" standalone="yes"?>
<Relationships xmlns="http://schemas.openxmlformats.org/package/2006/relationships"><Relationship Id="rId8" Type="http://schemas.openxmlformats.org/officeDocument/2006/relationships/image" Target="../media/image135.svg"/><Relationship Id="rId13" Type="http://schemas.openxmlformats.org/officeDocument/2006/relationships/image" Target="../media/image140.png"/><Relationship Id="rId3" Type="http://schemas.openxmlformats.org/officeDocument/2006/relationships/slideLayout" Target="../slideLayouts/slideLayout9.xml"/><Relationship Id="rId7" Type="http://schemas.openxmlformats.org/officeDocument/2006/relationships/image" Target="../media/image134.png"/><Relationship Id="rId12" Type="http://schemas.openxmlformats.org/officeDocument/2006/relationships/image" Target="../media/image139.svg"/><Relationship Id="rId2" Type="http://schemas.openxmlformats.org/officeDocument/2006/relationships/tags" Target="../tags/tag163.xml"/><Relationship Id="rId1" Type="http://schemas.openxmlformats.org/officeDocument/2006/relationships/vmlDrawing" Target="../drawings/vmlDrawing66.vml"/><Relationship Id="rId6" Type="http://schemas.openxmlformats.org/officeDocument/2006/relationships/image" Target="NULL"/><Relationship Id="rId11" Type="http://schemas.openxmlformats.org/officeDocument/2006/relationships/image" Target="../media/image138.png"/><Relationship Id="rId5" Type="http://schemas.openxmlformats.org/officeDocument/2006/relationships/oleObject" Target="../embeddings/oleObject66.bin"/><Relationship Id="rId10" Type="http://schemas.openxmlformats.org/officeDocument/2006/relationships/image" Target="../media/image137.svg"/><Relationship Id="rId4" Type="http://schemas.openxmlformats.org/officeDocument/2006/relationships/notesSlide" Target="../notesSlides/notesSlide28.xml"/><Relationship Id="rId9" Type="http://schemas.openxmlformats.org/officeDocument/2006/relationships/image" Target="../media/image136.png"/><Relationship Id="rId14" Type="http://schemas.openxmlformats.org/officeDocument/2006/relationships/image" Target="../media/image141.png"/></Relationships>
</file>

<file path=ppt/slides/_rels/slide29.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tags" Target="../tags/tag164.xml"/><Relationship Id="rId16" Type="http://schemas.openxmlformats.org/officeDocument/2006/relationships/image" Target="../media/image16.svg"/><Relationship Id="rId1" Type="http://schemas.openxmlformats.org/officeDocument/2006/relationships/vmlDrawing" Target="../drawings/vmlDrawing67.vml"/><Relationship Id="rId6" Type="http://schemas.openxmlformats.org/officeDocument/2006/relationships/image" Target="../media/image5.emf"/><Relationship Id="rId11" Type="http://schemas.openxmlformats.org/officeDocument/2006/relationships/image" Target="../media/image11.png"/><Relationship Id="rId5" Type="http://schemas.openxmlformats.org/officeDocument/2006/relationships/oleObject" Target="../embeddings/oleObject67.bin"/><Relationship Id="rId15" Type="http://schemas.openxmlformats.org/officeDocument/2006/relationships/image" Target="../media/image15.png"/><Relationship Id="rId10" Type="http://schemas.openxmlformats.org/officeDocument/2006/relationships/image" Target="../media/image10.svg"/><Relationship Id="rId4" Type="http://schemas.openxmlformats.org/officeDocument/2006/relationships/notesSlide" Target="../notesSlides/notesSlide29.xml"/><Relationship Id="rId9" Type="http://schemas.openxmlformats.org/officeDocument/2006/relationships/image" Target="../media/image9.png"/><Relationship Id="rId14" Type="http://schemas.openxmlformats.org/officeDocument/2006/relationships/image" Target="../media/image14.svg"/></Relationships>
</file>

<file path=ppt/slides/_rels/slide3.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tags" Target="../tags/tag68.xml"/><Relationship Id="rId16" Type="http://schemas.openxmlformats.org/officeDocument/2006/relationships/image" Target="../media/image16.svg"/><Relationship Id="rId1" Type="http://schemas.openxmlformats.org/officeDocument/2006/relationships/vmlDrawing" Target="../drawings/vmlDrawing41.vml"/><Relationship Id="rId6" Type="http://schemas.openxmlformats.org/officeDocument/2006/relationships/image" Target="../media/image5.emf"/><Relationship Id="rId11" Type="http://schemas.openxmlformats.org/officeDocument/2006/relationships/image" Target="../media/image11.png"/><Relationship Id="rId5" Type="http://schemas.openxmlformats.org/officeDocument/2006/relationships/oleObject" Target="../embeddings/oleObject41.bin"/><Relationship Id="rId15" Type="http://schemas.openxmlformats.org/officeDocument/2006/relationships/image" Target="../media/image15.png"/><Relationship Id="rId10" Type="http://schemas.openxmlformats.org/officeDocument/2006/relationships/image" Target="../media/image10.svg"/><Relationship Id="rId4" Type="http://schemas.openxmlformats.org/officeDocument/2006/relationships/notesSlide" Target="../notesSlides/notesSlide3.xml"/><Relationship Id="rId9" Type="http://schemas.openxmlformats.org/officeDocument/2006/relationships/image" Target="../media/image9.png"/><Relationship Id="rId14" Type="http://schemas.openxmlformats.org/officeDocument/2006/relationships/image" Target="../media/image14.svg"/></Relationships>
</file>

<file path=ppt/slides/_rels/slide30.xml.rels><?xml version="1.0" encoding="UTF-8" standalone="yes"?>
<Relationships xmlns="http://schemas.openxmlformats.org/package/2006/relationships"><Relationship Id="rId3" Type="http://schemas.openxmlformats.org/officeDocument/2006/relationships/tags" Target="../tags/tag166.xml"/><Relationship Id="rId7" Type="http://schemas.openxmlformats.org/officeDocument/2006/relationships/image" Target="NULL"/><Relationship Id="rId2" Type="http://schemas.openxmlformats.org/officeDocument/2006/relationships/tags" Target="../tags/tag165.xml"/><Relationship Id="rId1" Type="http://schemas.openxmlformats.org/officeDocument/2006/relationships/vmlDrawing" Target="../drawings/vmlDrawing68.vml"/><Relationship Id="rId6" Type="http://schemas.openxmlformats.org/officeDocument/2006/relationships/oleObject" Target="../embeddings/oleObject68.bin"/><Relationship Id="rId5" Type="http://schemas.openxmlformats.org/officeDocument/2006/relationships/notesSlide" Target="../notesSlides/notesSlide30.xml"/><Relationship Id="rId4" Type="http://schemas.openxmlformats.org/officeDocument/2006/relationships/slideLayout" Target="../slideLayouts/slideLayout34.xml"/></Relationships>
</file>

<file path=ppt/slides/_rels/slide31.xml.rels><?xml version="1.0" encoding="UTF-8" standalone="yes"?>
<Relationships xmlns="http://schemas.openxmlformats.org/package/2006/relationships"><Relationship Id="rId3" Type="http://schemas.openxmlformats.org/officeDocument/2006/relationships/tags" Target="../tags/tag168.xml"/><Relationship Id="rId7" Type="http://schemas.openxmlformats.org/officeDocument/2006/relationships/image" Target="NULL"/><Relationship Id="rId2" Type="http://schemas.openxmlformats.org/officeDocument/2006/relationships/tags" Target="../tags/tag167.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notesSlide" Target="../notesSlides/notesSlide31.xml"/><Relationship Id="rId4" Type="http://schemas.openxmlformats.org/officeDocument/2006/relationships/slideLayout" Target="../slideLayouts/slideLayout34.xml"/></Relationships>
</file>

<file path=ppt/slides/_rels/slide32.xml.rels><?xml version="1.0" encoding="UTF-8" standalone="yes"?>
<Relationships xmlns="http://schemas.openxmlformats.org/package/2006/relationships"><Relationship Id="rId13" Type="http://schemas.openxmlformats.org/officeDocument/2006/relationships/tags" Target="../tags/tag180.xml"/><Relationship Id="rId18" Type="http://schemas.openxmlformats.org/officeDocument/2006/relationships/tags" Target="../tags/tag185.xml"/><Relationship Id="rId26" Type="http://schemas.openxmlformats.org/officeDocument/2006/relationships/tags" Target="../tags/tag193.xml"/><Relationship Id="rId39" Type="http://schemas.openxmlformats.org/officeDocument/2006/relationships/tags" Target="../tags/tag206.xml"/><Relationship Id="rId21" Type="http://schemas.openxmlformats.org/officeDocument/2006/relationships/tags" Target="../tags/tag188.xml"/><Relationship Id="rId34" Type="http://schemas.openxmlformats.org/officeDocument/2006/relationships/tags" Target="../tags/tag201.xml"/><Relationship Id="rId42" Type="http://schemas.openxmlformats.org/officeDocument/2006/relationships/tags" Target="../tags/tag209.xml"/><Relationship Id="rId47" Type="http://schemas.openxmlformats.org/officeDocument/2006/relationships/tags" Target="../tags/tag214.xml"/><Relationship Id="rId50" Type="http://schemas.openxmlformats.org/officeDocument/2006/relationships/tags" Target="../tags/tag217.xml"/><Relationship Id="rId55" Type="http://schemas.openxmlformats.org/officeDocument/2006/relationships/tags" Target="../tags/tag222.xml"/><Relationship Id="rId63" Type="http://schemas.openxmlformats.org/officeDocument/2006/relationships/tags" Target="../tags/tag230.xml"/><Relationship Id="rId68" Type="http://schemas.openxmlformats.org/officeDocument/2006/relationships/chart" Target="../charts/chart6.xml"/><Relationship Id="rId7" Type="http://schemas.openxmlformats.org/officeDocument/2006/relationships/tags" Target="../tags/tag174.xml"/><Relationship Id="rId71" Type="http://schemas.openxmlformats.org/officeDocument/2006/relationships/chart" Target="../charts/chart9.xml"/><Relationship Id="rId2" Type="http://schemas.openxmlformats.org/officeDocument/2006/relationships/tags" Target="../tags/tag169.xml"/><Relationship Id="rId16" Type="http://schemas.openxmlformats.org/officeDocument/2006/relationships/tags" Target="../tags/tag183.xml"/><Relationship Id="rId29" Type="http://schemas.openxmlformats.org/officeDocument/2006/relationships/tags" Target="../tags/tag196.xml"/><Relationship Id="rId1" Type="http://schemas.openxmlformats.org/officeDocument/2006/relationships/vmlDrawing" Target="../drawings/vmlDrawing70.vml"/><Relationship Id="rId6" Type="http://schemas.openxmlformats.org/officeDocument/2006/relationships/tags" Target="../tags/tag173.xml"/><Relationship Id="rId11" Type="http://schemas.openxmlformats.org/officeDocument/2006/relationships/tags" Target="../tags/tag178.xml"/><Relationship Id="rId24" Type="http://schemas.openxmlformats.org/officeDocument/2006/relationships/tags" Target="../tags/tag191.xml"/><Relationship Id="rId32" Type="http://schemas.openxmlformats.org/officeDocument/2006/relationships/tags" Target="../tags/tag199.xml"/><Relationship Id="rId37" Type="http://schemas.openxmlformats.org/officeDocument/2006/relationships/tags" Target="../tags/tag204.xml"/><Relationship Id="rId40" Type="http://schemas.openxmlformats.org/officeDocument/2006/relationships/tags" Target="../tags/tag207.xml"/><Relationship Id="rId45" Type="http://schemas.openxmlformats.org/officeDocument/2006/relationships/tags" Target="../tags/tag212.xml"/><Relationship Id="rId53" Type="http://schemas.openxmlformats.org/officeDocument/2006/relationships/tags" Target="../tags/tag220.xml"/><Relationship Id="rId58" Type="http://schemas.openxmlformats.org/officeDocument/2006/relationships/tags" Target="../tags/tag225.xml"/><Relationship Id="rId66" Type="http://schemas.openxmlformats.org/officeDocument/2006/relationships/oleObject" Target="../embeddings/oleObject70.bin"/><Relationship Id="rId5" Type="http://schemas.openxmlformats.org/officeDocument/2006/relationships/tags" Target="../tags/tag172.xml"/><Relationship Id="rId15" Type="http://schemas.openxmlformats.org/officeDocument/2006/relationships/tags" Target="../tags/tag182.xml"/><Relationship Id="rId23" Type="http://schemas.openxmlformats.org/officeDocument/2006/relationships/tags" Target="../tags/tag190.xml"/><Relationship Id="rId28" Type="http://schemas.openxmlformats.org/officeDocument/2006/relationships/tags" Target="../tags/tag195.xml"/><Relationship Id="rId36" Type="http://schemas.openxmlformats.org/officeDocument/2006/relationships/tags" Target="../tags/tag203.xml"/><Relationship Id="rId49" Type="http://schemas.openxmlformats.org/officeDocument/2006/relationships/tags" Target="../tags/tag216.xml"/><Relationship Id="rId57" Type="http://schemas.openxmlformats.org/officeDocument/2006/relationships/tags" Target="../tags/tag224.xml"/><Relationship Id="rId61" Type="http://schemas.openxmlformats.org/officeDocument/2006/relationships/tags" Target="../tags/tag228.xml"/><Relationship Id="rId10" Type="http://schemas.openxmlformats.org/officeDocument/2006/relationships/tags" Target="../tags/tag177.xml"/><Relationship Id="rId19" Type="http://schemas.openxmlformats.org/officeDocument/2006/relationships/tags" Target="../tags/tag186.xml"/><Relationship Id="rId31" Type="http://schemas.openxmlformats.org/officeDocument/2006/relationships/tags" Target="../tags/tag198.xml"/><Relationship Id="rId44" Type="http://schemas.openxmlformats.org/officeDocument/2006/relationships/tags" Target="../tags/tag211.xml"/><Relationship Id="rId52" Type="http://schemas.openxmlformats.org/officeDocument/2006/relationships/tags" Target="../tags/tag219.xml"/><Relationship Id="rId60" Type="http://schemas.openxmlformats.org/officeDocument/2006/relationships/tags" Target="../tags/tag227.xml"/><Relationship Id="rId65" Type="http://schemas.openxmlformats.org/officeDocument/2006/relationships/notesSlide" Target="../notesSlides/notesSlide32.xml"/><Relationship Id="rId4" Type="http://schemas.openxmlformats.org/officeDocument/2006/relationships/tags" Target="../tags/tag171.xml"/><Relationship Id="rId9" Type="http://schemas.openxmlformats.org/officeDocument/2006/relationships/tags" Target="../tags/tag176.xml"/><Relationship Id="rId14" Type="http://schemas.openxmlformats.org/officeDocument/2006/relationships/tags" Target="../tags/tag181.xml"/><Relationship Id="rId22" Type="http://schemas.openxmlformats.org/officeDocument/2006/relationships/tags" Target="../tags/tag189.xml"/><Relationship Id="rId27" Type="http://schemas.openxmlformats.org/officeDocument/2006/relationships/tags" Target="../tags/tag194.xml"/><Relationship Id="rId30" Type="http://schemas.openxmlformats.org/officeDocument/2006/relationships/tags" Target="../tags/tag197.xml"/><Relationship Id="rId35" Type="http://schemas.openxmlformats.org/officeDocument/2006/relationships/tags" Target="../tags/tag202.xml"/><Relationship Id="rId43" Type="http://schemas.openxmlformats.org/officeDocument/2006/relationships/tags" Target="../tags/tag210.xml"/><Relationship Id="rId48" Type="http://schemas.openxmlformats.org/officeDocument/2006/relationships/tags" Target="../tags/tag215.xml"/><Relationship Id="rId56" Type="http://schemas.openxmlformats.org/officeDocument/2006/relationships/tags" Target="../tags/tag223.xml"/><Relationship Id="rId64" Type="http://schemas.openxmlformats.org/officeDocument/2006/relationships/slideLayout" Target="../slideLayouts/slideLayout2.xml"/><Relationship Id="rId69" Type="http://schemas.openxmlformats.org/officeDocument/2006/relationships/chart" Target="../charts/chart7.xml"/><Relationship Id="rId8" Type="http://schemas.openxmlformats.org/officeDocument/2006/relationships/tags" Target="../tags/tag175.xml"/><Relationship Id="rId51" Type="http://schemas.openxmlformats.org/officeDocument/2006/relationships/tags" Target="../tags/tag218.xml"/><Relationship Id="rId3" Type="http://schemas.openxmlformats.org/officeDocument/2006/relationships/tags" Target="../tags/tag170.xml"/><Relationship Id="rId12" Type="http://schemas.openxmlformats.org/officeDocument/2006/relationships/tags" Target="../tags/tag179.xml"/><Relationship Id="rId17" Type="http://schemas.openxmlformats.org/officeDocument/2006/relationships/tags" Target="../tags/tag184.xml"/><Relationship Id="rId25" Type="http://schemas.openxmlformats.org/officeDocument/2006/relationships/tags" Target="../tags/tag192.xml"/><Relationship Id="rId33" Type="http://schemas.openxmlformats.org/officeDocument/2006/relationships/tags" Target="../tags/tag200.xml"/><Relationship Id="rId38" Type="http://schemas.openxmlformats.org/officeDocument/2006/relationships/tags" Target="../tags/tag205.xml"/><Relationship Id="rId46" Type="http://schemas.openxmlformats.org/officeDocument/2006/relationships/tags" Target="../tags/tag213.xml"/><Relationship Id="rId59" Type="http://schemas.openxmlformats.org/officeDocument/2006/relationships/tags" Target="../tags/tag226.xml"/><Relationship Id="rId67" Type="http://schemas.openxmlformats.org/officeDocument/2006/relationships/image" Target="NULL"/><Relationship Id="rId20" Type="http://schemas.openxmlformats.org/officeDocument/2006/relationships/tags" Target="../tags/tag187.xml"/><Relationship Id="rId41" Type="http://schemas.openxmlformats.org/officeDocument/2006/relationships/tags" Target="../tags/tag208.xml"/><Relationship Id="rId54" Type="http://schemas.openxmlformats.org/officeDocument/2006/relationships/tags" Target="../tags/tag221.xml"/><Relationship Id="rId62" Type="http://schemas.openxmlformats.org/officeDocument/2006/relationships/tags" Target="../tags/tag229.xml"/><Relationship Id="rId70" Type="http://schemas.openxmlformats.org/officeDocument/2006/relationships/chart" Target="../charts/chart8.xml"/></Relationships>
</file>

<file path=ppt/slides/_rels/slide33.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146.svg"/><Relationship Id="rId3" Type="http://schemas.openxmlformats.org/officeDocument/2006/relationships/slideLayout" Target="../slideLayouts/slideLayout35.xml"/><Relationship Id="rId7" Type="http://schemas.openxmlformats.org/officeDocument/2006/relationships/image" Target="../media/image142.png"/><Relationship Id="rId12" Type="http://schemas.openxmlformats.org/officeDocument/2006/relationships/image" Target="../media/image145.png"/><Relationship Id="rId2" Type="http://schemas.openxmlformats.org/officeDocument/2006/relationships/tags" Target="../tags/tag231.xml"/><Relationship Id="rId1" Type="http://schemas.openxmlformats.org/officeDocument/2006/relationships/vmlDrawing" Target="../drawings/vmlDrawing71.vml"/><Relationship Id="rId6" Type="http://schemas.openxmlformats.org/officeDocument/2006/relationships/image" Target="NULL"/><Relationship Id="rId11" Type="http://schemas.openxmlformats.org/officeDocument/2006/relationships/image" Target="../media/image144.svg"/><Relationship Id="rId5" Type="http://schemas.openxmlformats.org/officeDocument/2006/relationships/oleObject" Target="../embeddings/oleObject71.bin"/><Relationship Id="rId10" Type="http://schemas.openxmlformats.org/officeDocument/2006/relationships/image" Target="../media/image143.png"/><Relationship Id="rId4" Type="http://schemas.openxmlformats.org/officeDocument/2006/relationships/notesSlide" Target="../notesSlides/notesSlide33.xml"/><Relationship Id="rId9" Type="http://schemas.openxmlformats.org/officeDocument/2006/relationships/image" Target="../media/image22.svg"/></Relationships>
</file>

<file path=ppt/slides/_rels/slide34.xml.rels><?xml version="1.0" encoding="UTF-8" standalone="yes"?>
<Relationships xmlns="http://schemas.openxmlformats.org/package/2006/relationships"><Relationship Id="rId8" Type="http://schemas.openxmlformats.org/officeDocument/2006/relationships/image" Target="../media/image5.emf"/><Relationship Id="rId13" Type="http://schemas.openxmlformats.org/officeDocument/2006/relationships/image" Target="../media/image150.png"/><Relationship Id="rId3" Type="http://schemas.openxmlformats.org/officeDocument/2006/relationships/tags" Target="../tags/tag233.xml"/><Relationship Id="rId7" Type="http://schemas.openxmlformats.org/officeDocument/2006/relationships/oleObject" Target="../embeddings/oleObject72.bin"/><Relationship Id="rId12" Type="http://schemas.openxmlformats.org/officeDocument/2006/relationships/image" Target="../media/image149.jpeg"/><Relationship Id="rId2" Type="http://schemas.openxmlformats.org/officeDocument/2006/relationships/tags" Target="../tags/tag232.xml"/><Relationship Id="rId1" Type="http://schemas.openxmlformats.org/officeDocument/2006/relationships/vmlDrawing" Target="../drawings/vmlDrawing72.vml"/><Relationship Id="rId6" Type="http://schemas.openxmlformats.org/officeDocument/2006/relationships/notesSlide" Target="../notesSlides/notesSlide34.xml"/><Relationship Id="rId11" Type="http://schemas.openxmlformats.org/officeDocument/2006/relationships/image" Target="../media/image148.png"/><Relationship Id="rId5" Type="http://schemas.openxmlformats.org/officeDocument/2006/relationships/slideLayout" Target="../slideLayouts/slideLayout36.xml"/><Relationship Id="rId10" Type="http://schemas.openxmlformats.org/officeDocument/2006/relationships/image" Target="../media/image147.png"/><Relationship Id="rId4" Type="http://schemas.openxmlformats.org/officeDocument/2006/relationships/tags" Target="../tags/tag234.xml"/><Relationship Id="rId9" Type="http://schemas.openxmlformats.org/officeDocument/2006/relationships/chart" Target="../charts/chart10.xml"/><Relationship Id="rId14" Type="http://schemas.openxmlformats.org/officeDocument/2006/relationships/chart" Target="../charts/chart11.xml"/></Relationships>
</file>

<file path=ppt/slides/_rels/slide35.xml.rels><?xml version="1.0" encoding="UTF-8" standalone="yes"?>
<Relationships xmlns="http://schemas.openxmlformats.org/package/2006/relationships"><Relationship Id="rId8" Type="http://schemas.openxmlformats.org/officeDocument/2006/relationships/hyperlink" Target="https://www.go-ov.nl/" TargetMode="External"/><Relationship Id="rId3" Type="http://schemas.openxmlformats.org/officeDocument/2006/relationships/slideLayout" Target="../slideLayouts/slideLayout36.xml"/><Relationship Id="rId7" Type="http://schemas.openxmlformats.org/officeDocument/2006/relationships/hyperlink" Target="https://www.digitallifecentre.nl/projecten/eyebeacons-wayfinding-in-public-spaces" TargetMode="External"/><Relationship Id="rId2" Type="http://schemas.openxmlformats.org/officeDocument/2006/relationships/tags" Target="../tags/tag235.xml"/><Relationship Id="rId1" Type="http://schemas.openxmlformats.org/officeDocument/2006/relationships/vmlDrawing" Target="../drawings/vmlDrawing73.vml"/><Relationship Id="rId6" Type="http://schemas.openxmlformats.org/officeDocument/2006/relationships/hyperlink" Target="https://haltebuddy.focustest.nl/landingpagehttps:/haltebuddy.focustest.nl/landingpage" TargetMode="External"/><Relationship Id="rId11" Type="http://schemas.openxmlformats.org/officeDocument/2006/relationships/hyperlink" Target="https://www.handjehelpen.nl/eigenwijs-op-reis/l146c16" TargetMode="External"/><Relationship Id="rId5" Type="http://schemas.openxmlformats.org/officeDocument/2006/relationships/image" Target="../media/image5.emf"/><Relationship Id="rId10" Type="http://schemas.openxmlformats.org/officeDocument/2006/relationships/hyperlink" Target="https://www.crow.nl/getmedia/720654f7-35b5-49fd-9215-d444e63bb537/Brochure-K-D088-Praktijkvoorbeelden-Inclusieve-Mobiliteit.pdf.aspx?ext=.pdf" TargetMode="External"/><Relationship Id="rId4" Type="http://schemas.openxmlformats.org/officeDocument/2006/relationships/oleObject" Target="../embeddings/oleObject73.bin"/><Relationship Id="rId9" Type="http://schemas.openxmlformats.org/officeDocument/2006/relationships/hyperlink" Target="https://www.go-ov.nl/goov-app/" TargetMode="External"/></Relationships>
</file>

<file path=ppt/slides/_rels/slide36.xml.rels><?xml version="1.0" encoding="UTF-8" standalone="yes"?>
<Relationships xmlns="http://schemas.openxmlformats.org/package/2006/relationships"><Relationship Id="rId8" Type="http://schemas.openxmlformats.org/officeDocument/2006/relationships/hyperlink" Target="https://www.gelderland.nl/OV-ambassadeurs" TargetMode="External"/><Relationship Id="rId3" Type="http://schemas.openxmlformats.org/officeDocument/2006/relationships/slideLayout" Target="../slideLayouts/slideLayout36.xml"/><Relationship Id="rId7" Type="http://schemas.openxmlformats.org/officeDocument/2006/relationships/hyperlink" Target="https://ov-coach.nl/" TargetMode="External"/><Relationship Id="rId2" Type="http://schemas.openxmlformats.org/officeDocument/2006/relationships/tags" Target="../tags/tag236.xml"/><Relationship Id="rId1" Type="http://schemas.openxmlformats.org/officeDocument/2006/relationships/vmlDrawing" Target="../drawings/vmlDrawing74.vml"/><Relationship Id="rId6" Type="http://schemas.openxmlformats.org/officeDocument/2006/relationships/hyperlink" Target="https://www.ns.nl/reisinformatie/reizen-met-een-beperking/ns-reisassistentie.html" TargetMode="External"/><Relationship Id="rId11" Type="http://schemas.openxmlformats.org/officeDocument/2006/relationships/hyperlink" Target="https://www.bravo.info/stads-en-streekbussen/toegankelijkheid-bus/toegankelijkheid-ov-in-regio-west-brabant" TargetMode="External"/><Relationship Id="rId5" Type="http://schemas.openxmlformats.org/officeDocument/2006/relationships/image" Target="../media/image5.emf"/><Relationship Id="rId10" Type="http://schemas.openxmlformats.org/officeDocument/2006/relationships/hyperlink" Target="https://www.arriva.nl/zakelijk/vervoersmogelijkheden/voorelkaarpas.htm" TargetMode="External"/><Relationship Id="rId4" Type="http://schemas.openxmlformats.org/officeDocument/2006/relationships/oleObject" Target="../embeddings/oleObject74.bin"/><Relationship Id="rId9" Type="http://schemas.openxmlformats.org/officeDocument/2006/relationships/hyperlink" Target="https://www.connexxion.nl/nl/vervoerbewijzen/abonnementen2/sentire-voor-mensen-met-een-visuele-beperking" TargetMode="External"/></Relationships>
</file>

<file path=ppt/slides/_rels/slide37.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slideLayout" Target="../slideLayouts/slideLayout36.xml"/><Relationship Id="rId7" Type="http://schemas.openxmlformats.org/officeDocument/2006/relationships/image" Target="../media/image133.svg"/><Relationship Id="rId2" Type="http://schemas.openxmlformats.org/officeDocument/2006/relationships/tags" Target="../tags/tag237.xml"/><Relationship Id="rId1" Type="http://schemas.openxmlformats.org/officeDocument/2006/relationships/vmlDrawing" Target="../drawings/vmlDrawing75.vml"/><Relationship Id="rId6" Type="http://schemas.openxmlformats.org/officeDocument/2006/relationships/image" Target="../media/image132.png"/><Relationship Id="rId5" Type="http://schemas.openxmlformats.org/officeDocument/2006/relationships/image" Target="../media/image151.emf"/><Relationship Id="rId4" Type="http://schemas.openxmlformats.org/officeDocument/2006/relationships/oleObject" Target="../embeddings/oleObject75.bin"/><Relationship Id="rId9" Type="http://schemas.openxmlformats.org/officeDocument/2006/relationships/image" Target="../media/image153.svg"/></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238.xml"/><Relationship Id="rId1" Type="http://schemas.openxmlformats.org/officeDocument/2006/relationships/vmlDrawing" Target="../drawings/vmlDrawing76.vml"/><Relationship Id="rId6" Type="http://schemas.openxmlformats.org/officeDocument/2006/relationships/image" Target="NULL"/><Relationship Id="rId5" Type="http://schemas.openxmlformats.org/officeDocument/2006/relationships/oleObject" Target="../embeddings/oleObject76.bin"/><Relationship Id="rId4" Type="http://schemas.openxmlformats.org/officeDocument/2006/relationships/notesSlide" Target="../notesSlides/notesSlide35.xml"/></Relationships>
</file>

<file path=ppt/slides/_rels/slide39.xml.rels><?xml version="1.0" encoding="UTF-8" standalone="yes"?>
<Relationships xmlns="http://schemas.openxmlformats.org/package/2006/relationships"><Relationship Id="rId8" Type="http://schemas.openxmlformats.org/officeDocument/2006/relationships/hyperlink" Target="mailto:eva.nivard@itspublic.nl" TargetMode="External"/><Relationship Id="rId3" Type="http://schemas.openxmlformats.org/officeDocument/2006/relationships/slideLayout" Target="../slideLayouts/slideLayout33.xml"/><Relationship Id="rId7" Type="http://schemas.openxmlformats.org/officeDocument/2006/relationships/hyperlink" Target="mailto:kees.vandermeeren@itspublic.nl" TargetMode="External"/><Relationship Id="rId2" Type="http://schemas.openxmlformats.org/officeDocument/2006/relationships/tags" Target="../tags/tag239.xml"/><Relationship Id="rId1" Type="http://schemas.openxmlformats.org/officeDocument/2006/relationships/vmlDrawing" Target="../drawings/vmlDrawing77.vml"/><Relationship Id="rId6" Type="http://schemas.openxmlformats.org/officeDocument/2006/relationships/image" Target="NULL"/><Relationship Id="rId5" Type="http://schemas.openxmlformats.org/officeDocument/2006/relationships/oleObject" Target="../embeddings/oleObject77.bin"/><Relationship Id="rId4" Type="http://schemas.openxmlformats.org/officeDocument/2006/relationships/notesSlide" Target="../notesSlides/notesSlide36.xml"/><Relationship Id="rId9" Type="http://schemas.openxmlformats.org/officeDocument/2006/relationships/image" Target="../media/image154.png"/></Relationships>
</file>

<file path=ppt/slides/_rels/slide4.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 Type="http://schemas.openxmlformats.org/officeDocument/2006/relationships/slideLayout" Target="../slideLayouts/slideLayout2.xml"/><Relationship Id="rId21" Type="http://schemas.openxmlformats.org/officeDocument/2006/relationships/image" Target="../media/image31.svg"/><Relationship Id="rId7" Type="http://schemas.openxmlformats.org/officeDocument/2006/relationships/image" Target="../media/image17.png"/><Relationship Id="rId12" Type="http://schemas.openxmlformats.org/officeDocument/2006/relationships/image" Target="../media/image22.svg"/><Relationship Id="rId17" Type="http://schemas.openxmlformats.org/officeDocument/2006/relationships/image" Target="../media/image27.png"/><Relationship Id="rId25" Type="http://schemas.openxmlformats.org/officeDocument/2006/relationships/image" Target="../media/image35.svg"/><Relationship Id="rId2" Type="http://schemas.openxmlformats.org/officeDocument/2006/relationships/tags" Target="../tags/tag69.xml"/><Relationship Id="rId16" Type="http://schemas.openxmlformats.org/officeDocument/2006/relationships/image" Target="../media/image26.svg"/><Relationship Id="rId20" Type="http://schemas.openxmlformats.org/officeDocument/2006/relationships/image" Target="../media/image30.png"/><Relationship Id="rId29" Type="http://schemas.openxmlformats.org/officeDocument/2006/relationships/image" Target="../media/image39.svg"/><Relationship Id="rId1" Type="http://schemas.openxmlformats.org/officeDocument/2006/relationships/vmlDrawing" Target="../drawings/vmlDrawing42.vml"/><Relationship Id="rId6" Type="http://schemas.openxmlformats.org/officeDocument/2006/relationships/image" Target="NULL"/><Relationship Id="rId11" Type="http://schemas.openxmlformats.org/officeDocument/2006/relationships/image" Target="../media/image21.png"/><Relationship Id="rId24" Type="http://schemas.openxmlformats.org/officeDocument/2006/relationships/image" Target="../media/image34.png"/><Relationship Id="rId5" Type="http://schemas.openxmlformats.org/officeDocument/2006/relationships/oleObject" Target="../embeddings/oleObject42.bin"/><Relationship Id="rId15" Type="http://schemas.openxmlformats.org/officeDocument/2006/relationships/image" Target="../media/image25.png"/><Relationship Id="rId23" Type="http://schemas.openxmlformats.org/officeDocument/2006/relationships/image" Target="../media/image33.svg"/><Relationship Id="rId28" Type="http://schemas.openxmlformats.org/officeDocument/2006/relationships/image" Target="../media/image38.png"/><Relationship Id="rId10" Type="http://schemas.openxmlformats.org/officeDocument/2006/relationships/image" Target="../media/image20.svg"/><Relationship Id="rId19" Type="http://schemas.openxmlformats.org/officeDocument/2006/relationships/image" Target="../media/image29.svg"/><Relationship Id="rId4" Type="http://schemas.openxmlformats.org/officeDocument/2006/relationships/notesSlide" Target="../notesSlides/notesSlide4.xml"/><Relationship Id="rId9" Type="http://schemas.openxmlformats.org/officeDocument/2006/relationships/image" Target="../media/image19.png"/><Relationship Id="rId14" Type="http://schemas.openxmlformats.org/officeDocument/2006/relationships/image" Target="../media/image24.svg"/><Relationship Id="rId22" Type="http://schemas.openxmlformats.org/officeDocument/2006/relationships/image" Target="../media/image32.png"/><Relationship Id="rId27" Type="http://schemas.openxmlformats.org/officeDocument/2006/relationships/image" Target="../media/image37.svg"/></Relationships>
</file>

<file path=ppt/slides/_rels/slide5.xml.rels><?xml version="1.0" encoding="UTF-8" standalone="yes"?>
<Relationships xmlns="http://schemas.openxmlformats.org/package/2006/relationships"><Relationship Id="rId8" Type="http://schemas.openxmlformats.org/officeDocument/2006/relationships/image" Target="../media/image41.svg"/><Relationship Id="rId13" Type="http://schemas.openxmlformats.org/officeDocument/2006/relationships/image" Target="../media/image17.png"/><Relationship Id="rId18" Type="http://schemas.openxmlformats.org/officeDocument/2006/relationships/image" Target="../media/image24.svg"/><Relationship Id="rId3" Type="http://schemas.openxmlformats.org/officeDocument/2006/relationships/slideLayout" Target="../slideLayouts/slideLayout12.xml"/><Relationship Id="rId21" Type="http://schemas.openxmlformats.org/officeDocument/2006/relationships/image" Target="../media/image27.png"/><Relationship Id="rId7" Type="http://schemas.openxmlformats.org/officeDocument/2006/relationships/image" Target="../media/image40.png"/><Relationship Id="rId12" Type="http://schemas.openxmlformats.org/officeDocument/2006/relationships/image" Target="../media/image45.svg"/><Relationship Id="rId17" Type="http://schemas.openxmlformats.org/officeDocument/2006/relationships/image" Target="../media/image23.png"/><Relationship Id="rId25" Type="http://schemas.openxmlformats.org/officeDocument/2006/relationships/image" Target="../media/image22.svg"/><Relationship Id="rId2" Type="http://schemas.openxmlformats.org/officeDocument/2006/relationships/tags" Target="../tags/tag70.xml"/><Relationship Id="rId16" Type="http://schemas.openxmlformats.org/officeDocument/2006/relationships/image" Target="../media/image20.svg"/><Relationship Id="rId20" Type="http://schemas.openxmlformats.org/officeDocument/2006/relationships/image" Target="../media/image26.svg"/><Relationship Id="rId1" Type="http://schemas.openxmlformats.org/officeDocument/2006/relationships/vmlDrawing" Target="../drawings/vmlDrawing43.vml"/><Relationship Id="rId6" Type="http://schemas.openxmlformats.org/officeDocument/2006/relationships/image" Target="NULL"/><Relationship Id="rId11" Type="http://schemas.openxmlformats.org/officeDocument/2006/relationships/image" Target="../media/image44.png"/><Relationship Id="rId24" Type="http://schemas.openxmlformats.org/officeDocument/2006/relationships/image" Target="../media/image21.png"/><Relationship Id="rId5" Type="http://schemas.openxmlformats.org/officeDocument/2006/relationships/oleObject" Target="../embeddings/oleObject43.bin"/><Relationship Id="rId15" Type="http://schemas.openxmlformats.org/officeDocument/2006/relationships/image" Target="../media/image19.png"/><Relationship Id="rId23" Type="http://schemas.openxmlformats.org/officeDocument/2006/relationships/image" Target="../media/image29.svg"/><Relationship Id="rId10" Type="http://schemas.openxmlformats.org/officeDocument/2006/relationships/image" Target="../media/image43.svg"/><Relationship Id="rId19" Type="http://schemas.openxmlformats.org/officeDocument/2006/relationships/image" Target="../media/image25.png"/><Relationship Id="rId4" Type="http://schemas.openxmlformats.org/officeDocument/2006/relationships/notesSlide" Target="../notesSlides/notesSlide5.xml"/><Relationship Id="rId9" Type="http://schemas.openxmlformats.org/officeDocument/2006/relationships/image" Target="../media/image42.png"/><Relationship Id="rId14" Type="http://schemas.openxmlformats.org/officeDocument/2006/relationships/image" Target="../media/image18.svg"/><Relationship Id="rId22" Type="http://schemas.openxmlformats.org/officeDocument/2006/relationships/image" Target="../media/image28.png"/></Relationships>
</file>

<file path=ppt/slides/_rels/slide6.xml.rels><?xml version="1.0" encoding="UTF-8" standalone="yes"?>
<Relationships xmlns="http://schemas.openxmlformats.org/package/2006/relationships"><Relationship Id="rId8" Type="http://schemas.openxmlformats.org/officeDocument/2006/relationships/slide" Target="slide30.xml"/><Relationship Id="rId3" Type="http://schemas.openxmlformats.org/officeDocument/2006/relationships/tags" Target="../tags/tag72.xml"/><Relationship Id="rId7" Type="http://schemas.openxmlformats.org/officeDocument/2006/relationships/image" Target="NULL"/><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6.xml"/><Relationship Id="rId10" Type="http://schemas.openxmlformats.org/officeDocument/2006/relationships/image" Target="../media/image47.svg"/><Relationship Id="rId4" Type="http://schemas.openxmlformats.org/officeDocument/2006/relationships/slideLayout" Target="../slideLayouts/slideLayout34.xml"/><Relationship Id="rId9" Type="http://schemas.openxmlformats.org/officeDocument/2006/relationships/image" Target="../media/image46.png"/></Relationships>
</file>

<file path=ppt/slides/_rels/slide7.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52.png"/><Relationship Id="rId18" Type="http://schemas.openxmlformats.org/officeDocument/2006/relationships/image" Target="../media/image57.svg"/><Relationship Id="rId3" Type="http://schemas.openxmlformats.org/officeDocument/2006/relationships/slideLayout" Target="../slideLayouts/slideLayout8.xml"/><Relationship Id="rId7" Type="http://schemas.openxmlformats.org/officeDocument/2006/relationships/image" Target="../media/image7.png"/><Relationship Id="rId12" Type="http://schemas.openxmlformats.org/officeDocument/2006/relationships/image" Target="../media/image51.svg"/><Relationship Id="rId17" Type="http://schemas.openxmlformats.org/officeDocument/2006/relationships/image" Target="../media/image56.png"/><Relationship Id="rId2" Type="http://schemas.openxmlformats.org/officeDocument/2006/relationships/tags" Target="../tags/tag73.xml"/><Relationship Id="rId16" Type="http://schemas.openxmlformats.org/officeDocument/2006/relationships/image" Target="../media/image55.svg"/><Relationship Id="rId20" Type="http://schemas.openxmlformats.org/officeDocument/2006/relationships/image" Target="../media/image59.svg"/><Relationship Id="rId1" Type="http://schemas.openxmlformats.org/officeDocument/2006/relationships/vmlDrawing" Target="../drawings/vmlDrawing45.vml"/><Relationship Id="rId6" Type="http://schemas.openxmlformats.org/officeDocument/2006/relationships/image" Target="NULL"/><Relationship Id="rId11" Type="http://schemas.openxmlformats.org/officeDocument/2006/relationships/image" Target="../media/image50.png"/><Relationship Id="rId5" Type="http://schemas.openxmlformats.org/officeDocument/2006/relationships/oleObject" Target="../embeddings/oleObject45.bin"/><Relationship Id="rId15" Type="http://schemas.openxmlformats.org/officeDocument/2006/relationships/image" Target="../media/image54.png"/><Relationship Id="rId10" Type="http://schemas.openxmlformats.org/officeDocument/2006/relationships/image" Target="../media/image49.svg"/><Relationship Id="rId19" Type="http://schemas.openxmlformats.org/officeDocument/2006/relationships/image" Target="../media/image58.png"/><Relationship Id="rId4" Type="http://schemas.openxmlformats.org/officeDocument/2006/relationships/notesSlide" Target="../notesSlides/notesSlide7.xml"/><Relationship Id="rId9" Type="http://schemas.openxmlformats.org/officeDocument/2006/relationships/image" Target="../media/image48.png"/><Relationship Id="rId14" Type="http://schemas.openxmlformats.org/officeDocument/2006/relationships/image" Target="../media/image53.svg"/></Relationships>
</file>

<file path=ppt/slides/_rels/slide8.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tags" Target="../tags/tag74.xml"/><Relationship Id="rId16" Type="http://schemas.openxmlformats.org/officeDocument/2006/relationships/image" Target="../media/image16.svg"/><Relationship Id="rId1" Type="http://schemas.openxmlformats.org/officeDocument/2006/relationships/vmlDrawing" Target="../drawings/vmlDrawing46.vml"/><Relationship Id="rId6" Type="http://schemas.openxmlformats.org/officeDocument/2006/relationships/image" Target="../media/image5.emf"/><Relationship Id="rId11" Type="http://schemas.openxmlformats.org/officeDocument/2006/relationships/image" Target="../media/image11.png"/><Relationship Id="rId5" Type="http://schemas.openxmlformats.org/officeDocument/2006/relationships/oleObject" Target="../embeddings/oleObject46.bin"/><Relationship Id="rId15" Type="http://schemas.openxmlformats.org/officeDocument/2006/relationships/image" Target="../media/image15.png"/><Relationship Id="rId10" Type="http://schemas.openxmlformats.org/officeDocument/2006/relationships/image" Target="../media/image10.svg"/><Relationship Id="rId4" Type="http://schemas.openxmlformats.org/officeDocument/2006/relationships/notesSlide" Target="../notesSlides/notesSlide8.xml"/><Relationship Id="rId9" Type="http://schemas.openxmlformats.org/officeDocument/2006/relationships/image" Target="../media/image9.png"/><Relationship Id="rId14" Type="http://schemas.openxmlformats.org/officeDocument/2006/relationships/image" Target="../media/image14.svg"/></Relationships>
</file>

<file path=ppt/slides/_rels/slide9.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hyperlink" Target="https://www.cbs.nl/nl-nl/nieuws/2020/51/prognose-bevolking-blijft-komende-50-jaar-groeien#:~:text=De%20bevolkingsgroei%20komt%20in%202020,hoger%2C%20en%20de%20migratie%20lager.&amp;text=Naar%20verwachting%20komt%20de%20bevolkingsgroei,boven%20de%20100%20duizend%20uit." TargetMode="External"/><Relationship Id="rId12" Type="http://schemas.openxmlformats.org/officeDocument/2006/relationships/image" Target="../media/image63.svg"/><Relationship Id="rId17" Type="http://schemas.openxmlformats.org/officeDocument/2006/relationships/image" Target="../media/image64.png"/><Relationship Id="rId2" Type="http://schemas.openxmlformats.org/officeDocument/2006/relationships/tags" Target="../tags/tag75.xml"/><Relationship Id="rId16" Type="http://schemas.openxmlformats.org/officeDocument/2006/relationships/image" Target="../media/image12.svg"/><Relationship Id="rId1" Type="http://schemas.openxmlformats.org/officeDocument/2006/relationships/vmlDrawing" Target="../drawings/vmlDrawing47.vml"/><Relationship Id="rId6" Type="http://schemas.openxmlformats.org/officeDocument/2006/relationships/image" Target="NULL"/><Relationship Id="rId11" Type="http://schemas.openxmlformats.org/officeDocument/2006/relationships/image" Target="../media/image62.png"/><Relationship Id="rId5" Type="http://schemas.openxmlformats.org/officeDocument/2006/relationships/oleObject" Target="../embeddings/oleObject47.bin"/><Relationship Id="rId15" Type="http://schemas.openxmlformats.org/officeDocument/2006/relationships/image" Target="../media/image11.png"/><Relationship Id="rId10" Type="http://schemas.openxmlformats.org/officeDocument/2006/relationships/image" Target="../media/image61.png"/><Relationship Id="rId4" Type="http://schemas.openxmlformats.org/officeDocument/2006/relationships/notesSlide" Target="../notesSlides/notesSlide9.xml"/><Relationship Id="rId9" Type="http://schemas.openxmlformats.org/officeDocument/2006/relationships/hyperlink" Target="https://www.rijksoverheid.nl/documenten/rapporten/2019/03/15/iedereen-onderweg" TargetMode="External"/><Relationship Id="rId14" Type="http://schemas.openxmlformats.org/officeDocument/2006/relationships/image" Target="../media/image1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B19C0E7-0588-483D-8D71-CDEC80B647D6}"/>
              </a:ext>
            </a:extLst>
          </p:cNvPr>
          <p:cNvGraphicFramePr>
            <a:graphicFrameLocks noChangeAspect="1"/>
          </p:cNvGraphicFramePr>
          <p:nvPr>
            <p:custDataLst>
              <p:tags r:id="rId2"/>
            </p:custDataLst>
            <p:extLst>
              <p:ext uri="{D42A27DB-BD31-4B8C-83A1-F6EECF244321}">
                <p14:modId xmlns:p14="http://schemas.microsoft.com/office/powerpoint/2010/main" val="2873984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0" name="think-cell Slide" r:id="rId5" imgW="425" imgH="424" progId="TCLayout.ActiveDocument.1">
                  <p:embed/>
                </p:oleObj>
              </mc:Choice>
              <mc:Fallback>
                <p:oleObj name="think-cell Slide" r:id="rId5" imgW="425" imgH="424" progId="TCLayout.ActiveDocument.1">
                  <p:embed/>
                  <p:pic>
                    <p:nvPicPr>
                      <p:cNvPr id="11" name="Object 10" hidden="1">
                        <a:extLst>
                          <a:ext uri="{FF2B5EF4-FFF2-40B4-BE49-F238E27FC236}">
                            <a16:creationId xmlns:a16="http://schemas.microsoft.com/office/drawing/2014/main" id="{2B19C0E7-0588-483D-8D71-CDEC80B647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Placeholder 6" descr="A person walking down a sidewalk&#10;&#10;Description automatically generated with low confidence">
            <a:extLst>
              <a:ext uri="{FF2B5EF4-FFF2-40B4-BE49-F238E27FC236}">
                <a16:creationId xmlns:a16="http://schemas.microsoft.com/office/drawing/2014/main" id="{5E176BDB-A7AB-445F-B9E2-5EEB3905A0F5}"/>
              </a:ext>
            </a:extLst>
          </p:cNvPr>
          <p:cNvPicPr>
            <a:picLocks noGrp="1" noChangeAspect="1"/>
          </p:cNvPicPr>
          <p:nvPr>
            <p:ph type="pic" sz="quarter" idx="13"/>
          </p:nvPr>
        </p:nvPicPr>
        <p:blipFill>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a:stretch>
            <a:fillRect/>
          </a:stretch>
        </p:blipFill>
        <p:spPr>
          <a:xfrm flipH="1">
            <a:off x="658813" y="0"/>
            <a:ext cx="11533187" cy="6858000"/>
          </a:xfrm>
        </p:spPr>
      </p:pic>
      <p:sp>
        <p:nvSpPr>
          <p:cNvPr id="15" name="Rectangle 14">
            <a:extLst>
              <a:ext uri="{FF2B5EF4-FFF2-40B4-BE49-F238E27FC236}">
                <a16:creationId xmlns:a16="http://schemas.microsoft.com/office/drawing/2014/main" id="{40BAF1DD-8049-421D-B93C-2907EB081A08}"/>
              </a:ext>
            </a:extLst>
          </p:cNvPr>
          <p:cNvSpPr/>
          <p:nvPr/>
        </p:nvSpPr>
        <p:spPr>
          <a:xfrm>
            <a:off x="658813" y="0"/>
            <a:ext cx="11533187" cy="6858000"/>
          </a:xfrm>
          <a:prstGeom prst="rect">
            <a:avLst/>
          </a:prstGeom>
          <a:solidFill>
            <a:schemeClr val="accent4">
              <a:alpha val="50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 name="Text Placeholder 8">
            <a:extLst>
              <a:ext uri="{FF2B5EF4-FFF2-40B4-BE49-F238E27FC236}">
                <a16:creationId xmlns:a16="http://schemas.microsoft.com/office/drawing/2014/main" id="{6D03527A-9475-4C59-8E77-6D4167096773}"/>
              </a:ext>
            </a:extLst>
          </p:cNvPr>
          <p:cNvSpPr>
            <a:spLocks noGrp="1"/>
          </p:cNvSpPr>
          <p:nvPr>
            <p:ph type="body" idx="1"/>
          </p:nvPr>
        </p:nvSpPr>
        <p:spPr>
          <a:xfrm>
            <a:off x="989446" y="3664435"/>
            <a:ext cx="5106554" cy="855807"/>
          </a:xfrm>
        </p:spPr>
        <p:txBody>
          <a:bodyPr lIns="108000" rIns="108000"/>
          <a:lstStyle/>
          <a:p>
            <a:r>
              <a:rPr lang="en-NL"/>
              <a:t>I</a:t>
            </a:r>
            <a:r>
              <a:rPr lang="nl-NL"/>
              <a:t>t’s </a:t>
            </a:r>
            <a:r>
              <a:rPr lang="en-NL"/>
              <a:t>P</a:t>
            </a:r>
            <a:r>
              <a:rPr lang="nl-NL"/>
              <a:t>ublic </a:t>
            </a:r>
            <a:r>
              <a:rPr lang="en-NL"/>
              <a:t>– Augustus</a:t>
            </a:r>
            <a:r>
              <a:rPr lang="en-GB"/>
              <a:t> </a:t>
            </a:r>
            <a:r>
              <a:rPr lang="nl-NL" dirty="0"/>
              <a:t>2021</a:t>
            </a:r>
          </a:p>
        </p:txBody>
      </p:sp>
      <p:sp>
        <p:nvSpPr>
          <p:cNvPr id="8" name="Title 7">
            <a:extLst>
              <a:ext uri="{FF2B5EF4-FFF2-40B4-BE49-F238E27FC236}">
                <a16:creationId xmlns:a16="http://schemas.microsoft.com/office/drawing/2014/main" id="{83459F80-A0F3-4297-8DD1-ED3890148062}"/>
              </a:ext>
            </a:extLst>
          </p:cNvPr>
          <p:cNvSpPr>
            <a:spLocks noGrp="1"/>
          </p:cNvSpPr>
          <p:nvPr>
            <p:ph type="ctrTitle"/>
          </p:nvPr>
        </p:nvSpPr>
        <p:spPr>
          <a:xfrm>
            <a:off x="989446" y="2373744"/>
            <a:ext cx="5106554" cy="1220355"/>
          </a:xfrm>
        </p:spPr>
        <p:txBody>
          <a:bodyPr vert="horz" lIns="72000" rIns="72000" anchor="ctr"/>
          <a:lstStyle/>
          <a:p>
            <a:r>
              <a:rPr lang="nl-NL" sz="3200" dirty="0"/>
              <a:t>Toekomstbestendig doelgroepenvervoer</a:t>
            </a:r>
          </a:p>
        </p:txBody>
      </p:sp>
      <p:sp>
        <p:nvSpPr>
          <p:cNvPr id="5" name="Slide Number Placeholder 4">
            <a:extLst>
              <a:ext uri="{FF2B5EF4-FFF2-40B4-BE49-F238E27FC236}">
                <a16:creationId xmlns:a16="http://schemas.microsoft.com/office/drawing/2014/main" id="{93ABD646-0064-4965-8DED-D65517022713}"/>
              </a:ext>
            </a:extLst>
          </p:cNvPr>
          <p:cNvSpPr>
            <a:spLocks noGrp="1"/>
          </p:cNvSpPr>
          <p:nvPr>
            <p:ph type="sldNum" sz="quarter" idx="4294967295"/>
          </p:nvPr>
        </p:nvSpPr>
        <p:spPr>
          <a:xfrm>
            <a:off x="11169650" y="6583363"/>
            <a:ext cx="1022350" cy="163512"/>
          </a:xfrm>
        </p:spPr>
        <p:txBody>
          <a:bodyPr/>
          <a:lstStyle/>
          <a:p>
            <a:fld id="{992CD0B2-8AB2-4C6C-8876-E15753662C9B}" type="slidenum">
              <a:rPr lang="nl-NL" smtClean="0"/>
              <a:pPr/>
              <a:t>1</a:t>
            </a:fld>
            <a:endParaRPr lang="nl-NL" dirty="0"/>
          </a:p>
        </p:txBody>
      </p:sp>
    </p:spTree>
    <p:extLst>
      <p:ext uri="{BB962C8B-B14F-4D97-AF65-F5344CB8AC3E}">
        <p14:creationId xmlns:p14="http://schemas.microsoft.com/office/powerpoint/2010/main" val="32016138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DCC7DFB7-1BEC-44A5-B122-97AF1CB1DE00}"/>
              </a:ext>
            </a:extLst>
          </p:cNvPr>
          <p:cNvGraphicFramePr>
            <a:graphicFrameLocks noChangeAspect="1"/>
          </p:cNvGraphicFramePr>
          <p:nvPr>
            <p:custDataLst>
              <p:tags r:id="rId2"/>
            </p:custDataLst>
            <p:extLst>
              <p:ext uri="{D42A27DB-BD31-4B8C-83A1-F6EECF244321}">
                <p14:modId xmlns:p14="http://schemas.microsoft.com/office/powerpoint/2010/main" val="2593813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6" name="think-cell Slide" r:id="rId19" imgW="425" imgH="424" progId="TCLayout.ActiveDocument.1">
                  <p:embed/>
                </p:oleObj>
              </mc:Choice>
              <mc:Fallback>
                <p:oleObj name="think-cell Slide" r:id="rId19" imgW="425" imgH="424" progId="TCLayout.ActiveDocument.1">
                  <p:embed/>
                  <p:pic>
                    <p:nvPicPr>
                      <p:cNvPr id="13" name="Object 12" hidden="1">
                        <a:extLst>
                          <a:ext uri="{FF2B5EF4-FFF2-40B4-BE49-F238E27FC236}">
                            <a16:creationId xmlns:a16="http://schemas.microsoft.com/office/drawing/2014/main" id="{DCC7DFB7-1BEC-44A5-B122-97AF1CB1DE0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A7A9A1CD-3B63-4EE1-93FE-798108AC0EFB}"/>
              </a:ext>
            </a:extLst>
          </p:cNvPr>
          <p:cNvSpPr/>
          <p:nvPr/>
        </p:nvSpPr>
        <p:spPr>
          <a:xfrm>
            <a:off x="4243526" y="1608194"/>
            <a:ext cx="3755255" cy="2304261"/>
          </a:xfrm>
          <a:prstGeom prst="rect">
            <a:avLst/>
          </a:prstGeom>
          <a:noFill/>
          <a:ln>
            <a:noFill/>
          </a:ln>
          <a:extLst>
            <a:ext uri="{909E8E84-426E-40DD-AFC4-6F175D3DCCD1}">
              <a14:hiddenFill xmlns:a14="http://schemas.microsoft.com/office/drawing/2010/main">
                <a:solidFill>
                  <a:schemeClr val="accent6">
                    <a:lumMod val="95000"/>
                  </a:schemeClr>
                </a:solidFill>
              </a14:hiddenFill>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100" b="1" dirty="0"/>
              <a:t>Barrières onder niet-frequente gebruikers</a:t>
            </a:r>
            <a:r>
              <a:rPr lang="nl-NL" sz="1100" dirty="0"/>
              <a:t>, KiM 2019</a:t>
            </a:r>
          </a:p>
          <a:p>
            <a:pPr marL="0" indent="0">
              <a:buClr>
                <a:schemeClr val="tx2"/>
              </a:buClr>
              <a:buNone/>
            </a:pPr>
            <a:endParaRPr lang="nl-NL" sz="1100" dirty="0"/>
          </a:p>
        </p:txBody>
      </p:sp>
      <p:sp>
        <p:nvSpPr>
          <p:cNvPr id="48" name="Rectangle 47">
            <a:extLst>
              <a:ext uri="{FF2B5EF4-FFF2-40B4-BE49-F238E27FC236}">
                <a16:creationId xmlns:a16="http://schemas.microsoft.com/office/drawing/2014/main" id="{E9EC3CFB-597D-4C67-8CEE-86B1E0DD8D6C}"/>
              </a:ext>
            </a:extLst>
          </p:cNvPr>
          <p:cNvSpPr/>
          <p:nvPr/>
        </p:nvSpPr>
        <p:spPr>
          <a:xfrm>
            <a:off x="4243526" y="4018090"/>
            <a:ext cx="3755255" cy="2304000"/>
          </a:xfrm>
          <a:prstGeom prst="rect">
            <a:avLst/>
          </a:prstGeom>
          <a:noFill/>
          <a:ln>
            <a:noFill/>
          </a:ln>
          <a:extLst>
            <a:ext uri="{909E8E84-426E-40DD-AFC4-6F175D3DCCD1}">
              <a14:hiddenFill xmlns:a14="http://schemas.microsoft.com/office/drawing/2010/main">
                <a:solidFill>
                  <a:schemeClr val="accent6">
                    <a:lumMod val="95000"/>
                  </a:schemeClr>
                </a:solidFill>
              </a14:hiddenFill>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100" b="1"/>
              <a:t>Redenen om </a:t>
            </a:r>
            <a:r>
              <a:rPr lang="nl-NL" sz="1100" b="1" dirty="0"/>
              <a:t>niet met OV te reizen onder niet-frequente gebruikers</a:t>
            </a:r>
            <a:r>
              <a:rPr lang="nl-NL" sz="1100" b="1" baseline="30000" dirty="0"/>
              <a:t>1</a:t>
            </a:r>
            <a:r>
              <a:rPr lang="nl-NL" sz="1100" dirty="0"/>
              <a:t>,</a:t>
            </a:r>
            <a:r>
              <a:rPr lang="nl-NL" sz="1100" b="1" baseline="30000" dirty="0"/>
              <a:t> </a:t>
            </a:r>
            <a:r>
              <a:rPr lang="nl-NL" sz="1100" dirty="0"/>
              <a:t>KiM, 2019</a:t>
            </a:r>
          </a:p>
        </p:txBody>
      </p:sp>
      <p:sp>
        <p:nvSpPr>
          <p:cNvPr id="37" name="Rectangle 36">
            <a:extLst>
              <a:ext uri="{FF2B5EF4-FFF2-40B4-BE49-F238E27FC236}">
                <a16:creationId xmlns:a16="http://schemas.microsoft.com/office/drawing/2014/main" id="{CD9FF919-D7B3-4886-9F5C-20A13D75F1F0}"/>
              </a:ext>
            </a:extLst>
          </p:cNvPr>
          <p:cNvSpPr/>
          <p:nvPr/>
        </p:nvSpPr>
        <p:spPr>
          <a:xfrm>
            <a:off x="658813" y="1608194"/>
            <a:ext cx="3420000" cy="4700531"/>
          </a:xfrm>
          <a:prstGeom prst="rect">
            <a:avLst/>
          </a:prstGeom>
          <a:solidFill>
            <a:schemeClr val="accent6">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100" b="1" dirty="0">
                <a:solidFill>
                  <a:srgbClr val="22777B"/>
                </a:solidFill>
              </a:rPr>
              <a:t>Wmo-reizigers maken nog weinig frequent gebruik van OV, maar ze willen wel</a:t>
            </a:r>
          </a:p>
          <a:p>
            <a:pPr marL="0" indent="0">
              <a:buClr>
                <a:schemeClr val="tx2"/>
              </a:buClr>
              <a:buNone/>
            </a:pPr>
            <a:r>
              <a:rPr lang="nl-NL" sz="1100" dirty="0"/>
              <a:t>In dit document is een grote rol weggelegd voor het  OV als (gedeeltelijke) vervanging van het Wmo-vervoer. Of dit een kansrijke oplossing is, is deels afhankelijk van in hoeverre reizigers al met het OV kunnen en willen:</a:t>
            </a:r>
          </a:p>
          <a:p>
            <a:pPr>
              <a:buClr>
                <a:schemeClr val="tx2"/>
              </a:buClr>
            </a:pPr>
            <a:r>
              <a:rPr lang="nl-NL" sz="1100" dirty="0"/>
              <a:t>Momenteel maakt </a:t>
            </a:r>
            <a:r>
              <a:rPr lang="nl-NL" sz="1100" b="1" dirty="0"/>
              <a:t>90% </a:t>
            </a:r>
            <a:r>
              <a:rPr lang="nl-NL" sz="1100" dirty="0"/>
              <a:t>van de Wmo-reizigers niet of weinig gebruik van het OV. Hierbij zijn verschillende factoren een obstakel (zie grafieken).</a:t>
            </a:r>
          </a:p>
          <a:p>
            <a:pPr>
              <a:buClr>
                <a:schemeClr val="tx2"/>
              </a:buClr>
            </a:pPr>
            <a:r>
              <a:rPr lang="nl-NL" sz="1100" dirty="0"/>
              <a:t>Hoeveel van deze reizigers met het OV zouden willen reizen als deze obstakels verholpen zijn, is (voorzover bekend) niet op grote schaal onderzocht:</a:t>
            </a:r>
          </a:p>
          <a:p>
            <a:pPr lvl="1">
              <a:buClr>
                <a:schemeClr val="tx2"/>
              </a:buClr>
            </a:pPr>
            <a:r>
              <a:rPr lang="nl-NL" sz="1100" dirty="0"/>
              <a:t>Onderzoek van Nivel toont echter aan dat </a:t>
            </a:r>
            <a:r>
              <a:rPr lang="nl-NL" sz="1100" b="1" dirty="0"/>
              <a:t>13% </a:t>
            </a:r>
            <a:r>
              <a:rPr lang="nl-NL" sz="1100" dirty="0"/>
              <a:t>van alle mensen met een lichamelijke beperking (dus niet alleen Wmo-geïndiceerden) niet gebruik maakt van OV maar dat wel </a:t>
            </a:r>
            <a:r>
              <a:rPr lang="nl-NL" sz="1100"/>
              <a:t>zou willen</a:t>
            </a:r>
            <a:endParaRPr lang="nl-NL" sz="1100" dirty="0"/>
          </a:p>
          <a:p>
            <a:pPr lvl="1">
              <a:buClr>
                <a:schemeClr val="tx2"/>
              </a:buClr>
            </a:pPr>
            <a:r>
              <a:rPr lang="nl-NL" sz="1100" dirty="0"/>
              <a:t>Enquêtes onder gebruikers in Amsterdam tonen aan dat van de reizigers met een lichte beperking, zo’n </a:t>
            </a:r>
            <a:r>
              <a:rPr lang="nl-NL" sz="1100" b="1" dirty="0"/>
              <a:t>40% </a:t>
            </a:r>
            <a:r>
              <a:rPr lang="nl-NL" sz="1100" dirty="0"/>
              <a:t>met het OV zou willen reizen indien fysiek mogelijk, bij gebruikers met een zware beperking ligt dat rond de </a:t>
            </a:r>
            <a:r>
              <a:rPr lang="nl-NL" sz="1100" b="1" dirty="0"/>
              <a:t>30%.</a:t>
            </a:r>
          </a:p>
        </p:txBody>
      </p:sp>
      <p:sp>
        <p:nvSpPr>
          <p:cNvPr id="6" name="Slide Number Placeholder 5">
            <a:extLst>
              <a:ext uri="{FF2B5EF4-FFF2-40B4-BE49-F238E27FC236}">
                <a16:creationId xmlns:a16="http://schemas.microsoft.com/office/drawing/2014/main" id="{13B450C7-5161-42A3-96D4-1393ED2D6932}"/>
              </a:ext>
            </a:extLst>
          </p:cNvPr>
          <p:cNvSpPr>
            <a:spLocks noGrp="1"/>
          </p:cNvSpPr>
          <p:nvPr>
            <p:ph type="sldNum" sz="quarter" idx="12"/>
          </p:nvPr>
        </p:nvSpPr>
        <p:spPr/>
        <p:txBody>
          <a:bodyPr/>
          <a:lstStyle/>
          <a:p>
            <a:fld id="{992CD0B2-8AB2-4C6C-8876-E15753662C9B}" type="slidenum">
              <a:rPr lang="nl-NL" smtClean="0"/>
              <a:pPr/>
              <a:t>10</a:t>
            </a:fld>
            <a:endParaRPr lang="nl-NL" dirty="0"/>
          </a:p>
        </p:txBody>
      </p:sp>
      <p:sp>
        <p:nvSpPr>
          <p:cNvPr id="9" name="Title 8">
            <a:extLst>
              <a:ext uri="{FF2B5EF4-FFF2-40B4-BE49-F238E27FC236}">
                <a16:creationId xmlns:a16="http://schemas.microsoft.com/office/drawing/2014/main" id="{B4763000-2087-4E44-8BE9-8499DA3AC44F}"/>
              </a:ext>
            </a:extLst>
          </p:cNvPr>
          <p:cNvSpPr>
            <a:spLocks noGrp="1"/>
          </p:cNvSpPr>
          <p:nvPr>
            <p:ph type="title"/>
          </p:nvPr>
        </p:nvSpPr>
        <p:spPr/>
        <p:txBody>
          <a:bodyPr vert="horz"/>
          <a:lstStyle/>
          <a:p>
            <a:r>
              <a:rPr lang="en-GB" dirty="0" err="1"/>
              <a:t>Een</a:t>
            </a:r>
            <a:r>
              <a:rPr lang="en-GB" dirty="0"/>
              <a:t> </a:t>
            </a:r>
            <a:r>
              <a:rPr lang="en-GB" dirty="0" err="1"/>
              <a:t>deel</a:t>
            </a:r>
            <a:r>
              <a:rPr lang="en-GB" dirty="0"/>
              <a:t> van de </a:t>
            </a:r>
            <a:r>
              <a:rPr lang="en-GB" dirty="0" err="1"/>
              <a:t>Wmo-reizigers</a:t>
            </a:r>
            <a:r>
              <a:rPr lang="en-GB" dirty="0"/>
              <a:t> </a:t>
            </a:r>
            <a:r>
              <a:rPr lang="en-GB" dirty="0" err="1"/>
              <a:t>wil</a:t>
            </a:r>
            <a:r>
              <a:rPr lang="en-GB" dirty="0"/>
              <a:t> met het </a:t>
            </a:r>
            <a:r>
              <a:rPr lang="en-GB"/>
              <a:t>OV reizen,</a:t>
            </a:r>
            <a:r>
              <a:rPr lang="en-NL"/>
              <a:t> </a:t>
            </a:r>
            <a:r>
              <a:rPr lang="en-GB"/>
              <a:t>maar </a:t>
            </a:r>
            <a:r>
              <a:rPr lang="en-GB" dirty="0" err="1"/>
              <a:t>ervaart</a:t>
            </a:r>
            <a:r>
              <a:rPr lang="en-GB" dirty="0"/>
              <a:t> </a:t>
            </a:r>
            <a:r>
              <a:rPr lang="en-GB" dirty="0" err="1"/>
              <a:t>nog</a:t>
            </a:r>
            <a:r>
              <a:rPr lang="en-GB" dirty="0"/>
              <a:t> </a:t>
            </a:r>
            <a:r>
              <a:rPr lang="en-GB" dirty="0" err="1"/>
              <a:t>barrières</a:t>
            </a:r>
            <a:endParaRPr lang="nl-NL" dirty="0"/>
          </a:p>
        </p:txBody>
      </p:sp>
      <p:sp>
        <p:nvSpPr>
          <p:cNvPr id="177" name="Content Placeholder 11">
            <a:extLst>
              <a:ext uri="{FF2B5EF4-FFF2-40B4-BE49-F238E27FC236}">
                <a16:creationId xmlns:a16="http://schemas.microsoft.com/office/drawing/2014/main" id="{537C064E-94A7-4236-84B4-1C6D3EA74D8C}"/>
              </a:ext>
            </a:extLst>
          </p:cNvPr>
          <p:cNvSpPr txBox="1">
            <a:spLocks/>
          </p:cNvSpPr>
          <p:nvPr/>
        </p:nvSpPr>
        <p:spPr>
          <a:xfrm>
            <a:off x="8102600" y="1620001"/>
            <a:ext cx="3420000" cy="4688725"/>
          </a:xfrm>
          <a:prstGeom prst="rect">
            <a:avLst/>
          </a:prstGeom>
          <a:solidFill>
            <a:srgbClr val="DBDBDB">
              <a:alpha val="40000"/>
            </a:srgbClr>
          </a:solid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sz="1100" b="1" dirty="0">
                <a:solidFill>
                  <a:srgbClr val="22777B"/>
                </a:solidFill>
              </a:rPr>
              <a:t>Welke strategische opties doeltreffend zijn is afhankelijk van het gebruikersprofiel</a:t>
            </a:r>
          </a:p>
          <a:p>
            <a:pPr marL="0" indent="0">
              <a:buNone/>
            </a:pPr>
            <a:r>
              <a:rPr lang="nl-NL" sz="1100" dirty="0"/>
              <a:t>Onderzoek het </a:t>
            </a:r>
            <a:r>
              <a:rPr lang="nl-NL" sz="1100" b="1" dirty="0"/>
              <a:t>soort beperking </a:t>
            </a:r>
            <a:r>
              <a:rPr lang="nl-NL" sz="1100" dirty="0"/>
              <a:t>Wmo-reizigers ondervinden tijdens het reizen: </a:t>
            </a:r>
          </a:p>
          <a:p>
            <a:r>
              <a:rPr lang="nl-NL" sz="1100" dirty="0"/>
              <a:t>Hoeveel mensen ervaren een lichamelijke of mentale beperking?</a:t>
            </a:r>
          </a:p>
          <a:p>
            <a:r>
              <a:rPr lang="nl-NL" sz="1100" dirty="0"/>
              <a:t>Gebruiken reizigers hulpmiddelen? Hebben ze begeleiding nodig?</a:t>
            </a:r>
          </a:p>
          <a:p>
            <a:pPr marL="0" indent="0">
              <a:buNone/>
            </a:pPr>
            <a:r>
              <a:rPr lang="nl-NL" sz="1100" dirty="0"/>
              <a:t>Onderzoek andere factoren die van invloed zijn op de mobiliteitsvraag van kwetsbare reizigers, zoals:</a:t>
            </a:r>
          </a:p>
          <a:p>
            <a:r>
              <a:rPr lang="nl-NL" sz="1100" b="1" dirty="0"/>
              <a:t>Leeftijd - </a:t>
            </a:r>
            <a:r>
              <a:rPr lang="nl-NL" sz="1100" dirty="0"/>
              <a:t>Maken ouderen vaker gebruik van het Wmo-vervoer? Kunnen of durven ze niet zelf auto te rijden en/of met het OV te reizen? Hoe zorg ik dat ouderen zich veilig voelen in het Wmo-vervoer?</a:t>
            </a:r>
          </a:p>
          <a:p>
            <a:r>
              <a:rPr lang="nl-NL" sz="1100" b="1" dirty="0"/>
              <a:t>Locatie – </a:t>
            </a:r>
            <a:r>
              <a:rPr lang="nl-NL" sz="1100" dirty="0"/>
              <a:t>Wonen mijn gebruikers in een meer stedelijke of landelijke omgeving? Hoe fijnmazig is het OV-netwerk?</a:t>
            </a:r>
          </a:p>
          <a:p>
            <a:r>
              <a:rPr lang="nl-NL" sz="1100" b="1" dirty="0"/>
              <a:t>Inkomen - </a:t>
            </a:r>
            <a:r>
              <a:rPr lang="nl-NL" sz="1100" dirty="0"/>
              <a:t>Hoe welvarend zijn de Wmo-reizigers in mijn gemeente? Zijn de opties die wij willen aanbieden aantrekkelijk financieel gezien?</a:t>
            </a:r>
          </a:p>
          <a:p>
            <a:pPr marL="0" indent="0">
              <a:buNone/>
            </a:pPr>
            <a:r>
              <a:rPr lang="nl-NL" sz="1100" dirty="0"/>
              <a:t>Onderzoek de aantrekkelijkheid van </a:t>
            </a:r>
            <a:r>
              <a:rPr lang="nl-NL" sz="1100" b="1" dirty="0"/>
              <a:t>alternatieve vervoersmogelijkheden</a:t>
            </a:r>
            <a:r>
              <a:rPr lang="nl-NL" sz="1100" dirty="0"/>
              <a:t>:</a:t>
            </a:r>
          </a:p>
          <a:p>
            <a:r>
              <a:rPr lang="nl-NL" sz="1100" dirty="0"/>
              <a:t>In hoeverre maken Wmo-reizigers al gebruik van alternatieven?</a:t>
            </a:r>
          </a:p>
          <a:p>
            <a:r>
              <a:rPr lang="nl-NL" sz="1100" dirty="0"/>
              <a:t>Wat zijn barrières bij het gebruik van het OV?</a:t>
            </a:r>
          </a:p>
          <a:p>
            <a:r>
              <a:rPr lang="nl-NL" sz="1100" dirty="0"/>
              <a:t>Zouden  Wmo-reizigers met het OV willen reizen?</a:t>
            </a:r>
          </a:p>
          <a:p>
            <a:pPr marL="0" indent="0">
              <a:buNone/>
            </a:pPr>
            <a:endParaRPr lang="nl-NL" sz="1100" dirty="0"/>
          </a:p>
          <a:p>
            <a:pPr marL="0" indent="0">
              <a:buNone/>
            </a:pPr>
            <a:endParaRPr lang="nl-NL" sz="1200" dirty="0"/>
          </a:p>
          <a:p>
            <a:pPr marL="0" indent="0">
              <a:buNone/>
            </a:pPr>
            <a:endParaRPr lang="nl-NL" sz="1200" dirty="0"/>
          </a:p>
        </p:txBody>
      </p:sp>
      <p:sp>
        <p:nvSpPr>
          <p:cNvPr id="3" name="Text Placeholder 2">
            <a:extLst>
              <a:ext uri="{FF2B5EF4-FFF2-40B4-BE49-F238E27FC236}">
                <a16:creationId xmlns:a16="http://schemas.microsoft.com/office/drawing/2014/main" id="{D1366682-F2B1-466B-A307-B80A0B4D9E7B}"/>
              </a:ext>
            </a:extLst>
          </p:cNvPr>
          <p:cNvSpPr>
            <a:spLocks noGrp="1"/>
          </p:cNvSpPr>
          <p:nvPr>
            <p:ph type="body" sz="quarter" idx="14"/>
          </p:nvPr>
        </p:nvSpPr>
        <p:spPr/>
        <p:txBody>
          <a:bodyPr/>
          <a:lstStyle/>
          <a:p>
            <a:endParaRPr lang="nl-NL" dirty="0"/>
          </a:p>
        </p:txBody>
      </p:sp>
      <p:graphicFrame>
        <p:nvGraphicFramePr>
          <p:cNvPr id="115" name="Chart 114">
            <a:extLst>
              <a:ext uri="{FF2B5EF4-FFF2-40B4-BE49-F238E27FC236}">
                <a16:creationId xmlns:a16="http://schemas.microsoft.com/office/drawing/2014/main" id="{A4B17E45-BBD8-44EB-8312-4F9073726291}"/>
              </a:ext>
            </a:extLst>
          </p:cNvPr>
          <p:cNvGraphicFramePr/>
          <p:nvPr>
            <p:custDataLst>
              <p:tags r:id="rId3"/>
            </p:custDataLst>
            <p:extLst>
              <p:ext uri="{D42A27DB-BD31-4B8C-83A1-F6EECF244321}">
                <p14:modId xmlns:p14="http://schemas.microsoft.com/office/powerpoint/2010/main" val="4112490391"/>
              </p:ext>
            </p:extLst>
          </p:nvPr>
        </p:nvGraphicFramePr>
        <p:xfrm>
          <a:off x="5653088" y="1887538"/>
          <a:ext cx="2063750" cy="1960562"/>
        </p:xfrm>
        <a:graphic>
          <a:graphicData uri="http://schemas.openxmlformats.org/drawingml/2006/chart">
            <c:chart xmlns:c="http://schemas.openxmlformats.org/drawingml/2006/chart" xmlns:r="http://schemas.openxmlformats.org/officeDocument/2006/relationships" r:id="rId21"/>
          </a:graphicData>
        </a:graphic>
      </p:graphicFrame>
      <p:sp>
        <p:nvSpPr>
          <p:cNvPr id="106" name="Content 1">
            <a:extLst>
              <a:ext uri="{FF2B5EF4-FFF2-40B4-BE49-F238E27FC236}">
                <a16:creationId xmlns:a16="http://schemas.microsoft.com/office/drawing/2014/main" id="{4B9982FA-94CE-476E-98B9-AED20350F85D}"/>
              </a:ext>
            </a:extLst>
          </p:cNvPr>
          <p:cNvSpPr>
            <a:spLocks noGrp="1"/>
          </p:cNvSpPr>
          <p:nvPr>
            <p:custDataLst>
              <p:tags r:id="rId4"/>
            </p:custDataLst>
          </p:nvPr>
        </p:nvSpPr>
        <p:spPr bwMode="gray">
          <a:xfrm>
            <a:off x="6316663" y="3465513"/>
            <a:ext cx="3683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r>
              <a:rPr lang="nl-NL" altLang="en-US" sz="1100" dirty="0">
                <a:solidFill>
                  <a:schemeClr val="tx1"/>
                </a:solidFill>
                <a:effectLst/>
                <a:latin typeface="+mn-lt"/>
              </a:rPr>
              <a:t>~20%</a:t>
            </a:r>
            <a:endParaRPr lang="nl-NL" sz="1100" noProof="0" dirty="0">
              <a:solidFill>
                <a:schemeClr val="tx1"/>
              </a:solidFill>
              <a:latin typeface="+mn-lt"/>
            </a:endParaRPr>
          </a:p>
        </p:txBody>
      </p:sp>
      <p:sp>
        <p:nvSpPr>
          <p:cNvPr id="23" name="Content 1">
            <a:extLst>
              <a:ext uri="{FF2B5EF4-FFF2-40B4-BE49-F238E27FC236}">
                <a16:creationId xmlns:a16="http://schemas.microsoft.com/office/drawing/2014/main" id="{4B9982FA-94CE-476E-98B9-AED20350F85D}"/>
              </a:ext>
            </a:extLst>
          </p:cNvPr>
          <p:cNvSpPr>
            <a:spLocks noGrp="1"/>
          </p:cNvSpPr>
          <p:nvPr>
            <p:custDataLst>
              <p:tags r:id="rId5"/>
            </p:custDataLst>
          </p:nvPr>
        </p:nvSpPr>
        <p:spPr bwMode="auto">
          <a:xfrm>
            <a:off x="4629150" y="2043113"/>
            <a:ext cx="1014413" cy="301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r>
              <a:rPr lang="nl-NL" altLang="en-US" sz="1100" dirty="0">
                <a:solidFill>
                  <a:schemeClr val="tx1"/>
                </a:solidFill>
              </a:rPr>
              <a:t>Verplaatsen naar/</a:t>
            </a:r>
            <a:br>
              <a:rPr lang="nl-NL" altLang="en-US" sz="1100" dirty="0">
                <a:solidFill>
                  <a:schemeClr val="tx1"/>
                </a:solidFill>
              </a:rPr>
            </a:br>
            <a:r>
              <a:rPr lang="nl-NL" altLang="en-US" sz="1100" dirty="0">
                <a:solidFill>
                  <a:schemeClr val="tx1"/>
                </a:solidFill>
              </a:rPr>
              <a:t>rondom station</a:t>
            </a:r>
            <a:endParaRPr lang="nl-NL" sz="1100" noProof="0" dirty="0">
              <a:solidFill>
                <a:schemeClr val="tx1"/>
              </a:solidFill>
              <a:latin typeface="+mn-lt"/>
            </a:endParaRPr>
          </a:p>
        </p:txBody>
      </p:sp>
      <p:sp>
        <p:nvSpPr>
          <p:cNvPr id="92" name="Content 1">
            <a:extLst>
              <a:ext uri="{FF2B5EF4-FFF2-40B4-BE49-F238E27FC236}">
                <a16:creationId xmlns:a16="http://schemas.microsoft.com/office/drawing/2014/main" id="{4B9982FA-94CE-476E-98B9-AED20350F85D}"/>
              </a:ext>
            </a:extLst>
          </p:cNvPr>
          <p:cNvSpPr>
            <a:spLocks noGrp="1"/>
          </p:cNvSpPr>
          <p:nvPr>
            <p:custDataLst>
              <p:tags r:id="rId6"/>
            </p:custDataLst>
          </p:nvPr>
        </p:nvSpPr>
        <p:spPr bwMode="gray">
          <a:xfrm>
            <a:off x="7659688" y="2119313"/>
            <a:ext cx="36512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r>
              <a:rPr lang="nl-NL" altLang="en-US" sz="1100" dirty="0">
                <a:solidFill>
                  <a:schemeClr val="tx1"/>
                </a:solidFill>
                <a:effectLst/>
                <a:latin typeface="+mn-lt"/>
              </a:rPr>
              <a:t>~65%</a:t>
            </a:r>
            <a:endParaRPr lang="nl-NL" sz="1100" noProof="0" dirty="0">
              <a:solidFill>
                <a:schemeClr val="tx1"/>
              </a:solidFill>
              <a:latin typeface="+mn-lt"/>
            </a:endParaRPr>
          </a:p>
        </p:txBody>
      </p:sp>
      <p:sp>
        <p:nvSpPr>
          <p:cNvPr id="24" name="Content 1">
            <a:extLst>
              <a:ext uri="{FF2B5EF4-FFF2-40B4-BE49-F238E27FC236}">
                <a16:creationId xmlns:a16="http://schemas.microsoft.com/office/drawing/2014/main" id="{4B9982FA-94CE-476E-98B9-AED20350F85D}"/>
              </a:ext>
            </a:extLst>
          </p:cNvPr>
          <p:cNvSpPr>
            <a:spLocks noGrp="1"/>
          </p:cNvSpPr>
          <p:nvPr>
            <p:custDataLst>
              <p:tags r:id="rId7"/>
            </p:custDataLst>
          </p:nvPr>
        </p:nvSpPr>
        <p:spPr bwMode="auto">
          <a:xfrm>
            <a:off x="4729162" y="2492375"/>
            <a:ext cx="914400" cy="301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r>
              <a:rPr lang="nl-NL" altLang="en-US" sz="1100" dirty="0">
                <a:solidFill>
                  <a:schemeClr val="tx1"/>
                </a:solidFill>
              </a:rPr>
              <a:t>In/uit het </a:t>
            </a:r>
            <a:br>
              <a:rPr lang="nl-NL" altLang="en-US" sz="1100" dirty="0">
                <a:solidFill>
                  <a:schemeClr val="tx1"/>
                </a:solidFill>
              </a:rPr>
            </a:br>
            <a:r>
              <a:rPr lang="nl-NL" altLang="en-US" sz="1100" dirty="0">
                <a:solidFill>
                  <a:schemeClr val="tx1"/>
                </a:solidFill>
              </a:rPr>
              <a:t>voertuig komen</a:t>
            </a:r>
            <a:endParaRPr lang="nl-NL" sz="1100" noProof="0" dirty="0">
              <a:solidFill>
                <a:schemeClr val="tx1"/>
              </a:solidFill>
              <a:latin typeface="+mn-lt"/>
            </a:endParaRPr>
          </a:p>
        </p:txBody>
      </p:sp>
      <p:sp>
        <p:nvSpPr>
          <p:cNvPr id="25" name="Content 1">
            <a:extLst>
              <a:ext uri="{FF2B5EF4-FFF2-40B4-BE49-F238E27FC236}">
                <a16:creationId xmlns:a16="http://schemas.microsoft.com/office/drawing/2014/main" id="{4B9982FA-94CE-476E-98B9-AED20350F85D}"/>
              </a:ext>
            </a:extLst>
          </p:cNvPr>
          <p:cNvSpPr>
            <a:spLocks noGrp="1"/>
          </p:cNvSpPr>
          <p:nvPr>
            <p:custDataLst>
              <p:tags r:id="rId8"/>
            </p:custDataLst>
          </p:nvPr>
        </p:nvSpPr>
        <p:spPr bwMode="auto">
          <a:xfrm>
            <a:off x="4941888" y="2940050"/>
            <a:ext cx="701675" cy="301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r>
              <a:rPr lang="nl-NL" altLang="en-US" sz="1100" dirty="0">
                <a:solidFill>
                  <a:schemeClr val="tx1"/>
                </a:solidFill>
              </a:rPr>
              <a:t>Ritplanning/</a:t>
            </a:r>
            <a:br>
              <a:rPr lang="nl-NL" altLang="en-US" sz="1100" dirty="0">
                <a:solidFill>
                  <a:schemeClr val="tx1"/>
                </a:solidFill>
              </a:rPr>
            </a:br>
            <a:r>
              <a:rPr lang="nl-NL" altLang="en-US" sz="1100" dirty="0">
                <a:solidFill>
                  <a:schemeClr val="tx1"/>
                </a:solidFill>
              </a:rPr>
              <a:t>-boeking</a:t>
            </a:r>
            <a:endParaRPr lang="nl-NL" sz="1100" noProof="0" dirty="0">
              <a:solidFill>
                <a:schemeClr val="tx1"/>
              </a:solidFill>
              <a:latin typeface="+mn-lt"/>
            </a:endParaRPr>
          </a:p>
        </p:txBody>
      </p:sp>
      <p:sp>
        <p:nvSpPr>
          <p:cNvPr id="101" name="Content 1">
            <a:extLst>
              <a:ext uri="{FF2B5EF4-FFF2-40B4-BE49-F238E27FC236}">
                <a16:creationId xmlns:a16="http://schemas.microsoft.com/office/drawing/2014/main" id="{4B9982FA-94CE-476E-98B9-AED20350F85D}"/>
              </a:ext>
            </a:extLst>
          </p:cNvPr>
          <p:cNvSpPr>
            <a:spLocks noGrp="1"/>
          </p:cNvSpPr>
          <p:nvPr>
            <p:custDataLst>
              <p:tags r:id="rId9"/>
            </p:custDataLst>
          </p:nvPr>
        </p:nvSpPr>
        <p:spPr bwMode="gray">
          <a:xfrm>
            <a:off x="6637338" y="3016250"/>
            <a:ext cx="360363"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r>
              <a:rPr lang="nl-NL" altLang="en-US" sz="1100" dirty="0">
                <a:solidFill>
                  <a:schemeClr val="tx1"/>
                </a:solidFill>
                <a:latin typeface="+mn-lt"/>
              </a:rPr>
              <a:t>~</a:t>
            </a:r>
            <a:r>
              <a:rPr lang="nl-NL" altLang="en-US" sz="1100" dirty="0">
                <a:solidFill>
                  <a:schemeClr val="tx1"/>
                </a:solidFill>
                <a:effectLst/>
                <a:latin typeface="+mn-lt"/>
              </a:rPr>
              <a:t>30%</a:t>
            </a:r>
            <a:endParaRPr lang="nl-NL" sz="1100" noProof="0" dirty="0">
              <a:solidFill>
                <a:schemeClr val="tx1"/>
              </a:solidFill>
              <a:latin typeface="+mn-lt"/>
            </a:endParaRPr>
          </a:p>
        </p:txBody>
      </p:sp>
      <p:sp>
        <p:nvSpPr>
          <p:cNvPr id="95" name="Content 1">
            <a:extLst>
              <a:ext uri="{FF2B5EF4-FFF2-40B4-BE49-F238E27FC236}">
                <a16:creationId xmlns:a16="http://schemas.microsoft.com/office/drawing/2014/main" id="{4B9982FA-94CE-476E-98B9-AED20350F85D}"/>
              </a:ext>
            </a:extLst>
          </p:cNvPr>
          <p:cNvSpPr>
            <a:spLocks noGrp="1"/>
          </p:cNvSpPr>
          <p:nvPr>
            <p:custDataLst>
              <p:tags r:id="rId10"/>
            </p:custDataLst>
          </p:nvPr>
        </p:nvSpPr>
        <p:spPr bwMode="gray">
          <a:xfrm>
            <a:off x="7513637" y="2568575"/>
            <a:ext cx="369888"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r>
              <a:rPr lang="nl-NL" altLang="en-US" sz="1100" dirty="0">
                <a:solidFill>
                  <a:schemeClr val="tx1"/>
                </a:solidFill>
                <a:effectLst/>
                <a:latin typeface="+mn-lt"/>
              </a:rPr>
              <a:t>~60%</a:t>
            </a:r>
            <a:endParaRPr lang="nl-NL" sz="1100" noProof="0" dirty="0">
              <a:solidFill>
                <a:schemeClr val="tx1"/>
              </a:solidFill>
              <a:latin typeface="+mn-lt"/>
            </a:endParaRPr>
          </a:p>
        </p:txBody>
      </p:sp>
      <p:sp>
        <p:nvSpPr>
          <p:cNvPr id="54" name="Content 1">
            <a:extLst>
              <a:ext uri="{FF2B5EF4-FFF2-40B4-BE49-F238E27FC236}">
                <a16:creationId xmlns:a16="http://schemas.microsoft.com/office/drawing/2014/main" id="{99623DDE-7CCB-4073-9479-C9AB1B3B32F0}"/>
              </a:ext>
            </a:extLst>
          </p:cNvPr>
          <p:cNvSpPr>
            <a:spLocks noGrp="1"/>
          </p:cNvSpPr>
          <p:nvPr>
            <p:custDataLst>
              <p:tags r:id="rId11"/>
            </p:custDataLst>
          </p:nvPr>
        </p:nvSpPr>
        <p:spPr bwMode="auto">
          <a:xfrm>
            <a:off x="4937125" y="3389313"/>
            <a:ext cx="706438" cy="301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r>
              <a:rPr lang="nl-NL" altLang="en-US" sz="1100" dirty="0">
                <a:solidFill>
                  <a:schemeClr val="tx1"/>
                </a:solidFill>
              </a:rPr>
              <a:t>Reizen in</a:t>
            </a:r>
            <a:br>
              <a:rPr lang="nl-NL" altLang="en-US" sz="1100" dirty="0">
                <a:solidFill>
                  <a:schemeClr val="tx1"/>
                </a:solidFill>
              </a:rPr>
            </a:br>
            <a:r>
              <a:rPr lang="nl-NL" altLang="en-US" sz="1100" dirty="0">
                <a:solidFill>
                  <a:schemeClr val="tx1"/>
                </a:solidFill>
              </a:rPr>
              <a:t>het voertuig</a:t>
            </a:r>
            <a:endParaRPr lang="nl-NL" sz="1100" noProof="0" dirty="0">
              <a:solidFill>
                <a:schemeClr val="tx1"/>
              </a:solidFill>
              <a:latin typeface="+mn-lt"/>
            </a:endParaRPr>
          </a:p>
        </p:txBody>
      </p:sp>
      <p:sp>
        <p:nvSpPr>
          <p:cNvPr id="61" name="Rectangle 60" hidden="1">
            <a:extLst>
              <a:ext uri="{FF2B5EF4-FFF2-40B4-BE49-F238E27FC236}">
                <a16:creationId xmlns:a16="http://schemas.microsoft.com/office/drawing/2014/main" id="{550359FE-AF5E-4F93-8DFA-BF9874F07EB3}"/>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en-GB" sz="2800" b="1" strike="noStrike" kern="1200" spc="0" normalizeH="0" noProof="0" dirty="0">
              <a:ln>
                <a:noFill/>
              </a:ln>
              <a:effectLst/>
              <a:uLnTx/>
              <a:uFillTx/>
              <a:ea typeface="+mj-ea"/>
              <a:cs typeface="+mj-cs"/>
            </a:endParaRPr>
          </a:p>
        </p:txBody>
      </p:sp>
      <p:graphicFrame>
        <p:nvGraphicFramePr>
          <p:cNvPr id="110" name="Chart 109">
            <a:extLst>
              <a:ext uri="{FF2B5EF4-FFF2-40B4-BE49-F238E27FC236}">
                <a16:creationId xmlns:a16="http://schemas.microsoft.com/office/drawing/2014/main" id="{D5D72720-BB6C-490F-BE59-A97202268DD6}"/>
              </a:ext>
            </a:extLst>
          </p:cNvPr>
          <p:cNvGraphicFramePr/>
          <p:nvPr>
            <p:custDataLst>
              <p:tags r:id="rId12"/>
            </p:custDataLst>
            <p:extLst>
              <p:ext uri="{D42A27DB-BD31-4B8C-83A1-F6EECF244321}">
                <p14:modId xmlns:p14="http://schemas.microsoft.com/office/powerpoint/2010/main" val="1137870093"/>
              </p:ext>
            </p:extLst>
          </p:nvPr>
        </p:nvGraphicFramePr>
        <p:xfrm>
          <a:off x="5653088" y="4445000"/>
          <a:ext cx="2347912" cy="1946275"/>
        </p:xfrm>
        <a:graphic>
          <a:graphicData uri="http://schemas.openxmlformats.org/drawingml/2006/chart">
            <c:chart xmlns:c="http://schemas.openxmlformats.org/drawingml/2006/chart" xmlns:r="http://schemas.openxmlformats.org/officeDocument/2006/relationships" r:id="rId22"/>
          </a:graphicData>
        </a:graphic>
      </p:graphicFrame>
      <p:sp>
        <p:nvSpPr>
          <p:cNvPr id="46" name="Content 1">
            <a:extLst>
              <a:ext uri="{FF2B5EF4-FFF2-40B4-BE49-F238E27FC236}">
                <a16:creationId xmlns:a16="http://schemas.microsoft.com/office/drawing/2014/main" id="{3ABC2982-1FEF-4C24-BB94-8CCFD0C9E6DC}"/>
              </a:ext>
            </a:extLst>
          </p:cNvPr>
          <p:cNvSpPr>
            <a:spLocks noGrp="1"/>
          </p:cNvSpPr>
          <p:nvPr>
            <p:custDataLst>
              <p:tags r:id="rId13"/>
            </p:custDataLst>
          </p:nvPr>
        </p:nvSpPr>
        <p:spPr bwMode="auto">
          <a:xfrm>
            <a:off x="4276724" y="4598988"/>
            <a:ext cx="1366838" cy="301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r>
              <a:rPr lang="nl-NL" sz="1100" noProof="0" dirty="0">
                <a:solidFill>
                  <a:schemeClr val="tx1"/>
                </a:solidFill>
                <a:latin typeface="+mn-lt"/>
              </a:rPr>
              <a:t>Minder geschikt </a:t>
            </a:r>
            <a:br>
              <a:rPr lang="nl-NL" sz="1100" noProof="0" dirty="0">
                <a:solidFill>
                  <a:schemeClr val="tx1"/>
                </a:solidFill>
                <a:latin typeface="+mn-lt"/>
              </a:rPr>
            </a:br>
            <a:r>
              <a:rPr lang="nl-NL" sz="1100" dirty="0">
                <a:solidFill>
                  <a:schemeClr val="tx1"/>
                </a:solidFill>
                <a:latin typeface="+mn-lt"/>
              </a:rPr>
              <a:t>gelet op mijn beperking</a:t>
            </a:r>
            <a:endParaRPr lang="nl-NL" sz="1100" noProof="0" dirty="0">
              <a:solidFill>
                <a:schemeClr val="tx1"/>
              </a:solidFill>
              <a:latin typeface="+mn-lt"/>
            </a:endParaRPr>
          </a:p>
        </p:txBody>
      </p:sp>
      <p:sp>
        <p:nvSpPr>
          <p:cNvPr id="47" name="Content 1">
            <a:extLst>
              <a:ext uri="{FF2B5EF4-FFF2-40B4-BE49-F238E27FC236}">
                <a16:creationId xmlns:a16="http://schemas.microsoft.com/office/drawing/2014/main" id="{51C12028-89A9-4608-8D78-D8E34843F621}"/>
              </a:ext>
            </a:extLst>
          </p:cNvPr>
          <p:cNvSpPr>
            <a:spLocks noGrp="1"/>
          </p:cNvSpPr>
          <p:nvPr>
            <p:custDataLst>
              <p:tags r:id="rId14"/>
            </p:custDataLst>
          </p:nvPr>
        </p:nvSpPr>
        <p:spPr bwMode="auto">
          <a:xfrm>
            <a:off x="4749800" y="5045075"/>
            <a:ext cx="893763" cy="301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r>
              <a:rPr lang="nl-NL" altLang="en-US" sz="1100" dirty="0">
                <a:solidFill>
                  <a:schemeClr val="tx1"/>
                </a:solidFill>
              </a:rPr>
              <a:t>Niet bruikbaar/ </a:t>
            </a:r>
            <a:br>
              <a:rPr lang="nl-NL" altLang="en-US" sz="1100" dirty="0">
                <a:solidFill>
                  <a:schemeClr val="tx1"/>
                </a:solidFill>
              </a:rPr>
            </a:br>
            <a:r>
              <a:rPr lang="nl-NL" altLang="en-US" sz="1100" dirty="0">
                <a:solidFill>
                  <a:schemeClr val="tx1"/>
                </a:solidFill>
              </a:rPr>
              <a:t>toegankelijk</a:t>
            </a:r>
            <a:endParaRPr lang="nl-NL" sz="1100" noProof="0" dirty="0">
              <a:solidFill>
                <a:schemeClr val="tx1"/>
              </a:solidFill>
              <a:latin typeface="+mn-lt"/>
            </a:endParaRPr>
          </a:p>
        </p:txBody>
      </p:sp>
      <p:sp>
        <p:nvSpPr>
          <p:cNvPr id="49" name="Content 1">
            <a:extLst>
              <a:ext uri="{FF2B5EF4-FFF2-40B4-BE49-F238E27FC236}">
                <a16:creationId xmlns:a16="http://schemas.microsoft.com/office/drawing/2014/main" id="{0B335B0B-645C-4DB5-B7C8-F8A7C0C71BD9}"/>
              </a:ext>
            </a:extLst>
          </p:cNvPr>
          <p:cNvSpPr>
            <a:spLocks noGrp="1"/>
          </p:cNvSpPr>
          <p:nvPr>
            <p:custDataLst>
              <p:tags r:id="rId15"/>
            </p:custDataLst>
          </p:nvPr>
        </p:nvSpPr>
        <p:spPr bwMode="auto">
          <a:xfrm>
            <a:off x="4183062" y="5489575"/>
            <a:ext cx="1460500" cy="301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r>
              <a:rPr lang="nl-NL" altLang="en-US" sz="1100" dirty="0">
                <a:solidFill>
                  <a:schemeClr val="tx1"/>
                </a:solidFill>
              </a:rPr>
              <a:t>Geen geschikt OV op tijd </a:t>
            </a:r>
            <a:br>
              <a:rPr lang="nl-NL" altLang="en-US" sz="1100" dirty="0">
                <a:solidFill>
                  <a:schemeClr val="tx1"/>
                </a:solidFill>
              </a:rPr>
            </a:br>
            <a:r>
              <a:rPr lang="nl-NL" altLang="en-US" sz="1100" dirty="0">
                <a:solidFill>
                  <a:schemeClr val="tx1"/>
                </a:solidFill>
              </a:rPr>
              <a:t>en plaats wanneer nodig</a:t>
            </a:r>
            <a:endParaRPr lang="nl-NL" sz="1100" noProof="0" dirty="0">
              <a:solidFill>
                <a:schemeClr val="tx1"/>
              </a:solidFill>
              <a:latin typeface="+mn-lt"/>
            </a:endParaRPr>
          </a:p>
        </p:txBody>
      </p:sp>
      <p:sp>
        <p:nvSpPr>
          <p:cNvPr id="45" name="Content 1">
            <a:extLst>
              <a:ext uri="{FF2B5EF4-FFF2-40B4-BE49-F238E27FC236}">
                <a16:creationId xmlns:a16="http://schemas.microsoft.com/office/drawing/2014/main" id="{A44EAA5F-A470-4EA6-8450-EA3F00285830}"/>
              </a:ext>
            </a:extLst>
          </p:cNvPr>
          <p:cNvSpPr>
            <a:spLocks noGrp="1"/>
          </p:cNvSpPr>
          <p:nvPr>
            <p:custDataLst>
              <p:tags r:id="rId16"/>
            </p:custDataLst>
          </p:nvPr>
        </p:nvSpPr>
        <p:spPr bwMode="auto">
          <a:xfrm>
            <a:off x="4972050" y="6011863"/>
            <a:ext cx="671513"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r>
              <a:rPr lang="nl-NL" altLang="en-US" sz="1100" dirty="0">
                <a:solidFill>
                  <a:schemeClr val="tx1"/>
                </a:solidFill>
              </a:rPr>
              <a:t>Niet prettig</a:t>
            </a:r>
            <a:endParaRPr lang="nl-NL" sz="1100" noProof="0" dirty="0">
              <a:solidFill>
                <a:schemeClr val="tx1"/>
              </a:solidFill>
              <a:latin typeface="+mn-lt"/>
            </a:endParaRPr>
          </a:p>
        </p:txBody>
      </p:sp>
      <p:sp>
        <p:nvSpPr>
          <p:cNvPr id="60" name="Footer Placeholder 4">
            <a:extLst>
              <a:ext uri="{FF2B5EF4-FFF2-40B4-BE49-F238E27FC236}">
                <a16:creationId xmlns:a16="http://schemas.microsoft.com/office/drawing/2014/main" id="{35F6201B-6EF5-4841-A9F2-C571D1EBBFB9}"/>
              </a:ext>
            </a:extLst>
          </p:cNvPr>
          <p:cNvSpPr txBox="1">
            <a:spLocks/>
          </p:cNvSpPr>
          <p:nvPr/>
        </p:nvSpPr>
        <p:spPr>
          <a:xfrm>
            <a:off x="661800" y="6703017"/>
            <a:ext cx="10868400" cy="122400"/>
          </a:xfrm>
          <a:prstGeom prst="rect">
            <a:avLst/>
          </a:prstGeom>
        </p:spPr>
        <p:txBody>
          <a:bodyPr vert="horz" lIns="36000" tIns="0" rIns="36000" bIns="0" rtlCol="0" anchor="b"/>
          <a:lstStyle>
            <a:defPPr>
              <a:defRPr lang="nl-NL"/>
            </a:defPPr>
            <a:lvl1pPr marL="0" indent="0" algn="l" defTabSz="685800" rtl="0" eaLnBrk="1" latinLnBrk="0" hangingPunct="1">
              <a:lnSpc>
                <a:spcPct val="90000"/>
              </a:lnSpc>
              <a:spcBef>
                <a:spcPts val="375"/>
              </a:spcBef>
              <a:buClr>
                <a:schemeClr val="dk2"/>
              </a:buClr>
              <a:buFont typeface="Wingdings" panose="05000000000000000000" pitchFamily="2" charset="2"/>
              <a:buNone/>
              <a:defRPr sz="800" kern="1200">
                <a:solidFill>
                  <a:srgbClr val="000000"/>
                </a:solidFill>
                <a:latin typeface="+mn-lt"/>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Bron: KiM en MinIenW, ‘De reizigers in het sociaal-recreatieve doelgroepenvervoer in Nederland’ (juli 2019); MinIenW, Min VWS, ‘Iedereen onderweg’ (maart 2019); Nivel, ‘Participatiemonitor 2008-2016: Deelname aan de samenleving van mensen met een beperking en ouderen’ (2018); Mobycon (i.o.v. Gem. Amsterdam), ‘Tevredenheidsonderzoek aanvullend Openbaar Vervoer: Kwartaalrapp. 2018-3, Deur tot Deur plus en Kamer tot kamer (26 nov. 2018) &amp; Kwaraalrapp. 2018-3 Beschermd vervoer en Deur tot Deur samenreizend (28 nov. 2018)</a:t>
            </a:r>
          </a:p>
        </p:txBody>
      </p:sp>
      <p:sp>
        <p:nvSpPr>
          <p:cNvPr id="43" name="Text Placeholder 7">
            <a:extLst>
              <a:ext uri="{FF2B5EF4-FFF2-40B4-BE49-F238E27FC236}">
                <a16:creationId xmlns:a16="http://schemas.microsoft.com/office/drawing/2014/main" id="{2149CD1C-ACF8-4E70-B0AF-2BBE36782AFA}"/>
              </a:ext>
            </a:extLst>
          </p:cNvPr>
          <p:cNvSpPr txBox="1">
            <a:spLocks/>
          </p:cNvSpPr>
          <p:nvPr/>
        </p:nvSpPr>
        <p:spPr>
          <a:xfrm>
            <a:off x="662780" y="63392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1   Andere redenen die ook genoemd worden zijn: ‘geen behoefte’ (8%), ‘te duur’ (8%), ‘niet veilig’ (8%), ‘niet snel genoeg’ (2%), </a:t>
            </a:r>
          </a:p>
        </p:txBody>
      </p:sp>
      <p:sp>
        <p:nvSpPr>
          <p:cNvPr id="15" name="Rectangle 14" hidden="1">
            <a:extLst>
              <a:ext uri="{FF2B5EF4-FFF2-40B4-BE49-F238E27FC236}">
                <a16:creationId xmlns:a16="http://schemas.microsoft.com/office/drawing/2014/main" id="{57881205-0D0F-419C-B95E-6FE582EA744C}"/>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100" strike="noStrike" kern="1200" spc="0" normalizeH="0" noProof="0" dirty="0">
              <a:ln>
                <a:noFill/>
              </a:ln>
              <a:effectLst/>
              <a:uLnTx/>
              <a:uFillTx/>
              <a:latin typeface="+mn-lt"/>
            </a:endParaRPr>
          </a:p>
        </p:txBody>
      </p:sp>
    </p:spTree>
    <p:extLst>
      <p:ext uri="{BB962C8B-B14F-4D97-AF65-F5344CB8AC3E}">
        <p14:creationId xmlns:p14="http://schemas.microsoft.com/office/powerpoint/2010/main" val="4466244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53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BC63AEE-98EF-43FD-984B-87FDC73E703A}"/>
              </a:ext>
            </a:extLst>
          </p:cNvPr>
          <p:cNvGraphicFramePr>
            <a:graphicFrameLocks noChangeAspect="1"/>
          </p:cNvGraphicFramePr>
          <p:nvPr>
            <p:custDataLst>
              <p:tags r:id="rId2"/>
            </p:custDataLst>
            <p:extLst>
              <p:ext uri="{D42A27DB-BD31-4B8C-83A1-F6EECF244321}">
                <p14:modId xmlns:p14="http://schemas.microsoft.com/office/powerpoint/2010/main" val="3683115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0" name="think-cell Slide" r:id="rId15" imgW="425" imgH="424" progId="TCLayout.ActiveDocument.1">
                  <p:embed/>
                </p:oleObj>
              </mc:Choice>
              <mc:Fallback>
                <p:oleObj name="think-cell Slide" r:id="rId15" imgW="425" imgH="424" progId="TCLayout.ActiveDocument.1">
                  <p:embed/>
                  <p:pic>
                    <p:nvPicPr>
                      <p:cNvPr id="3" name="Object 2" hidden="1">
                        <a:extLst>
                          <a:ext uri="{FF2B5EF4-FFF2-40B4-BE49-F238E27FC236}">
                            <a16:creationId xmlns:a16="http://schemas.microsoft.com/office/drawing/2014/main" id="{ABC63AEE-98EF-43FD-984B-87FDC73E703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0F4FD9-B2E1-4E38-AA42-AB6E43964CB6}"/>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a:lnSpc>
                <a:spcPct val="90000"/>
              </a:lnSpc>
              <a:spcBef>
                <a:spcPts val="750"/>
              </a:spcBef>
              <a:buClr>
                <a:srgbClr val="FF0000"/>
              </a:buClr>
            </a:pPr>
            <a:endParaRPr kumimoji="0" lang="nl-NL" sz="1400" b="1" u="none" strike="noStrike" kern="1200" cap="none" spc="0" normalizeH="0" noProof="0" dirty="0">
              <a:ln>
                <a:noFill/>
              </a:ln>
              <a:solidFill>
                <a:srgbClr val="000000"/>
              </a:solidFill>
              <a:effectLst/>
              <a:uLnTx/>
              <a:uFillTx/>
              <a:latin typeface="Corbel" panose="020B0503020204020204" pitchFamily="34" charset="0"/>
              <a:sym typeface="+mn-lt"/>
            </a:endParaRPr>
          </a:p>
        </p:txBody>
      </p:sp>
      <p:sp>
        <p:nvSpPr>
          <p:cNvPr id="26" name="Google Shape;519;p5"/>
          <p:cNvSpPr txBox="1"/>
          <p:nvPr/>
        </p:nvSpPr>
        <p:spPr>
          <a:xfrm>
            <a:off x="650470" y="381775"/>
            <a:ext cx="10891060" cy="793881"/>
          </a:xfrm>
          <a:prstGeom prst="rect">
            <a:avLst/>
          </a:prstGeom>
        </p:spPr>
        <p:txBody>
          <a:bodyPr vert="horz" lIns="0" tIns="0" rIns="0" bIns="0" rtlCol="0" anchor="b">
            <a:noAutofit/>
          </a:bodyPr>
          <a:lstStyle>
            <a:lvl1pPr>
              <a:spcBef>
                <a:spcPct val="0"/>
              </a:spcBef>
              <a:buNone/>
              <a:defRPr lang="nl-NL" sz="2800" b="1" noProof="0">
                <a:solidFill>
                  <a:schemeClr val="tx2"/>
                </a:solidFill>
                <a:ea typeface="+mj-ea"/>
                <a:cs typeface="+mj-cs"/>
              </a:defRPr>
            </a:lvl1pPr>
          </a:lstStyle>
          <a:p>
            <a:pPr marL="0" indent="0"/>
            <a:r>
              <a:rPr lang="nl-NL" dirty="0">
                <a:sym typeface="Corbel"/>
              </a:rPr>
              <a:t>Gevolg van deze ontwikkelingen bij gelijkblijvend beleid is een verwachte kostenstijging van 75%</a:t>
            </a:r>
          </a:p>
        </p:txBody>
      </p:sp>
      <p:sp>
        <p:nvSpPr>
          <p:cNvPr id="27" name="Tijdelijke aanduiding voor tekst 9"/>
          <p:cNvSpPr txBox="1">
            <a:spLocks/>
          </p:cNvSpPr>
          <p:nvPr/>
        </p:nvSpPr>
        <p:spPr>
          <a:xfrm>
            <a:off x="662780" y="1203211"/>
            <a:ext cx="10866440" cy="388800"/>
          </a:xfrm>
          <a:prstGeom prst="rect">
            <a:avLst/>
          </a:prstGeom>
        </p:spPr>
        <p:txBody>
          <a:bodyPr vert="horz" lIns="7200" tIns="0" rIns="0" bIns="0" rtlCol="0" anchor="ctr">
            <a:noAutofit/>
          </a:bodyPr>
          <a:lstStyle>
            <a:defPPr marR="0" lvl="0" algn="l" rtl="0">
              <a:lnSpc>
                <a:spcPct val="100000"/>
              </a:lnSpc>
              <a:spcBef>
                <a:spcPts val="0"/>
              </a:spcBef>
              <a:spcAft>
                <a:spcPts val="0"/>
              </a:spcAft>
            </a:defPPr>
            <a:lvl1pPr marL="0" indent="0">
              <a:spcBef>
                <a:spcPts val="0"/>
              </a:spcBef>
              <a:buNone/>
              <a:defRPr b="1"/>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L="900000" indent="-180000" eaLnBrk="1" hangingPunct="1">
              <a:buClr>
                <a:schemeClr val="tx2"/>
              </a:buClr>
              <a:buFont typeface="Corbel" panose="020B0503020204020204" pitchFamily="34" charset="0"/>
              <a:buChar char="-"/>
              <a:defRPr sz="1400"/>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nl-NL" dirty="0">
                <a:sym typeface="Corbel"/>
              </a:rPr>
              <a:t>Prognose jaarlijkse kosten doelgroepenvervoer voor een (middel)grote gemeente</a:t>
            </a:r>
            <a:endParaRPr lang="nl-NL" dirty="0"/>
          </a:p>
        </p:txBody>
      </p:sp>
      <p:sp>
        <p:nvSpPr>
          <p:cNvPr id="327" name="Footer Placeholder 4">
            <a:extLst>
              <a:ext uri="{FF2B5EF4-FFF2-40B4-BE49-F238E27FC236}">
                <a16:creationId xmlns:a16="http://schemas.microsoft.com/office/drawing/2014/main" id="{20E8858B-FF62-4D14-AE94-4AED46C1FD50}"/>
              </a:ext>
            </a:extLst>
          </p:cNvPr>
          <p:cNvSpPr txBox="1">
            <a:spLocks/>
          </p:cNvSpPr>
          <p:nvPr/>
        </p:nvSpPr>
        <p:spPr>
          <a:xfrm>
            <a:off x="658813" y="6357766"/>
            <a:ext cx="10874375" cy="174373"/>
          </a:xfrm>
          <a:prstGeom prst="rect">
            <a:avLst/>
          </a:prstGeom>
        </p:spPr>
        <p:txBody>
          <a:bodyPr/>
          <a:lst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nl-NL" sz="800" dirty="0">
              <a:solidFill>
                <a:srgbClr val="000000"/>
              </a:solidFill>
              <a:latin typeface="Corbel"/>
            </a:endParaRPr>
          </a:p>
        </p:txBody>
      </p:sp>
      <p:sp>
        <p:nvSpPr>
          <p:cNvPr id="5" name="Rectangle 4" hidden="1">
            <a:extLst>
              <a:ext uri="{FF2B5EF4-FFF2-40B4-BE49-F238E27FC236}">
                <a16:creationId xmlns:a16="http://schemas.microsoft.com/office/drawing/2014/main" id="{E3E0DF9C-90BD-4C99-ADD5-E3D61E692F67}"/>
              </a:ext>
            </a:extLst>
          </p:cNvPr>
          <p:cNvSpPr/>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a:lnSpc>
                <a:spcPct val="90000"/>
              </a:lnSpc>
              <a:spcBef>
                <a:spcPts val="750"/>
              </a:spcBef>
              <a:buClr>
                <a:srgbClr val="FF0000"/>
              </a:buClr>
            </a:pPr>
            <a:endParaRPr lang="nl-NL" sz="1400" strike="noStrike" kern="1200" spc="0" normalizeH="0" noProof="0" dirty="0">
              <a:ln>
                <a:noFill/>
              </a:ln>
              <a:solidFill>
                <a:srgbClr val="000000"/>
              </a:solidFill>
              <a:effectLst/>
              <a:uLnTx/>
              <a:uFillTx/>
              <a:sym typeface="+mn-lt"/>
            </a:endParaRPr>
          </a:p>
        </p:txBody>
      </p:sp>
      <p:graphicFrame>
        <p:nvGraphicFramePr>
          <p:cNvPr id="34" name="Chart 33">
            <a:extLst>
              <a:ext uri="{FF2B5EF4-FFF2-40B4-BE49-F238E27FC236}">
                <a16:creationId xmlns:a16="http://schemas.microsoft.com/office/drawing/2014/main" id="{A0255A75-432F-4983-A04F-FCF626025A68}"/>
              </a:ext>
            </a:extLst>
          </p:cNvPr>
          <p:cNvGraphicFramePr/>
          <p:nvPr>
            <p:custDataLst>
              <p:tags r:id="rId4"/>
            </p:custDataLst>
            <p:extLst>
              <p:ext uri="{D42A27DB-BD31-4B8C-83A1-F6EECF244321}">
                <p14:modId xmlns:p14="http://schemas.microsoft.com/office/powerpoint/2010/main" val="2096998344"/>
              </p:ext>
            </p:extLst>
          </p:nvPr>
        </p:nvGraphicFramePr>
        <p:xfrm>
          <a:off x="566738" y="2324100"/>
          <a:ext cx="11045825" cy="3635375"/>
        </p:xfrm>
        <a:graphic>
          <a:graphicData uri="http://schemas.openxmlformats.org/drawingml/2006/chart">
            <c:chart xmlns:c="http://schemas.openxmlformats.org/drawingml/2006/chart" xmlns:r="http://schemas.openxmlformats.org/officeDocument/2006/relationships" r:id="rId17"/>
          </a:graphicData>
        </a:graphic>
      </p:graphicFrame>
      <p:cxnSp>
        <p:nvCxnSpPr>
          <p:cNvPr id="16" name="Straight Connector 15">
            <a:extLst>
              <a:ext uri="{FF2B5EF4-FFF2-40B4-BE49-F238E27FC236}">
                <a16:creationId xmlns:a16="http://schemas.microsoft.com/office/drawing/2014/main" id="{42E95D4C-8CB7-4C13-843F-F460545CE862}"/>
              </a:ext>
            </a:extLst>
          </p:cNvPr>
          <p:cNvCxnSpPr/>
          <p:nvPr>
            <p:custDataLst>
              <p:tags r:id="rId5"/>
            </p:custDataLst>
          </p:nvPr>
        </p:nvCxnSpPr>
        <p:spPr bwMode="auto">
          <a:xfrm>
            <a:off x="2008188" y="2216150"/>
            <a:ext cx="8161338"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AE49F8E5-BFF2-43EC-993A-9C0DF359104F}"/>
              </a:ext>
            </a:extLst>
          </p:cNvPr>
          <p:cNvCxnSpPr/>
          <p:nvPr>
            <p:custDataLst>
              <p:tags r:id="rId6"/>
            </p:custDataLst>
          </p:nvPr>
        </p:nvCxnSpPr>
        <p:spPr bwMode="auto">
          <a:xfrm>
            <a:off x="10169525" y="2216150"/>
            <a:ext cx="0" cy="152400"/>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00D45AEF-C385-4909-8C0B-9D80B907D9A8}"/>
              </a:ext>
            </a:extLst>
          </p:cNvPr>
          <p:cNvCxnSpPr/>
          <p:nvPr>
            <p:custDataLst>
              <p:tags r:id="rId7"/>
            </p:custDataLst>
          </p:nvPr>
        </p:nvCxnSpPr>
        <p:spPr bwMode="auto">
          <a:xfrm flipV="1">
            <a:off x="2008188" y="2216151"/>
            <a:ext cx="0" cy="1624013"/>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57" name="Text Placeholder 5">
            <a:extLst>
              <a:ext uri="{FF2B5EF4-FFF2-40B4-BE49-F238E27FC236}">
                <a16:creationId xmlns:a16="http://schemas.microsoft.com/office/drawing/2014/main" id="{53D397F4-CBE0-45BF-9148-D443BCF5B104}"/>
              </a:ext>
            </a:extLst>
          </p:cNvPr>
          <p:cNvSpPr>
            <a:spLocks noGrp="1"/>
          </p:cNvSpPr>
          <p:nvPr>
            <p:custDataLst>
              <p:tags r:id="rId8"/>
            </p:custDataLst>
          </p:nvPr>
        </p:nvSpPr>
        <p:spPr bwMode="auto">
          <a:xfrm>
            <a:off x="1852613" y="5927725"/>
            <a:ext cx="3127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DEDFE6AA-5E09-454E-A257-98FF77CD616E}" type="datetime'''''''''''''''2''''''''''''''0''''''''1''''''''''''''''9'''''">
              <a:rPr lang="nl-NL" altLang="en-US" sz="1200" smtClean="0">
                <a:solidFill>
                  <a:schemeClr val="tx1"/>
                </a:solidFill>
              </a:rPr>
              <a:pPr algn="ctr">
                <a:spcBef>
                  <a:spcPct val="0"/>
                </a:spcBef>
                <a:spcAft>
                  <a:spcPct val="0"/>
                </a:spcAft>
              </a:pPr>
              <a:t>2019</a:t>
            </a:fld>
            <a:endParaRPr lang="nl-NL" sz="1200" noProof="0" dirty="0">
              <a:solidFill>
                <a:schemeClr val="tx1"/>
              </a:solidFill>
              <a:latin typeface="+mn-lt"/>
            </a:endParaRPr>
          </a:p>
        </p:txBody>
      </p:sp>
      <p:sp>
        <p:nvSpPr>
          <p:cNvPr id="58" name="Text Placeholder 5">
            <a:extLst>
              <a:ext uri="{FF2B5EF4-FFF2-40B4-BE49-F238E27FC236}">
                <a16:creationId xmlns:a16="http://schemas.microsoft.com/office/drawing/2014/main" id="{4FA4E2C0-C28B-48A1-9C39-C7A413B24E0B}"/>
              </a:ext>
            </a:extLst>
          </p:cNvPr>
          <p:cNvSpPr>
            <a:spLocks noGrp="1"/>
          </p:cNvSpPr>
          <p:nvPr>
            <p:custDataLst>
              <p:tags r:id="rId9"/>
            </p:custDataLst>
          </p:nvPr>
        </p:nvSpPr>
        <p:spPr bwMode="auto">
          <a:xfrm>
            <a:off x="4572000" y="5927725"/>
            <a:ext cx="3143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3A0BBC30-BF1B-4821-BD95-4A935CA90477}" type="datetime'2''''''''''''''''''''''''0''20'''''''''''''''''''''''''''">
              <a:rPr lang="nl-NL" altLang="en-US" sz="1200" smtClean="0">
                <a:solidFill>
                  <a:schemeClr val="tx1"/>
                </a:solidFill>
              </a:rPr>
              <a:pPr algn="ctr">
                <a:spcBef>
                  <a:spcPct val="0"/>
                </a:spcBef>
                <a:spcAft>
                  <a:spcPct val="0"/>
                </a:spcAft>
              </a:pPr>
              <a:t>2020</a:t>
            </a:fld>
            <a:endParaRPr lang="nl-NL" sz="1200" noProof="0" dirty="0">
              <a:solidFill>
                <a:schemeClr val="tx1"/>
              </a:solidFill>
              <a:latin typeface="+mn-lt"/>
            </a:endParaRPr>
          </a:p>
        </p:txBody>
      </p:sp>
      <p:sp>
        <p:nvSpPr>
          <p:cNvPr id="238" name="Text Placeholder 5">
            <a:extLst>
              <a:ext uri="{FF2B5EF4-FFF2-40B4-BE49-F238E27FC236}">
                <a16:creationId xmlns:a16="http://schemas.microsoft.com/office/drawing/2014/main" id="{911373A8-54F4-45C5-B74A-3A80BA7A7ECE}"/>
              </a:ext>
            </a:extLst>
          </p:cNvPr>
          <p:cNvSpPr>
            <a:spLocks noGrp="1"/>
          </p:cNvSpPr>
          <p:nvPr>
            <p:custDataLst>
              <p:tags r:id="rId10"/>
            </p:custDataLst>
          </p:nvPr>
        </p:nvSpPr>
        <p:spPr bwMode="auto">
          <a:xfrm>
            <a:off x="7294563" y="5927725"/>
            <a:ext cx="3079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C38BEAE7-C48C-495B-A562-8B13BC39F42E}" type="datetime'''''''''''''''2''0''''''''''''''''''''''''25'''''">
              <a:rPr lang="nl-NL" altLang="en-US" sz="1200" smtClean="0">
                <a:solidFill>
                  <a:schemeClr val="tx1"/>
                </a:solidFill>
              </a:rPr>
              <a:pPr algn="ctr">
                <a:spcBef>
                  <a:spcPct val="0"/>
                </a:spcBef>
                <a:spcAft>
                  <a:spcPct val="0"/>
                </a:spcAft>
              </a:pPr>
              <a:t>2025</a:t>
            </a:fld>
            <a:endParaRPr lang="nl-NL" sz="1200" noProof="0" dirty="0">
              <a:solidFill>
                <a:schemeClr val="tx1"/>
              </a:solidFill>
              <a:latin typeface="+mn-lt"/>
            </a:endParaRPr>
          </a:p>
        </p:txBody>
      </p:sp>
      <p:sp>
        <p:nvSpPr>
          <p:cNvPr id="243" name="Text Placeholder 5">
            <a:extLst>
              <a:ext uri="{FF2B5EF4-FFF2-40B4-BE49-F238E27FC236}">
                <a16:creationId xmlns:a16="http://schemas.microsoft.com/office/drawing/2014/main" id="{E01F3A72-3649-4409-A1DF-5F26F34550A0}"/>
              </a:ext>
            </a:extLst>
          </p:cNvPr>
          <p:cNvSpPr>
            <a:spLocks noGrp="1"/>
          </p:cNvSpPr>
          <p:nvPr>
            <p:custDataLst>
              <p:tags r:id="rId11"/>
            </p:custDataLst>
          </p:nvPr>
        </p:nvSpPr>
        <p:spPr bwMode="auto">
          <a:xfrm>
            <a:off x="10015539" y="5927725"/>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53C6BEDA-5D93-45CE-ACEA-ACE4339F428B}" type="datetime'''''''''''''2''0''''''''3''''''''''''''''''''''''''0'''''">
              <a:rPr lang="nl-NL" altLang="en-US" sz="1200" smtClean="0">
                <a:solidFill>
                  <a:schemeClr val="tx1"/>
                </a:solidFill>
              </a:rPr>
              <a:pPr algn="ctr">
                <a:spcBef>
                  <a:spcPct val="0"/>
                </a:spcBef>
                <a:spcAft>
                  <a:spcPct val="0"/>
                </a:spcAft>
              </a:pPr>
              <a:t>2030</a:t>
            </a:fld>
            <a:endParaRPr lang="nl-NL" sz="1200" noProof="0" dirty="0">
              <a:solidFill>
                <a:schemeClr val="tx1"/>
              </a:solidFill>
              <a:latin typeface="+mn-lt"/>
            </a:endParaRPr>
          </a:p>
        </p:txBody>
      </p:sp>
      <p:sp>
        <p:nvSpPr>
          <p:cNvPr id="68" name="Content 1">
            <a:extLst>
              <a:ext uri="{FF2B5EF4-FFF2-40B4-BE49-F238E27FC236}">
                <a16:creationId xmlns:a16="http://schemas.microsoft.com/office/drawing/2014/main" id="{4B9982FA-94CE-476E-98B9-AED20350F85D}"/>
              </a:ext>
            </a:extLst>
          </p:cNvPr>
          <p:cNvSpPr>
            <a:spLocks noGrp="1"/>
          </p:cNvSpPr>
          <p:nvPr>
            <p:custDataLst>
              <p:tags r:id="rId12"/>
            </p:custDataLst>
          </p:nvPr>
        </p:nvSpPr>
        <p:spPr bwMode="auto">
          <a:xfrm>
            <a:off x="5527675" y="1982788"/>
            <a:ext cx="1120775" cy="468313"/>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sz="1200" b="1" dirty="0">
                <a:solidFill>
                  <a:schemeClr val="tx1"/>
                </a:solidFill>
                <a:effectLst/>
              </a:rPr>
              <a:t>+75%</a:t>
            </a:r>
            <a:br>
              <a:rPr lang="nl-NL" altLang="en-US" sz="1200" b="1">
                <a:solidFill>
                  <a:schemeClr val="tx1"/>
                </a:solidFill>
                <a:effectLst/>
              </a:rPr>
            </a:br>
            <a:r>
              <a:rPr lang="en-NL" altLang="en-US" sz="1200">
                <a:solidFill>
                  <a:schemeClr val="tx1"/>
                </a:solidFill>
                <a:effectLst/>
              </a:rPr>
              <a:t>(</a:t>
            </a:r>
            <a:r>
              <a:rPr lang="nl-NL" altLang="en-US" sz="1200">
                <a:solidFill>
                  <a:schemeClr val="tx1"/>
                </a:solidFill>
                <a:effectLst/>
              </a:rPr>
              <a:t>5% </a:t>
            </a:r>
            <a:r>
              <a:rPr lang="en-NL" altLang="en-US" sz="1200">
                <a:solidFill>
                  <a:schemeClr val="tx1"/>
                </a:solidFill>
              </a:rPr>
              <a:t>per jaar)</a:t>
            </a:r>
            <a:endParaRPr lang="nl-NL" sz="1200" noProof="0" dirty="0">
              <a:solidFill>
                <a:schemeClr val="tx1"/>
              </a:solidFill>
              <a:latin typeface="+mn-lt"/>
            </a:endParaRPr>
          </a:p>
        </p:txBody>
      </p:sp>
      <p:sp>
        <p:nvSpPr>
          <p:cNvPr id="80" name="Text Placeholder 4">
            <a:extLst>
              <a:ext uri="{FF2B5EF4-FFF2-40B4-BE49-F238E27FC236}">
                <a16:creationId xmlns:a16="http://schemas.microsoft.com/office/drawing/2014/main" id="{55D98284-F04D-43B0-A2FE-B50FCDA21580}"/>
              </a:ext>
            </a:extLst>
          </p:cNvPr>
          <p:cNvSpPr txBox="1">
            <a:spLocks/>
          </p:cNvSpPr>
          <p:nvPr/>
        </p:nvSpPr>
        <p:spPr>
          <a:xfrm>
            <a:off x="668644" y="6357646"/>
            <a:ext cx="9799637" cy="163512"/>
          </a:xfrm>
          <a:prstGeom prst="rect">
            <a:avLst/>
          </a:prstGeom>
        </p:spPr>
        <p:txBody>
          <a:bodyPr lIns="36000" tIns="36000" rIns="36000" bIns="36000"/>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defRPr/>
            </a:pPr>
            <a:endParaRPr lang="nl-NL" sz="800" dirty="0">
              <a:solidFill>
                <a:srgbClr val="000000"/>
              </a:solidFill>
              <a:latin typeface="Corbel"/>
            </a:endParaRPr>
          </a:p>
        </p:txBody>
      </p:sp>
      <p:sp>
        <p:nvSpPr>
          <p:cNvPr id="19" name="Speech Bubble: Rectangle 18">
            <a:extLst>
              <a:ext uri="{FF2B5EF4-FFF2-40B4-BE49-F238E27FC236}">
                <a16:creationId xmlns:a16="http://schemas.microsoft.com/office/drawing/2014/main" id="{2D1F48BC-9E3F-4625-84E3-DE57B95BBAF9}"/>
              </a:ext>
            </a:extLst>
          </p:cNvPr>
          <p:cNvSpPr/>
          <p:nvPr/>
        </p:nvSpPr>
        <p:spPr>
          <a:xfrm>
            <a:off x="2130516" y="2335463"/>
            <a:ext cx="2310856" cy="1225553"/>
          </a:xfrm>
          <a:prstGeom prst="wedgeRectCallout">
            <a:avLst>
              <a:gd name="adj1" fmla="val -37740"/>
              <a:gd name="adj2" fmla="val 67376"/>
            </a:avLst>
          </a:prstGeom>
          <a:solidFill>
            <a:schemeClr val="accent6">
              <a:lumMod val="95000"/>
            </a:schemeClr>
          </a:solidFill>
          <a:ln>
            <a:noFill/>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l">
              <a:buClr>
                <a:schemeClr val="tx2"/>
              </a:buClr>
              <a:buNone/>
            </a:pPr>
            <a:r>
              <a:rPr lang="nl-NL" sz="1200" dirty="0"/>
              <a:t>Het grootste deel van de kosten,</a:t>
            </a:r>
            <a:r>
              <a:rPr kumimoji="0" lang="nl-NL" sz="1200" b="0" i="0" u="none" strike="noStrike" kern="1200" cap="none" spc="0" normalizeH="0" baseline="0" noProof="0" dirty="0">
                <a:ln>
                  <a:noFill/>
                </a:ln>
                <a:effectLst/>
                <a:uLnTx/>
                <a:uFillTx/>
                <a:latin typeface="Corbel" panose="020B0503020204020204" pitchFamily="34" charset="0"/>
                <a:ea typeface="+mn-ea"/>
                <a:cs typeface="+mn-cs"/>
              </a:rPr>
              <a:t> typisch </a:t>
            </a:r>
            <a:r>
              <a:rPr kumimoji="0" lang="nl-NL" sz="1200" b="1" i="0" u="none" strike="noStrike" kern="1200" cap="none" spc="0" normalizeH="0" baseline="0" noProof="0" dirty="0">
                <a:ln>
                  <a:noFill/>
                </a:ln>
                <a:effectLst/>
                <a:uLnTx/>
                <a:uFillTx/>
                <a:latin typeface="Corbel" panose="020B0503020204020204" pitchFamily="34" charset="0"/>
                <a:ea typeface="+mn-ea"/>
                <a:cs typeface="+mn-cs"/>
              </a:rPr>
              <a:t>~80%, </a:t>
            </a:r>
            <a:r>
              <a:rPr kumimoji="0" lang="en-NL" sz="1200" b="1" i="0" u="none" strike="noStrike" kern="1200" cap="none" spc="0" normalizeH="0" baseline="0" noProof="0" dirty="0" err="1">
                <a:ln>
                  <a:noFill/>
                </a:ln>
                <a:effectLst/>
                <a:uLnTx/>
                <a:uFillTx/>
                <a:latin typeface="Corbel" panose="020B0503020204020204" pitchFamily="34" charset="0"/>
                <a:ea typeface="+mn-ea"/>
                <a:cs typeface="+mn-cs"/>
              </a:rPr>
              <a:t>wordt</a:t>
            </a:r>
            <a:r>
              <a:rPr kumimoji="0" lang="en-NL" sz="1200" b="1" i="0" u="none" strike="noStrike" kern="1200" cap="none" spc="0" normalizeH="0" baseline="0" noProof="0" dirty="0">
                <a:ln>
                  <a:noFill/>
                </a:ln>
                <a:effectLst/>
                <a:uLnTx/>
                <a:uFillTx/>
                <a:latin typeface="Corbel" panose="020B0503020204020204" pitchFamily="34" charset="0"/>
                <a:ea typeface="+mn-ea"/>
                <a:cs typeface="+mn-cs"/>
              </a:rPr>
              <a:t> </a:t>
            </a:r>
            <a:r>
              <a:rPr kumimoji="0" lang="en-NL" sz="1200" b="1" i="0" u="none" strike="noStrike" kern="1200" cap="none" spc="0" normalizeH="0" baseline="0" noProof="0" dirty="0" err="1">
                <a:ln>
                  <a:noFill/>
                </a:ln>
                <a:effectLst/>
                <a:uLnTx/>
                <a:uFillTx/>
                <a:latin typeface="Corbel" panose="020B0503020204020204" pitchFamily="34" charset="0"/>
                <a:ea typeface="+mn-ea"/>
                <a:cs typeface="+mn-cs"/>
              </a:rPr>
              <a:t>besteed</a:t>
            </a:r>
            <a:r>
              <a:rPr kumimoji="0" lang="en-NL" sz="1200" b="1" i="0" u="none" strike="noStrike" kern="1200" cap="none" spc="0" normalizeH="0" baseline="0" noProof="0" dirty="0">
                <a:ln>
                  <a:noFill/>
                </a:ln>
                <a:effectLst/>
                <a:uLnTx/>
                <a:uFillTx/>
                <a:latin typeface="Corbel" panose="020B0503020204020204" pitchFamily="34" charset="0"/>
                <a:ea typeface="+mn-ea"/>
                <a:cs typeface="+mn-cs"/>
              </a:rPr>
              <a:t> </a:t>
            </a:r>
            <a:r>
              <a:rPr kumimoji="0" lang="en-NL" sz="1200" b="1" i="0" u="none" strike="noStrike" kern="1200" cap="none" spc="0" normalizeH="0" baseline="0" noProof="0" dirty="0" err="1">
                <a:ln>
                  <a:noFill/>
                </a:ln>
                <a:effectLst/>
                <a:uLnTx/>
                <a:uFillTx/>
                <a:latin typeface="Corbel" panose="020B0503020204020204" pitchFamily="34" charset="0"/>
                <a:ea typeface="+mn-ea"/>
                <a:cs typeface="+mn-cs"/>
              </a:rPr>
              <a:t>aan</a:t>
            </a:r>
            <a:r>
              <a:rPr kumimoji="0" lang="nl-NL" sz="1200" b="0" i="0" u="none" strike="noStrike" kern="1200" cap="none" spc="0" normalizeH="0" baseline="0" noProof="0" dirty="0">
                <a:ln>
                  <a:noFill/>
                </a:ln>
                <a:effectLst/>
                <a:uLnTx/>
                <a:uFillTx/>
                <a:latin typeface="Corbel" panose="020B0503020204020204" pitchFamily="34" charset="0"/>
                <a:ea typeface="+mn-ea"/>
                <a:cs typeface="+mn-cs"/>
              </a:rPr>
              <a:t> </a:t>
            </a:r>
            <a:r>
              <a:rPr kumimoji="0" lang="nl-NL" sz="1200" b="1" i="0" u="none" strike="noStrike" kern="1200" cap="none" spc="0" normalizeH="0" baseline="0" noProof="0" dirty="0">
                <a:ln>
                  <a:noFill/>
                </a:ln>
                <a:effectLst/>
                <a:uLnTx/>
                <a:uFillTx/>
                <a:latin typeface="Corbel" panose="020B0503020204020204" pitchFamily="34" charset="0"/>
                <a:ea typeface="+mn-ea"/>
                <a:cs typeface="+mn-cs"/>
              </a:rPr>
              <a:t>collectief Wmo-vervoer</a:t>
            </a:r>
            <a:r>
              <a:rPr kumimoji="0" lang="nl-NL" sz="1200" b="0" i="0" u="none" strike="noStrike" kern="1200" cap="none" spc="0" normalizeH="0" baseline="0" noProof="0" dirty="0">
                <a:ln>
                  <a:noFill/>
                </a:ln>
                <a:effectLst/>
                <a:uLnTx/>
                <a:uFillTx/>
                <a:latin typeface="Corbel" panose="020B0503020204020204" pitchFamily="34" charset="0"/>
                <a:ea typeface="+mn-ea"/>
                <a:cs typeface="+mn-cs"/>
              </a:rPr>
              <a:t>. Deze voorziening is dan ook de voornaamste oorzaak van de kostenstijging</a:t>
            </a:r>
            <a:r>
              <a:rPr kumimoji="0" lang="en-NL" sz="1200" b="0" i="0" u="none" strike="noStrike" kern="1200" cap="none" spc="0" normalizeH="0" baseline="0" noProof="0" dirty="0">
                <a:ln>
                  <a:noFill/>
                </a:ln>
                <a:effectLst/>
                <a:uLnTx/>
                <a:uFillTx/>
                <a:latin typeface="Corbel" panose="020B0503020204020204" pitchFamily="34" charset="0"/>
                <a:ea typeface="+mn-ea"/>
                <a:cs typeface="+mn-cs"/>
              </a:rPr>
              <a:t>, </a:t>
            </a:r>
            <a:r>
              <a:rPr kumimoji="0" lang="en-NL" sz="1200" b="0" i="0" u="none" strike="noStrike" kern="1200" cap="none" spc="0" normalizeH="0" baseline="0" noProof="0" dirty="0" err="1">
                <a:ln>
                  <a:noFill/>
                </a:ln>
                <a:effectLst/>
                <a:uLnTx/>
                <a:uFillTx/>
                <a:latin typeface="Corbel" panose="020B0503020204020204" pitchFamily="34" charset="0"/>
                <a:ea typeface="+mn-ea"/>
                <a:cs typeface="+mn-cs"/>
              </a:rPr>
              <a:t>als</a:t>
            </a:r>
            <a:r>
              <a:rPr kumimoji="0" lang="en-NL" sz="1200" b="0" i="0" u="none" strike="noStrike" kern="1200" cap="none" spc="0" normalizeH="0" baseline="0" noProof="0" dirty="0">
                <a:ln>
                  <a:noFill/>
                </a:ln>
                <a:effectLst/>
                <a:uLnTx/>
                <a:uFillTx/>
                <a:latin typeface="Corbel" panose="020B0503020204020204" pitchFamily="34" charset="0"/>
                <a:ea typeface="+mn-ea"/>
                <a:cs typeface="+mn-cs"/>
              </a:rPr>
              <a:t> </a:t>
            </a:r>
            <a:r>
              <a:rPr kumimoji="0" lang="en-NL" sz="1200" b="0" i="0" u="none" strike="noStrike" kern="1200" cap="none" spc="0" normalizeH="0" baseline="0" noProof="0" dirty="0" err="1">
                <a:ln>
                  <a:noFill/>
                </a:ln>
                <a:effectLst/>
                <a:uLnTx/>
                <a:uFillTx/>
                <a:latin typeface="Corbel" panose="020B0503020204020204" pitchFamily="34" charset="0"/>
                <a:ea typeface="+mn-ea"/>
                <a:cs typeface="+mn-cs"/>
              </a:rPr>
              <a:t>gevolg</a:t>
            </a:r>
            <a:r>
              <a:rPr kumimoji="0" lang="en-NL" sz="1200" b="0" i="0" u="none" strike="noStrike" kern="1200" cap="none" spc="0" normalizeH="0" baseline="0" noProof="0" dirty="0">
                <a:ln>
                  <a:noFill/>
                </a:ln>
                <a:effectLst/>
                <a:uLnTx/>
                <a:uFillTx/>
                <a:latin typeface="Corbel" panose="020B0503020204020204" pitchFamily="34" charset="0"/>
                <a:ea typeface="+mn-ea"/>
                <a:cs typeface="+mn-cs"/>
              </a:rPr>
              <a:t> van </a:t>
            </a:r>
            <a:r>
              <a:rPr kumimoji="0" lang="nl-NL" sz="1200" b="0" i="0" u="none" strike="noStrike" kern="1200" cap="none" spc="0" normalizeH="0" baseline="0" noProof="0" dirty="0">
                <a:ln>
                  <a:noFill/>
                </a:ln>
                <a:effectLst/>
                <a:uLnTx/>
                <a:uFillTx/>
                <a:latin typeface="Corbel" panose="020B0503020204020204" pitchFamily="34" charset="0"/>
                <a:ea typeface="+mn-ea"/>
                <a:cs typeface="+mn-cs"/>
              </a:rPr>
              <a:t>vergrijzing en toegenomen gebruik</a:t>
            </a:r>
          </a:p>
        </p:txBody>
      </p:sp>
      <p:grpSp>
        <p:nvGrpSpPr>
          <p:cNvPr id="112" name="Group 111">
            <a:extLst>
              <a:ext uri="{FF2B5EF4-FFF2-40B4-BE49-F238E27FC236}">
                <a16:creationId xmlns:a16="http://schemas.microsoft.com/office/drawing/2014/main" id="{BF05570C-D4A1-46E0-89C5-FC4867CE97FF}"/>
              </a:ext>
            </a:extLst>
          </p:cNvPr>
          <p:cNvGrpSpPr/>
          <p:nvPr/>
        </p:nvGrpSpPr>
        <p:grpSpPr>
          <a:xfrm>
            <a:off x="9709928" y="1653595"/>
            <a:ext cx="1820272" cy="369332"/>
            <a:chOff x="9721258" y="1196975"/>
            <a:chExt cx="1820272" cy="369332"/>
          </a:xfrm>
        </p:grpSpPr>
        <p:sp>
          <p:nvSpPr>
            <p:cNvPr id="113" name="Rectangle 112">
              <a:extLst>
                <a:ext uri="{FF2B5EF4-FFF2-40B4-BE49-F238E27FC236}">
                  <a16:creationId xmlns:a16="http://schemas.microsoft.com/office/drawing/2014/main" id="{A14F68C6-35F9-457D-9764-1C4B9731EC9F}"/>
                </a:ext>
              </a:extLst>
            </p:cNvPr>
            <p:cNvSpPr/>
            <p:nvPr/>
          </p:nvSpPr>
          <p:spPr>
            <a:xfrm>
              <a:off x="9721258" y="1196975"/>
              <a:ext cx="1820272" cy="360000"/>
            </a:xfrm>
            <a:prstGeom prst="rect">
              <a:avLst/>
            </a:prstGeom>
            <a:solidFill>
              <a:schemeClr val="bg1">
                <a:lumMod val="95000"/>
              </a:schemeClr>
            </a:solidFill>
            <a:ln>
              <a:solidFill>
                <a:schemeClr val="bg1">
                  <a:lumMod val="50000"/>
                </a:schemeClr>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endParaRPr kumimoji="0" lang="nl-NL" sz="10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4" name="TextBox 113">
              <a:hlinkClick r:id="rId18" action="ppaction://hlinksldjump"/>
              <a:extLst>
                <a:ext uri="{FF2B5EF4-FFF2-40B4-BE49-F238E27FC236}">
                  <a16:creationId xmlns:a16="http://schemas.microsoft.com/office/drawing/2014/main" id="{29E647FE-3978-4C32-A454-CDEB9C515933}"/>
                </a:ext>
              </a:extLst>
            </p:cNvPr>
            <p:cNvSpPr txBox="1"/>
            <p:nvPr/>
          </p:nvSpPr>
          <p:spPr>
            <a:xfrm>
              <a:off x="9954111" y="1196975"/>
              <a:ext cx="1587419" cy="369332"/>
            </a:xfrm>
            <a:prstGeom prst="rect">
              <a:avLst/>
            </a:prstGeom>
            <a:noFill/>
          </p:spPr>
          <p:txBody>
            <a:bodyPr wrap="square">
              <a:spAutoFit/>
            </a:bodyPr>
            <a:lstStyle/>
            <a:p>
              <a:pPr marL="0" indent="0">
                <a:buClr>
                  <a:schemeClr val="tx2"/>
                </a:buClr>
                <a:buNone/>
              </a:pPr>
              <a:r>
                <a:rPr kumimoji="0" lang="en-NL" sz="1000" i="0" u="none" strike="noStrike" kern="1200" cap="none" spc="0" normalizeH="0" baseline="0" noProof="0" dirty="0" err="1">
                  <a:ln>
                    <a:noFill/>
                  </a:ln>
                  <a:effectLst/>
                  <a:uLnTx/>
                  <a:uFillTx/>
                  <a:latin typeface="Corbel" panose="020B0503020204020204" pitchFamily="34" charset="0"/>
                  <a:ea typeface="+mn-ea"/>
                  <a:cs typeface="+mn-cs"/>
                </a:rPr>
                <a:t>Zie</a:t>
              </a:r>
              <a:r>
                <a:rPr kumimoji="0" lang="en-NL" sz="1000" i="0" u="none" strike="noStrike" kern="1200" cap="none" spc="0" normalizeH="0" baseline="0" noProof="0" dirty="0">
                  <a:ln>
                    <a:noFill/>
                  </a:ln>
                  <a:effectLst/>
                  <a:uLnTx/>
                  <a:uFillTx/>
                  <a:latin typeface="Corbel" panose="020B0503020204020204" pitchFamily="34" charset="0"/>
                  <a:ea typeface="+mn-ea"/>
                  <a:cs typeface="+mn-cs"/>
                </a:rPr>
                <a:t> </a:t>
              </a:r>
              <a:r>
                <a:rPr kumimoji="0" lang="en-NL" sz="1000" i="0" u="none" strike="noStrike" kern="1200" cap="none" spc="0" normalizeH="0" baseline="0" noProof="0" dirty="0" err="1">
                  <a:ln>
                    <a:noFill/>
                  </a:ln>
                  <a:effectLst/>
                  <a:uLnTx/>
                  <a:uFillTx/>
                  <a:latin typeface="Corbel" panose="020B0503020204020204" pitchFamily="34" charset="0"/>
                  <a:ea typeface="+mn-ea"/>
                  <a:cs typeface="+mn-cs"/>
                </a:rPr>
                <a:t>bijlage</a:t>
              </a:r>
              <a:r>
                <a:rPr kumimoji="0" lang="en-NL" sz="1000" i="0" u="none" strike="noStrike" kern="1200" cap="none" spc="0" normalizeH="0" baseline="0" noProof="0" dirty="0">
                  <a:ln>
                    <a:noFill/>
                  </a:ln>
                  <a:effectLst/>
                  <a:uLnTx/>
                  <a:uFillTx/>
                  <a:latin typeface="Corbel" panose="020B0503020204020204" pitchFamily="34" charset="0"/>
                  <a:ea typeface="+mn-ea"/>
                  <a:cs typeface="+mn-cs"/>
                </a:rPr>
                <a:t> v</a:t>
              </a:r>
              <a:r>
                <a:rPr kumimoji="0" lang="nl-NL" sz="1000" i="0" u="none" strike="noStrike" kern="1200" cap="none" spc="0" normalizeH="0" baseline="0" noProof="0" dirty="0">
                  <a:ln>
                    <a:noFill/>
                  </a:ln>
                  <a:effectLst/>
                  <a:uLnTx/>
                  <a:uFillTx/>
                  <a:latin typeface="Corbel" panose="020B0503020204020204" pitchFamily="34" charset="0"/>
                  <a:ea typeface="+mn-ea"/>
                  <a:cs typeface="+mn-cs"/>
                </a:rPr>
                <a:t>oor </a:t>
              </a:r>
              <a:r>
                <a:rPr kumimoji="0" lang="en-NL" sz="1000" i="0" u="none" strike="noStrike" kern="1200" cap="none" spc="0" normalizeH="0" baseline="0" noProof="0" dirty="0" err="1">
                  <a:ln>
                    <a:noFill/>
                  </a:ln>
                  <a:effectLst/>
                  <a:uLnTx/>
                  <a:uFillTx/>
                  <a:latin typeface="Corbel" panose="020B0503020204020204" pitchFamily="34" charset="0"/>
                  <a:ea typeface="+mn-ea"/>
                  <a:cs typeface="+mn-cs"/>
                </a:rPr>
                <a:t>meer</a:t>
              </a:r>
              <a:r>
                <a:rPr kumimoji="0" lang="en-NL" sz="1000" i="0" u="none" strike="noStrike" kern="1200" cap="none" spc="0" normalizeH="0" baseline="0" noProof="0" dirty="0">
                  <a:ln>
                    <a:noFill/>
                  </a:ln>
                  <a:effectLst/>
                  <a:uLnTx/>
                  <a:uFillTx/>
                  <a:latin typeface="Corbel" panose="020B0503020204020204" pitchFamily="34" charset="0"/>
                  <a:ea typeface="+mn-ea"/>
                  <a:cs typeface="+mn-cs"/>
                </a:rPr>
                <a:t> </a:t>
              </a:r>
              <a:r>
                <a:rPr kumimoji="0" lang="nl-NL" sz="1000" i="0" u="none" strike="noStrike" kern="1200" cap="none" spc="0" normalizeH="0" baseline="0" noProof="0" dirty="0">
                  <a:ln>
                    <a:noFill/>
                  </a:ln>
                  <a:effectLst/>
                  <a:uLnTx/>
                  <a:uFillTx/>
                  <a:latin typeface="Corbel" panose="020B0503020204020204" pitchFamily="34" charset="0"/>
                  <a:ea typeface="+mn-ea"/>
                  <a:cs typeface="+mn-cs"/>
                </a:rPr>
                <a:t>detail</a:t>
              </a:r>
              <a:r>
                <a:rPr kumimoji="0" lang="en-NL" sz="1000" i="0" u="none" strike="noStrike" kern="1200" cap="none" spc="0" normalizeH="0" baseline="0" noProof="0" dirty="0">
                  <a:ln>
                    <a:noFill/>
                  </a:ln>
                  <a:effectLst/>
                  <a:uLnTx/>
                  <a:uFillTx/>
                  <a:latin typeface="Corbel" panose="020B0503020204020204" pitchFamily="34" charset="0"/>
                  <a:ea typeface="+mn-ea"/>
                  <a:cs typeface="+mn-cs"/>
                </a:rPr>
                <a:t> van </a:t>
              </a:r>
              <a:r>
                <a:rPr kumimoji="0" lang="en-NL" sz="1000" i="0" u="none" strike="noStrike" kern="1200" cap="none" spc="0" normalizeH="0" baseline="0" noProof="0" dirty="0" err="1">
                  <a:ln>
                    <a:noFill/>
                  </a:ln>
                  <a:effectLst/>
                  <a:uLnTx/>
                  <a:uFillTx/>
                  <a:latin typeface="Corbel" panose="020B0503020204020204" pitchFamily="34" charset="0"/>
                  <a:ea typeface="+mn-ea"/>
                  <a:cs typeface="+mn-cs"/>
                </a:rPr>
                <a:t>kostenopbouw</a:t>
              </a:r>
              <a:endParaRPr kumimoji="0" lang="nl-NL" sz="1000" i="0" u="none" strike="noStrike" kern="1200" cap="none" spc="0" normalizeH="0" baseline="0" noProof="0" dirty="0">
                <a:ln>
                  <a:noFill/>
                </a:ln>
                <a:effectLst/>
                <a:uLnTx/>
                <a:uFillTx/>
                <a:latin typeface="Corbel" panose="020B0503020204020204" pitchFamily="34" charset="0"/>
                <a:ea typeface="+mn-ea"/>
                <a:cs typeface="+mn-cs"/>
              </a:endParaRPr>
            </a:p>
          </p:txBody>
        </p:sp>
        <p:grpSp>
          <p:nvGrpSpPr>
            <p:cNvPr id="116" name="Group 115">
              <a:extLst>
                <a:ext uri="{FF2B5EF4-FFF2-40B4-BE49-F238E27FC236}">
                  <a16:creationId xmlns:a16="http://schemas.microsoft.com/office/drawing/2014/main" id="{3D6C2E9D-5501-493B-8A3E-28A0A41E5AD2}"/>
                </a:ext>
              </a:extLst>
            </p:cNvPr>
            <p:cNvGrpSpPr/>
            <p:nvPr/>
          </p:nvGrpSpPr>
          <p:grpSpPr>
            <a:xfrm rot="397024">
              <a:off x="9734621" y="1254116"/>
              <a:ext cx="238474" cy="245717"/>
              <a:chOff x="8511601" y="5943020"/>
              <a:chExt cx="320191" cy="329916"/>
            </a:xfrm>
          </p:grpSpPr>
          <p:sp>
            <p:nvSpPr>
              <p:cNvPr id="117" name="Oval 116">
                <a:extLst>
                  <a:ext uri="{FF2B5EF4-FFF2-40B4-BE49-F238E27FC236}">
                    <a16:creationId xmlns:a16="http://schemas.microsoft.com/office/drawing/2014/main" id="{B486B74F-AA00-4BD4-96BC-3B60BF0F2E27}"/>
                  </a:ext>
                </a:extLst>
              </p:cNvPr>
              <p:cNvSpPr/>
              <p:nvPr/>
            </p:nvSpPr>
            <p:spPr>
              <a:xfrm>
                <a:off x="8599696" y="5943020"/>
                <a:ext cx="72000" cy="72000"/>
              </a:xfrm>
              <a:prstGeom prst="ellipse">
                <a:avLst/>
              </a:prstGeom>
              <a:solidFill>
                <a:schemeClr val="bg1"/>
              </a:solidFill>
              <a:ln w="6350">
                <a:solidFill>
                  <a:schemeClr val="tx1"/>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119" name="Graphic 118" descr="Right pointing backhand index with solid fill">
                <a:hlinkClick r:id="rId18" action="ppaction://hlinksldjump"/>
                <a:extLst>
                  <a:ext uri="{FF2B5EF4-FFF2-40B4-BE49-F238E27FC236}">
                    <a16:creationId xmlns:a16="http://schemas.microsoft.com/office/drawing/2014/main" id="{0AA341B0-E348-4C93-9FB5-C85B135D04B3}"/>
                  </a:ext>
                </a:extLst>
              </p:cNvPr>
              <p:cNvPicPr>
                <a:picLocks noChangeAspect="1"/>
              </p:cNvPicPr>
              <p:nvPr/>
            </p:nvPicPr>
            <p:blipFill>
              <a:blip r:embed="rId19" cstate="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rot="16200000">
                <a:off x="8511601" y="5952745"/>
                <a:ext cx="320191" cy="320191"/>
              </a:xfrm>
              <a:prstGeom prst="rect">
                <a:avLst/>
              </a:prstGeom>
            </p:spPr>
          </p:pic>
        </p:grpSp>
      </p:grpSp>
      <p:sp>
        <p:nvSpPr>
          <p:cNvPr id="45" name="Rectangle 44">
            <a:extLst>
              <a:ext uri="{FF2B5EF4-FFF2-40B4-BE49-F238E27FC236}">
                <a16:creationId xmlns:a16="http://schemas.microsoft.com/office/drawing/2014/main" id="{94CF35E1-9892-4CFA-AE00-4CF55B317D9C}"/>
              </a:ext>
            </a:extLst>
          </p:cNvPr>
          <p:cNvSpPr/>
          <p:nvPr/>
        </p:nvSpPr>
        <p:spPr>
          <a:xfrm>
            <a:off x="9709928" y="1267037"/>
            <a:ext cx="1820272" cy="252000"/>
          </a:xfrm>
          <a:prstGeom prst="rect">
            <a:avLst/>
          </a:prstGeom>
          <a:solidFill>
            <a:schemeClr val="bg1">
              <a:lumMod val="95000"/>
            </a:schemeClr>
          </a:solidFill>
          <a:ln>
            <a:solidFill>
              <a:schemeClr val="bg1">
                <a:lumMod val="50000"/>
              </a:schemeClr>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b="1" dirty="0"/>
              <a:t>INDICATIEF</a:t>
            </a:r>
            <a:endParaRPr kumimoji="0" lang="nl-NL" sz="10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9" name="Footer Placeholder 8">
            <a:extLst>
              <a:ext uri="{FF2B5EF4-FFF2-40B4-BE49-F238E27FC236}">
                <a16:creationId xmlns:a16="http://schemas.microsoft.com/office/drawing/2014/main" id="{DA60E3F4-F928-4C91-895F-73723AE29341}"/>
              </a:ext>
            </a:extLst>
          </p:cNvPr>
          <p:cNvSpPr txBox="1">
            <a:spLocks/>
          </p:cNvSpPr>
          <p:nvPr/>
        </p:nvSpPr>
        <p:spPr>
          <a:xfrm>
            <a:off x="661800" y="6624637"/>
            <a:ext cx="10868400" cy="122400"/>
          </a:xfrm>
          <a:prstGeom prst="rect">
            <a:avLst/>
          </a:prstGeom>
        </p:spPr>
        <p:txBody>
          <a:bodyPr vert="horz" lIns="36000" tIns="0" rIns="36000" bIns="0" rtlCol="0" anchor="b"/>
          <a:lstStyle>
            <a:defPPr>
              <a:defRPr lang="nl-NL"/>
            </a:defPPr>
            <a:lvl1pPr marL="0" indent="0">
              <a:buNone/>
              <a:defRPr sz="800">
                <a:latin typeface="+mn-lt"/>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Bron</a:t>
            </a:r>
            <a:r>
              <a:rPr lang="nl-NL"/>
              <a:t>: It's Public </a:t>
            </a:r>
            <a:r>
              <a:rPr lang="nl-NL" dirty="0"/>
              <a:t>analyse o.b.v. project bij betreffende gemeente </a:t>
            </a:r>
          </a:p>
        </p:txBody>
      </p:sp>
    </p:spTree>
    <p:extLst>
      <p:ext uri="{BB962C8B-B14F-4D97-AF65-F5344CB8AC3E}">
        <p14:creationId xmlns:p14="http://schemas.microsoft.com/office/powerpoint/2010/main" val="33497909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4E49B02-16D4-43D2-A319-002C21016B2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4"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id="{C4E49B02-16D4-43D2-A319-002C21016B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BAC66A1A-36C1-4911-A303-2702E065688F}"/>
              </a:ext>
            </a:extLst>
          </p:cNvPr>
          <p:cNvSpPr>
            <a:spLocks noGrp="1"/>
          </p:cNvSpPr>
          <p:nvPr>
            <p:ph type="sldNum" sz="quarter" idx="12"/>
          </p:nvPr>
        </p:nvSpPr>
        <p:spPr/>
        <p:txBody>
          <a:bodyPr/>
          <a:lstStyle/>
          <a:p>
            <a:fld id="{992CD0B2-8AB2-4C6C-8876-E15753662C9B}" type="slidenum">
              <a:rPr lang="nl-NL" smtClean="0"/>
              <a:pPr/>
              <a:t>12</a:t>
            </a:fld>
            <a:endParaRPr lang="nl-NL" dirty="0"/>
          </a:p>
        </p:txBody>
      </p:sp>
      <p:sp>
        <p:nvSpPr>
          <p:cNvPr id="16" name="Rectangle 15">
            <a:extLst>
              <a:ext uri="{FF2B5EF4-FFF2-40B4-BE49-F238E27FC236}">
                <a16:creationId xmlns:a16="http://schemas.microsoft.com/office/drawing/2014/main" id="{80845256-E74C-46AE-86B2-20E6C2DA37D7}"/>
              </a:ext>
            </a:extLst>
          </p:cNvPr>
          <p:cNvSpPr/>
          <p:nvPr/>
        </p:nvSpPr>
        <p:spPr>
          <a:xfrm>
            <a:off x="1654343" y="2296023"/>
            <a:ext cx="9841832" cy="576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buClr>
                <a:schemeClr val="tx2"/>
              </a:buClr>
              <a:buNone/>
            </a:pPr>
            <a:r>
              <a:rPr kumimoji="0" lang="nl-NL" sz="1600" i="0" u="none" strike="noStrike" kern="1200" cap="none" spc="0" normalizeH="0" baseline="0" noProof="0" dirty="0">
                <a:ln>
                  <a:noFill/>
                </a:ln>
                <a:effectLst/>
                <a:uLnTx/>
                <a:uFillTx/>
                <a:latin typeface="Corbel" panose="020B0503020204020204" pitchFamily="34" charset="0"/>
                <a:ea typeface="+mn-ea"/>
                <a:cs typeface="+mn-cs"/>
              </a:rPr>
              <a:t>Introductie</a:t>
            </a:r>
            <a:r>
              <a:rPr kumimoji="0" lang="en-NL" sz="1600" i="0" u="none" strike="noStrike" kern="1200" cap="none" spc="0" normalizeH="0" baseline="0" noProof="0" dirty="0">
                <a:ln>
                  <a:noFill/>
                </a:ln>
                <a:effectLst/>
                <a:uLnTx/>
                <a:uFillTx/>
                <a:latin typeface="Corbel" panose="020B0503020204020204" pitchFamily="34" charset="0"/>
                <a:ea typeface="+mn-ea"/>
                <a:cs typeface="+mn-cs"/>
              </a:rPr>
              <a:t> doelgroepenvervoer</a:t>
            </a:r>
            <a:endParaRPr kumimoji="0" lang="nl-NL" sz="16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7" name="Rectangle 16">
            <a:extLst>
              <a:ext uri="{FF2B5EF4-FFF2-40B4-BE49-F238E27FC236}">
                <a16:creationId xmlns:a16="http://schemas.microsoft.com/office/drawing/2014/main" id="{FFBCEC73-0181-4DD1-9107-D9E1E0A9EF66}"/>
              </a:ext>
            </a:extLst>
          </p:cNvPr>
          <p:cNvSpPr/>
          <p:nvPr/>
        </p:nvSpPr>
        <p:spPr>
          <a:xfrm>
            <a:off x="1654343" y="3862485"/>
            <a:ext cx="9841832" cy="576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buClr>
                <a:schemeClr val="tx2"/>
              </a:buClr>
              <a:buNone/>
            </a:pPr>
            <a:r>
              <a:rPr lang="nl-NL" sz="1600" b="1" dirty="0"/>
              <a:t>Strategische opties</a:t>
            </a:r>
          </a:p>
        </p:txBody>
      </p:sp>
      <p:sp>
        <p:nvSpPr>
          <p:cNvPr id="18" name="Rectangle 17">
            <a:extLst>
              <a:ext uri="{FF2B5EF4-FFF2-40B4-BE49-F238E27FC236}">
                <a16:creationId xmlns:a16="http://schemas.microsoft.com/office/drawing/2014/main" id="{6386956A-7E39-4833-895D-30F91F21F488}"/>
              </a:ext>
            </a:extLst>
          </p:cNvPr>
          <p:cNvSpPr/>
          <p:nvPr/>
        </p:nvSpPr>
        <p:spPr>
          <a:xfrm>
            <a:off x="1654343" y="4645716"/>
            <a:ext cx="9841832" cy="576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buClr>
                <a:schemeClr val="tx2"/>
              </a:buClr>
              <a:buNone/>
            </a:pPr>
            <a:r>
              <a:rPr lang="nl-NL" sz="1600" dirty="0"/>
              <a:t>Bijlage</a:t>
            </a:r>
          </a:p>
        </p:txBody>
      </p:sp>
      <p:sp>
        <p:nvSpPr>
          <p:cNvPr id="12" name="Rectangle 11">
            <a:extLst>
              <a:ext uri="{FF2B5EF4-FFF2-40B4-BE49-F238E27FC236}">
                <a16:creationId xmlns:a16="http://schemas.microsoft.com/office/drawing/2014/main" id="{EF7409A6-BCA8-4532-8F91-B7B2D69D46F7}"/>
              </a:ext>
            </a:extLst>
          </p:cNvPr>
          <p:cNvSpPr/>
          <p:nvPr/>
        </p:nvSpPr>
        <p:spPr>
          <a:xfrm>
            <a:off x="1654343" y="3079254"/>
            <a:ext cx="9841832" cy="576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buClr>
                <a:schemeClr val="tx2"/>
              </a:buClr>
              <a:buNone/>
            </a:pPr>
            <a:r>
              <a:rPr lang="nl-NL" sz="1600" dirty="0"/>
              <a:t>Kansen en uitdagingen</a:t>
            </a:r>
          </a:p>
        </p:txBody>
      </p:sp>
      <p:grpSp>
        <p:nvGrpSpPr>
          <p:cNvPr id="11" name="Group 10">
            <a:extLst>
              <a:ext uri="{FF2B5EF4-FFF2-40B4-BE49-F238E27FC236}">
                <a16:creationId xmlns:a16="http://schemas.microsoft.com/office/drawing/2014/main" id="{23D28E50-BBB8-43A9-9951-7E567A9A09C8}"/>
              </a:ext>
            </a:extLst>
          </p:cNvPr>
          <p:cNvGrpSpPr/>
          <p:nvPr/>
        </p:nvGrpSpPr>
        <p:grpSpPr>
          <a:xfrm>
            <a:off x="938712" y="2301769"/>
            <a:ext cx="577516" cy="576000"/>
            <a:chOff x="938712" y="2301769"/>
            <a:chExt cx="577516" cy="576000"/>
          </a:xfrm>
        </p:grpSpPr>
        <p:sp>
          <p:nvSpPr>
            <p:cNvPr id="2" name="Oval 1">
              <a:extLst>
                <a:ext uri="{FF2B5EF4-FFF2-40B4-BE49-F238E27FC236}">
                  <a16:creationId xmlns:a16="http://schemas.microsoft.com/office/drawing/2014/main" id="{EC9DBB83-8623-4953-96FA-FA0B4D2FD1EE}"/>
                </a:ext>
              </a:extLst>
            </p:cNvPr>
            <p:cNvSpPr/>
            <p:nvPr/>
          </p:nvSpPr>
          <p:spPr>
            <a:xfrm>
              <a:off x="938712" y="2301769"/>
              <a:ext cx="577516" cy="576000"/>
            </a:xfrm>
            <a:prstGeom prst="ellipse">
              <a:avLst/>
            </a:prstGeom>
            <a:solidFill>
              <a:srgbClr val="BFBFB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8" name="Graphic 7" descr="Bus with solid fill">
              <a:extLst>
                <a:ext uri="{FF2B5EF4-FFF2-40B4-BE49-F238E27FC236}">
                  <a16:creationId xmlns:a16="http://schemas.microsoft.com/office/drawing/2014/main" id="{F709A052-FCB9-4992-8BD4-F54410ED9210}"/>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40062" y="2402361"/>
              <a:ext cx="374816" cy="374816"/>
            </a:xfrm>
            <a:prstGeom prst="rect">
              <a:avLst/>
            </a:prstGeom>
          </p:spPr>
        </p:pic>
      </p:grpSp>
      <p:grpSp>
        <p:nvGrpSpPr>
          <p:cNvPr id="13" name="Group 12">
            <a:extLst>
              <a:ext uri="{FF2B5EF4-FFF2-40B4-BE49-F238E27FC236}">
                <a16:creationId xmlns:a16="http://schemas.microsoft.com/office/drawing/2014/main" id="{CF0529D6-D80A-468F-848C-8BC0B6902A6B}"/>
              </a:ext>
            </a:extLst>
          </p:cNvPr>
          <p:cNvGrpSpPr/>
          <p:nvPr/>
        </p:nvGrpSpPr>
        <p:grpSpPr>
          <a:xfrm>
            <a:off x="980823" y="3079254"/>
            <a:ext cx="577516" cy="576000"/>
            <a:chOff x="980823" y="3079254"/>
            <a:chExt cx="577516" cy="576000"/>
          </a:xfrm>
        </p:grpSpPr>
        <p:sp>
          <p:nvSpPr>
            <p:cNvPr id="20" name="Oval 19">
              <a:extLst>
                <a:ext uri="{FF2B5EF4-FFF2-40B4-BE49-F238E27FC236}">
                  <a16:creationId xmlns:a16="http://schemas.microsoft.com/office/drawing/2014/main" id="{03D3D8EC-26E4-4565-BC50-93C7805E9528}"/>
                </a:ext>
              </a:extLst>
            </p:cNvPr>
            <p:cNvSpPr/>
            <p:nvPr/>
          </p:nvSpPr>
          <p:spPr>
            <a:xfrm>
              <a:off x="980823" y="3079254"/>
              <a:ext cx="577516" cy="576000"/>
            </a:xfrm>
            <a:prstGeom prst="ellipse">
              <a:avLst/>
            </a:prstGeom>
            <a:solidFill>
              <a:srgbClr val="BFBFB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pSp>
          <p:nvGrpSpPr>
            <p:cNvPr id="22" name="Group 21">
              <a:extLst>
                <a:ext uri="{FF2B5EF4-FFF2-40B4-BE49-F238E27FC236}">
                  <a16:creationId xmlns:a16="http://schemas.microsoft.com/office/drawing/2014/main" id="{3EE74D55-8A57-4421-B291-13492AB1DAE6}"/>
                </a:ext>
              </a:extLst>
            </p:cNvPr>
            <p:cNvGrpSpPr/>
            <p:nvPr/>
          </p:nvGrpSpPr>
          <p:grpSpPr>
            <a:xfrm>
              <a:off x="1082381" y="3180054"/>
              <a:ext cx="374400" cy="374400"/>
              <a:chOff x="1089449" y="2966143"/>
              <a:chExt cx="683474" cy="683474"/>
            </a:xfrm>
          </p:grpSpPr>
          <p:pic>
            <p:nvPicPr>
              <p:cNvPr id="23" name="Graphic 22" descr="Mountains with solid fill">
                <a:extLst>
                  <a:ext uri="{FF2B5EF4-FFF2-40B4-BE49-F238E27FC236}">
                    <a16:creationId xmlns:a16="http://schemas.microsoft.com/office/drawing/2014/main" id="{B1D65A95-FDA0-43BA-97A3-9DA0032749A3}"/>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89449" y="2966143"/>
                <a:ext cx="683474" cy="683474"/>
              </a:xfrm>
              <a:prstGeom prst="rect">
                <a:avLst/>
              </a:prstGeom>
            </p:spPr>
          </p:pic>
          <p:pic>
            <p:nvPicPr>
              <p:cNvPr id="24" name="Graphic 23" descr="Flag with solid fill">
                <a:extLst>
                  <a:ext uri="{FF2B5EF4-FFF2-40B4-BE49-F238E27FC236}">
                    <a16:creationId xmlns:a16="http://schemas.microsoft.com/office/drawing/2014/main" id="{B435A9EF-9F40-4B21-AA90-E26D1A57E3F3}"/>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25322" y="2977223"/>
                <a:ext cx="139535" cy="139535"/>
              </a:xfrm>
              <a:prstGeom prst="rect">
                <a:avLst/>
              </a:prstGeom>
            </p:spPr>
          </p:pic>
        </p:grpSp>
      </p:grpSp>
      <p:grpSp>
        <p:nvGrpSpPr>
          <p:cNvPr id="30" name="Group 29">
            <a:extLst>
              <a:ext uri="{FF2B5EF4-FFF2-40B4-BE49-F238E27FC236}">
                <a16:creationId xmlns:a16="http://schemas.microsoft.com/office/drawing/2014/main" id="{7137459B-9C4A-4AC9-ADCF-DB309E59F04C}"/>
              </a:ext>
            </a:extLst>
          </p:cNvPr>
          <p:cNvGrpSpPr/>
          <p:nvPr/>
        </p:nvGrpSpPr>
        <p:grpSpPr>
          <a:xfrm>
            <a:off x="992855" y="3862485"/>
            <a:ext cx="577516" cy="576000"/>
            <a:chOff x="992855" y="3862485"/>
            <a:chExt cx="577516" cy="576000"/>
          </a:xfrm>
        </p:grpSpPr>
        <p:sp>
          <p:nvSpPr>
            <p:cNvPr id="26" name="Oval 25">
              <a:extLst>
                <a:ext uri="{FF2B5EF4-FFF2-40B4-BE49-F238E27FC236}">
                  <a16:creationId xmlns:a16="http://schemas.microsoft.com/office/drawing/2014/main" id="{0CF6E8BA-F26B-422E-BED9-F996AD386D31}"/>
                </a:ext>
              </a:extLst>
            </p:cNvPr>
            <p:cNvSpPr/>
            <p:nvPr/>
          </p:nvSpPr>
          <p:spPr>
            <a:xfrm>
              <a:off x="992855" y="3862485"/>
              <a:ext cx="577516" cy="576000"/>
            </a:xfrm>
            <a:prstGeom prst="ellipse">
              <a:avLst/>
            </a:prstGeom>
            <a:solidFill>
              <a:srgbClr val="22777B"/>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15" name="Graphic 14" descr="Lights On with solid fill">
              <a:extLst>
                <a:ext uri="{FF2B5EF4-FFF2-40B4-BE49-F238E27FC236}">
                  <a16:creationId xmlns:a16="http://schemas.microsoft.com/office/drawing/2014/main" id="{2791B82B-14B4-4B46-BF93-B5A9FF1876C5}"/>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094413" y="3963285"/>
              <a:ext cx="374400" cy="374400"/>
            </a:xfrm>
            <a:prstGeom prst="rect">
              <a:avLst/>
            </a:prstGeom>
          </p:spPr>
        </p:pic>
      </p:grpSp>
      <p:sp>
        <p:nvSpPr>
          <p:cNvPr id="32" name="Oval 31">
            <a:extLst>
              <a:ext uri="{FF2B5EF4-FFF2-40B4-BE49-F238E27FC236}">
                <a16:creationId xmlns:a16="http://schemas.microsoft.com/office/drawing/2014/main" id="{5118EC7D-2CB9-433D-B59D-4EA6F1051FE4}"/>
              </a:ext>
            </a:extLst>
          </p:cNvPr>
          <p:cNvSpPr/>
          <p:nvPr/>
        </p:nvSpPr>
        <p:spPr>
          <a:xfrm>
            <a:off x="999268" y="4627259"/>
            <a:ext cx="577516" cy="576000"/>
          </a:xfrm>
          <a:prstGeom prst="ellipse">
            <a:avLst/>
          </a:prstGeom>
          <a:solidFill>
            <a:schemeClr val="accent6">
              <a:lumMod val="75000"/>
            </a:schemeClr>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35" name="Graphic 34" descr="Document with solid fill">
            <a:extLst>
              <a:ext uri="{FF2B5EF4-FFF2-40B4-BE49-F238E27FC236}">
                <a16:creationId xmlns:a16="http://schemas.microsoft.com/office/drawing/2014/main" id="{71DE590E-342F-4B77-B21A-E0F25F9EEAFA}"/>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100826" y="4728059"/>
            <a:ext cx="374400" cy="374400"/>
          </a:xfrm>
          <a:prstGeom prst="rect">
            <a:avLst/>
          </a:prstGeom>
        </p:spPr>
      </p:pic>
      <p:sp>
        <p:nvSpPr>
          <p:cNvPr id="34" name="TextBox 33">
            <a:extLst>
              <a:ext uri="{FF2B5EF4-FFF2-40B4-BE49-F238E27FC236}">
                <a16:creationId xmlns:a16="http://schemas.microsoft.com/office/drawing/2014/main" id="{2B8DC76E-390B-4A31-92EE-CB5774C953B7}"/>
              </a:ext>
            </a:extLst>
          </p:cNvPr>
          <p:cNvSpPr txBox="1"/>
          <p:nvPr/>
        </p:nvSpPr>
        <p:spPr>
          <a:xfrm>
            <a:off x="938712" y="1086185"/>
            <a:ext cx="6094602" cy="480131"/>
          </a:xfrm>
          <a:prstGeom prst="rect">
            <a:avLst/>
          </a:prstGeom>
          <a:noFill/>
        </p:spPr>
        <p:txBody>
          <a:bodyPr wrap="square" lIns="19440" rIns="19440">
            <a:spAutoFit/>
          </a:bodyPr>
          <a:lstStyle/>
          <a:p>
            <a:pPr marL="0" indent="0">
              <a:buNone/>
            </a:pPr>
            <a:r>
              <a:rPr lang="nl-NL" sz="2800" b="1" dirty="0">
                <a:solidFill>
                  <a:srgbClr val="000000"/>
                </a:solidFill>
              </a:rPr>
              <a:t>Inhoud</a:t>
            </a:r>
            <a:endParaRPr lang="nl-NL" sz="2800" b="1" dirty="0"/>
          </a:p>
        </p:txBody>
      </p:sp>
    </p:spTree>
    <p:extLst>
      <p:ext uri="{BB962C8B-B14F-4D97-AF65-F5344CB8AC3E}">
        <p14:creationId xmlns:p14="http://schemas.microsoft.com/office/powerpoint/2010/main" val="16491129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82D62A3-DC9A-42B0-B75F-50EF7763164D}"/>
              </a:ext>
            </a:extLst>
          </p:cNvPr>
          <p:cNvGraphicFramePr>
            <a:graphicFrameLocks noChangeAspect="1"/>
          </p:cNvGraphicFramePr>
          <p:nvPr>
            <p:custDataLst>
              <p:tags r:id="rId2"/>
            </p:custDataLst>
            <p:extLst>
              <p:ext uri="{D42A27DB-BD31-4B8C-83A1-F6EECF244321}">
                <p14:modId xmlns:p14="http://schemas.microsoft.com/office/powerpoint/2010/main" val="4276862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8" name="think-cell Slide" r:id="rId5" imgW="425" imgH="424" progId="TCLayout.ActiveDocument.1">
                  <p:embed/>
                </p:oleObj>
              </mc:Choice>
              <mc:Fallback>
                <p:oleObj name="think-cell Slide" r:id="rId5" imgW="425" imgH="424" progId="TCLayout.ActiveDocument.1">
                  <p:embed/>
                  <p:pic>
                    <p:nvPicPr>
                      <p:cNvPr id="8" name="Object 7" hidden="1">
                        <a:extLst>
                          <a:ext uri="{FF2B5EF4-FFF2-40B4-BE49-F238E27FC236}">
                            <a16:creationId xmlns:a16="http://schemas.microsoft.com/office/drawing/2014/main" id="{B82D62A3-DC9A-42B0-B75F-50EF77631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4" name="Rectangle 143">
            <a:extLst>
              <a:ext uri="{FF2B5EF4-FFF2-40B4-BE49-F238E27FC236}">
                <a16:creationId xmlns:a16="http://schemas.microsoft.com/office/drawing/2014/main" id="{61A73A7D-5095-412E-A21A-A0A21C8F60EA}"/>
              </a:ext>
            </a:extLst>
          </p:cNvPr>
          <p:cNvSpPr/>
          <p:nvPr/>
        </p:nvSpPr>
        <p:spPr>
          <a:xfrm>
            <a:off x="8459124" y="3215273"/>
            <a:ext cx="1440000" cy="711681"/>
          </a:xfrm>
          <a:prstGeom prst="rect">
            <a:avLst/>
          </a:prstGeom>
          <a:solidFill>
            <a:srgbClr val="22777B"/>
          </a:solidFill>
          <a:ln w="9525">
            <a:solidFill>
              <a:srgbClr val="22777B"/>
            </a:solidFill>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Clr>
                <a:schemeClr val="tx2"/>
              </a:buClr>
              <a:buNone/>
            </a:pPr>
            <a:r>
              <a:rPr lang="nl-NL" sz="1000" b="1" dirty="0">
                <a:solidFill>
                  <a:srgbClr val="FFFFFF"/>
                </a:solidFill>
              </a:rPr>
              <a:t>Plannen rit</a:t>
            </a:r>
            <a:endPar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65" name="Rectangle 164">
            <a:extLst>
              <a:ext uri="{FF2B5EF4-FFF2-40B4-BE49-F238E27FC236}">
                <a16:creationId xmlns:a16="http://schemas.microsoft.com/office/drawing/2014/main" id="{DB7A4CAE-9098-4B68-9965-B2FE4EFE29BE}"/>
              </a:ext>
            </a:extLst>
          </p:cNvPr>
          <p:cNvSpPr/>
          <p:nvPr/>
        </p:nvSpPr>
        <p:spPr>
          <a:xfrm>
            <a:off x="10016739" y="2881898"/>
            <a:ext cx="1440000" cy="711681"/>
          </a:xfrm>
          <a:prstGeom prst="rect">
            <a:avLst/>
          </a:prstGeom>
          <a:solidFill>
            <a:srgbClr val="22777B"/>
          </a:solidFill>
          <a:ln w="9525">
            <a:solidFill>
              <a:srgbClr val="22777B"/>
            </a:solidFill>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Clr>
                <a:schemeClr val="tx2"/>
              </a:buClr>
              <a:buNone/>
            </a:pPr>
            <a:r>
              <a:rPr lang="nl-NL" sz="1000" b="1" dirty="0">
                <a:solidFill>
                  <a:srgbClr val="FFFFFF"/>
                </a:solidFill>
              </a:rPr>
              <a:t>Uitvoeren rit</a:t>
            </a:r>
            <a:endPar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4" name="Slide Number Placeholder 3">
            <a:extLst>
              <a:ext uri="{FF2B5EF4-FFF2-40B4-BE49-F238E27FC236}">
                <a16:creationId xmlns:a16="http://schemas.microsoft.com/office/drawing/2014/main" id="{8C26E222-B6E1-477F-9B61-BBE8ACAC7B61}"/>
              </a:ext>
            </a:extLst>
          </p:cNvPr>
          <p:cNvSpPr>
            <a:spLocks noGrp="1"/>
          </p:cNvSpPr>
          <p:nvPr>
            <p:ph type="sldNum" sz="quarter" idx="12"/>
          </p:nvPr>
        </p:nvSpPr>
        <p:spPr/>
        <p:txBody>
          <a:bodyPr/>
          <a:lstStyle/>
          <a:p>
            <a:fld id="{992CD0B2-8AB2-4C6C-8876-E15753662C9B}" type="slidenum">
              <a:rPr lang="nl-NL" noProof="0" smtClean="0"/>
              <a:pPr/>
              <a:t>13</a:t>
            </a:fld>
            <a:endParaRPr lang="nl-NL" noProof="0" dirty="0"/>
          </a:p>
        </p:txBody>
      </p:sp>
      <p:sp>
        <p:nvSpPr>
          <p:cNvPr id="10" name="Text Placeholder 9">
            <a:extLst>
              <a:ext uri="{FF2B5EF4-FFF2-40B4-BE49-F238E27FC236}">
                <a16:creationId xmlns:a16="http://schemas.microsoft.com/office/drawing/2014/main" id="{2F0891A3-CC4A-4276-84F5-DC50467B8AF0}"/>
              </a:ext>
            </a:extLst>
          </p:cNvPr>
          <p:cNvSpPr>
            <a:spLocks noGrp="1"/>
          </p:cNvSpPr>
          <p:nvPr>
            <p:ph type="body" sz="quarter" idx="14"/>
          </p:nvPr>
        </p:nvSpPr>
        <p:spPr/>
        <p:txBody>
          <a:bodyPr vert="horz" lIns="72000" tIns="72000" rIns="72000" bIns="72000" rtlCol="0">
            <a:noAutofit/>
          </a:bodyPr>
          <a:lstStyle/>
          <a:p>
            <a:pPr>
              <a:spcBef>
                <a:spcPts val="375"/>
              </a:spcBef>
            </a:pPr>
            <a:r>
              <a:rPr lang="nl-NL" dirty="0"/>
              <a:t>Selectie </a:t>
            </a:r>
            <a:r>
              <a:rPr lang="nl-NL"/>
              <a:t>van </a:t>
            </a:r>
            <a:r>
              <a:rPr lang="en-NL"/>
              <a:t>mogelijke </a:t>
            </a:r>
            <a:r>
              <a:rPr lang="nl-NL"/>
              <a:t>maatregelen </a:t>
            </a:r>
            <a:r>
              <a:rPr lang="nl-NL" dirty="0"/>
              <a:t>en innovaties doelgroepenvervoer</a:t>
            </a:r>
          </a:p>
        </p:txBody>
      </p:sp>
      <p:sp>
        <p:nvSpPr>
          <p:cNvPr id="3" name="Title 2">
            <a:extLst>
              <a:ext uri="{FF2B5EF4-FFF2-40B4-BE49-F238E27FC236}">
                <a16:creationId xmlns:a16="http://schemas.microsoft.com/office/drawing/2014/main" id="{27CEBD7D-5759-4685-ABD6-53497F520B6D}"/>
              </a:ext>
            </a:extLst>
          </p:cNvPr>
          <p:cNvSpPr>
            <a:spLocks noGrp="1"/>
          </p:cNvSpPr>
          <p:nvPr>
            <p:ph type="title"/>
          </p:nvPr>
        </p:nvSpPr>
        <p:spPr/>
        <p:txBody>
          <a:bodyPr vert="horz" lIns="36000" tIns="36000" rIns="36000" bIns="36000" rtlCol="0" anchor="b">
            <a:noAutofit/>
          </a:bodyPr>
          <a:lstStyle/>
          <a:p>
            <a:r>
              <a:rPr lang="en-NL"/>
              <a:t>In de</a:t>
            </a:r>
            <a:r>
              <a:rPr lang="nl-NL"/>
              <a:t> </a:t>
            </a:r>
            <a:r>
              <a:rPr lang="nl-NL" dirty="0"/>
              <a:t>gehele </a:t>
            </a:r>
            <a:r>
              <a:rPr lang="nl-NL"/>
              <a:t>keten </a:t>
            </a:r>
            <a:r>
              <a:rPr lang="en-NL"/>
              <a:t>zijn strategische opties mogelijk om te verbeteren en te innoveren</a:t>
            </a:r>
            <a:endParaRPr lang="nl-NL" dirty="0"/>
          </a:p>
        </p:txBody>
      </p:sp>
      <p:sp>
        <p:nvSpPr>
          <p:cNvPr id="6" name="Rectangle 5">
            <a:extLst>
              <a:ext uri="{FF2B5EF4-FFF2-40B4-BE49-F238E27FC236}">
                <a16:creationId xmlns:a16="http://schemas.microsoft.com/office/drawing/2014/main" id="{D24C7A38-25AF-40A0-B3D5-DDE21674E24C}"/>
              </a:ext>
            </a:extLst>
          </p:cNvPr>
          <p:cNvSpPr/>
          <p:nvPr/>
        </p:nvSpPr>
        <p:spPr>
          <a:xfrm>
            <a:off x="671044" y="2996198"/>
            <a:ext cx="1440000" cy="711681"/>
          </a:xfrm>
          <a:prstGeom prst="rect">
            <a:avLst/>
          </a:prstGeom>
          <a:solidFill>
            <a:srgbClr val="22777B"/>
          </a:solidFill>
          <a:ln w="9525">
            <a:solidFill>
              <a:srgbClr val="22777B"/>
            </a:solidFill>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ntwikkelen beleid</a:t>
            </a:r>
          </a:p>
        </p:txBody>
      </p:sp>
      <p:grpSp>
        <p:nvGrpSpPr>
          <p:cNvPr id="14" name="Group 13">
            <a:extLst>
              <a:ext uri="{FF2B5EF4-FFF2-40B4-BE49-F238E27FC236}">
                <a16:creationId xmlns:a16="http://schemas.microsoft.com/office/drawing/2014/main" id="{C135624C-63C2-4985-9827-1D47E1B7536E}"/>
              </a:ext>
            </a:extLst>
          </p:cNvPr>
          <p:cNvGrpSpPr/>
          <p:nvPr/>
        </p:nvGrpSpPr>
        <p:grpSpPr>
          <a:xfrm>
            <a:off x="1155916" y="3235670"/>
            <a:ext cx="470256" cy="379545"/>
            <a:chOff x="1240539" y="3308772"/>
            <a:chExt cx="301011" cy="242947"/>
          </a:xfrm>
        </p:grpSpPr>
        <p:grpSp>
          <p:nvGrpSpPr>
            <p:cNvPr id="115" name="Group 114">
              <a:extLst>
                <a:ext uri="{FF2B5EF4-FFF2-40B4-BE49-F238E27FC236}">
                  <a16:creationId xmlns:a16="http://schemas.microsoft.com/office/drawing/2014/main" id="{ACF7D5FB-B7FA-431B-A295-4838BB940042}"/>
                </a:ext>
              </a:extLst>
            </p:cNvPr>
            <p:cNvGrpSpPr/>
            <p:nvPr/>
          </p:nvGrpSpPr>
          <p:grpSpPr>
            <a:xfrm>
              <a:off x="1240539" y="3308772"/>
              <a:ext cx="301011" cy="242947"/>
              <a:chOff x="1346525" y="2454453"/>
              <a:chExt cx="611700" cy="493704"/>
            </a:xfrm>
            <a:solidFill>
              <a:schemeClr val="tx1"/>
            </a:solidFill>
          </p:grpSpPr>
          <p:sp>
            <p:nvSpPr>
              <p:cNvPr id="119" name="Freeform 15">
                <a:extLst>
                  <a:ext uri="{FF2B5EF4-FFF2-40B4-BE49-F238E27FC236}">
                    <a16:creationId xmlns:a16="http://schemas.microsoft.com/office/drawing/2014/main" id="{DA156C56-3B2B-4219-9A4E-32AC3FB15F8A}"/>
                  </a:ext>
                </a:extLst>
              </p:cNvPr>
              <p:cNvSpPr>
                <a:spLocks noChangeArrowheads="1"/>
              </p:cNvSpPr>
              <p:nvPr/>
            </p:nvSpPr>
            <p:spPr bwMode="auto">
              <a:xfrm>
                <a:off x="1346525" y="2485000"/>
                <a:ext cx="369885" cy="463157"/>
              </a:xfrm>
              <a:custGeom>
                <a:avLst/>
                <a:gdLst>
                  <a:gd name="T0" fmla="*/ 3396 w 3569"/>
                  <a:gd name="T1" fmla="*/ 2510 h 4466"/>
                  <a:gd name="T2" fmla="*/ 3396 w 3569"/>
                  <a:gd name="T3" fmla="*/ 2510 h 4466"/>
                  <a:gd name="T4" fmla="*/ 3396 w 3569"/>
                  <a:gd name="T5" fmla="*/ 4320 h 4466"/>
                  <a:gd name="T6" fmla="*/ 172 w 3569"/>
                  <a:gd name="T7" fmla="*/ 4320 h 4466"/>
                  <a:gd name="T8" fmla="*/ 172 w 3569"/>
                  <a:gd name="T9" fmla="*/ 1269 h 4466"/>
                  <a:gd name="T10" fmla="*/ 1243 w 3569"/>
                  <a:gd name="T11" fmla="*/ 1269 h 4466"/>
                  <a:gd name="T12" fmla="*/ 1243 w 3569"/>
                  <a:gd name="T13" fmla="*/ 172 h 4466"/>
                  <a:gd name="T14" fmla="*/ 3396 w 3569"/>
                  <a:gd name="T15" fmla="*/ 172 h 4466"/>
                  <a:gd name="T16" fmla="*/ 3396 w 3569"/>
                  <a:gd name="T17" fmla="*/ 1163 h 4466"/>
                  <a:gd name="T18" fmla="*/ 3568 w 3569"/>
                  <a:gd name="T19" fmla="*/ 991 h 4466"/>
                  <a:gd name="T20" fmla="*/ 3568 w 3569"/>
                  <a:gd name="T21" fmla="*/ 0 h 4466"/>
                  <a:gd name="T22" fmla="*/ 1163 w 3569"/>
                  <a:gd name="T23" fmla="*/ 0 h 4466"/>
                  <a:gd name="T24" fmla="*/ 0 w 3569"/>
                  <a:gd name="T25" fmla="*/ 1163 h 4466"/>
                  <a:gd name="T26" fmla="*/ 0 w 3569"/>
                  <a:gd name="T27" fmla="*/ 4465 h 4466"/>
                  <a:gd name="T28" fmla="*/ 3568 w 3569"/>
                  <a:gd name="T29" fmla="*/ 4465 h 4466"/>
                  <a:gd name="T30" fmla="*/ 3568 w 3569"/>
                  <a:gd name="T31" fmla="*/ 2352 h 4466"/>
                  <a:gd name="T32" fmla="*/ 3396 w 3569"/>
                  <a:gd name="T33" fmla="*/ 2510 h 4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9" h="4466">
                    <a:moveTo>
                      <a:pt x="3396" y="2510"/>
                    </a:moveTo>
                    <a:lnTo>
                      <a:pt x="3396" y="2510"/>
                    </a:lnTo>
                    <a:cubicBezTo>
                      <a:pt x="3396" y="4320"/>
                      <a:pt x="3396" y="4320"/>
                      <a:pt x="3396" y="4320"/>
                    </a:cubicBezTo>
                    <a:cubicBezTo>
                      <a:pt x="172" y="4320"/>
                      <a:pt x="172" y="4320"/>
                      <a:pt x="172" y="4320"/>
                    </a:cubicBezTo>
                    <a:cubicBezTo>
                      <a:pt x="172" y="1269"/>
                      <a:pt x="172" y="1269"/>
                      <a:pt x="172" y="1269"/>
                    </a:cubicBezTo>
                    <a:cubicBezTo>
                      <a:pt x="1243" y="1269"/>
                      <a:pt x="1243" y="1269"/>
                      <a:pt x="1243" y="1269"/>
                    </a:cubicBezTo>
                    <a:cubicBezTo>
                      <a:pt x="1243" y="172"/>
                      <a:pt x="1243" y="172"/>
                      <a:pt x="1243" y="172"/>
                    </a:cubicBezTo>
                    <a:cubicBezTo>
                      <a:pt x="3396" y="172"/>
                      <a:pt x="3396" y="172"/>
                      <a:pt x="3396" y="172"/>
                    </a:cubicBezTo>
                    <a:cubicBezTo>
                      <a:pt x="3396" y="1163"/>
                      <a:pt x="3396" y="1163"/>
                      <a:pt x="3396" y="1163"/>
                    </a:cubicBezTo>
                    <a:cubicBezTo>
                      <a:pt x="3449" y="1110"/>
                      <a:pt x="3502" y="1044"/>
                      <a:pt x="3568" y="991"/>
                    </a:cubicBezTo>
                    <a:cubicBezTo>
                      <a:pt x="3568" y="0"/>
                      <a:pt x="3568" y="0"/>
                      <a:pt x="3568" y="0"/>
                    </a:cubicBezTo>
                    <a:cubicBezTo>
                      <a:pt x="1163" y="0"/>
                      <a:pt x="1163" y="0"/>
                      <a:pt x="1163" y="0"/>
                    </a:cubicBezTo>
                    <a:cubicBezTo>
                      <a:pt x="0" y="1163"/>
                      <a:pt x="0" y="1163"/>
                      <a:pt x="0" y="1163"/>
                    </a:cubicBezTo>
                    <a:cubicBezTo>
                      <a:pt x="0" y="4465"/>
                      <a:pt x="0" y="4465"/>
                      <a:pt x="0" y="4465"/>
                    </a:cubicBezTo>
                    <a:cubicBezTo>
                      <a:pt x="3568" y="4465"/>
                      <a:pt x="3568" y="4465"/>
                      <a:pt x="3568" y="4465"/>
                    </a:cubicBezTo>
                    <a:cubicBezTo>
                      <a:pt x="3568" y="2352"/>
                      <a:pt x="3568" y="2352"/>
                      <a:pt x="3568" y="2352"/>
                    </a:cubicBezTo>
                    <a:cubicBezTo>
                      <a:pt x="3502" y="2405"/>
                      <a:pt x="3449" y="2457"/>
                      <a:pt x="3396" y="2510"/>
                    </a:cubicBezTo>
                  </a:path>
                </a:pathLst>
              </a:custGeom>
              <a:solidFill>
                <a:srgbClr val="FFFFFF"/>
              </a:solidFill>
              <a:ln w="9525">
                <a:noFill/>
              </a:ln>
              <a:effectLst/>
              <a:extLst>
                <a:ext uri="{91240B29-F687-4F45-9708-019B960494DF}">
                  <a14:hiddenLine xmlns:a14="http://schemas.microsoft.com/office/drawing/2010/main" w="9525">
                    <a:solidFill>
                      <a:srgbClr val="FFFFFF"/>
                    </a:solidFill>
                  </a14:hiddenLine>
                </a:ext>
              </a:extLst>
            </p:spPr>
            <p:txBody>
              <a:bodyPr wrap="none" anchor="ctr"/>
              <a:lstStyle/>
              <a:p>
                <a:endParaRPr lang="nl-NL" sz="1100" dirty="0"/>
              </a:p>
            </p:txBody>
          </p:sp>
          <p:sp>
            <p:nvSpPr>
              <p:cNvPr id="120" name="Freeform 16">
                <a:extLst>
                  <a:ext uri="{FF2B5EF4-FFF2-40B4-BE49-F238E27FC236}">
                    <a16:creationId xmlns:a16="http://schemas.microsoft.com/office/drawing/2014/main" id="{1557597C-44C9-4DA1-8A83-DC2AB5C6117C}"/>
                  </a:ext>
                </a:extLst>
              </p:cNvPr>
              <p:cNvSpPr>
                <a:spLocks noChangeArrowheads="1"/>
              </p:cNvSpPr>
              <p:nvPr/>
            </p:nvSpPr>
            <p:spPr bwMode="auto">
              <a:xfrm>
                <a:off x="1685726" y="2454453"/>
                <a:ext cx="272499" cy="275242"/>
              </a:xfrm>
              <a:custGeom>
                <a:avLst/>
                <a:gdLst>
                  <a:gd name="T0" fmla="*/ 647 w 2630"/>
                  <a:gd name="T1" fmla="*/ 2457 h 2656"/>
                  <a:gd name="T2" fmla="*/ 2629 w 2630"/>
                  <a:gd name="T3" fmla="*/ 423 h 2656"/>
                  <a:gd name="T4" fmla="*/ 2206 w 2630"/>
                  <a:gd name="T5" fmla="*/ 0 h 2656"/>
                  <a:gd name="T6" fmla="*/ 198 w 2630"/>
                  <a:gd name="T7" fmla="*/ 2034 h 2656"/>
                  <a:gd name="T8" fmla="*/ 0 w 2630"/>
                  <a:gd name="T9" fmla="*/ 2655 h 2656"/>
                  <a:gd name="T10" fmla="*/ 647 w 2630"/>
                  <a:gd name="T11" fmla="*/ 2457 h 2656"/>
                </a:gdLst>
                <a:ahLst/>
                <a:cxnLst>
                  <a:cxn ang="0">
                    <a:pos x="T0" y="T1"/>
                  </a:cxn>
                  <a:cxn ang="0">
                    <a:pos x="T2" y="T3"/>
                  </a:cxn>
                  <a:cxn ang="0">
                    <a:pos x="T4" y="T5"/>
                  </a:cxn>
                  <a:cxn ang="0">
                    <a:pos x="T6" y="T7"/>
                  </a:cxn>
                  <a:cxn ang="0">
                    <a:pos x="T8" y="T9"/>
                  </a:cxn>
                  <a:cxn ang="0">
                    <a:pos x="T10" y="T11"/>
                  </a:cxn>
                </a:cxnLst>
                <a:rect l="0" t="0" r="r" b="b"/>
                <a:pathLst>
                  <a:path w="2630" h="2656">
                    <a:moveTo>
                      <a:pt x="647" y="2457"/>
                    </a:moveTo>
                    <a:lnTo>
                      <a:pt x="2629" y="423"/>
                    </a:lnTo>
                    <a:lnTo>
                      <a:pt x="2206" y="0"/>
                    </a:lnTo>
                    <a:lnTo>
                      <a:pt x="198" y="2034"/>
                    </a:lnTo>
                    <a:lnTo>
                      <a:pt x="0" y="2655"/>
                    </a:lnTo>
                    <a:lnTo>
                      <a:pt x="647" y="2457"/>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nl-NL" sz="1100" dirty="0"/>
              </a:p>
            </p:txBody>
          </p:sp>
        </p:grpSp>
        <p:pic>
          <p:nvPicPr>
            <p:cNvPr id="116" name="Graphic 115" descr="Bus with solid fill">
              <a:extLst>
                <a:ext uri="{FF2B5EF4-FFF2-40B4-BE49-F238E27FC236}">
                  <a16:creationId xmlns:a16="http://schemas.microsoft.com/office/drawing/2014/main" id="{5A4AE627-22AA-4BF6-9F2A-F4DDFAB8B158}"/>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264432" y="3384367"/>
              <a:ext cx="144685" cy="144686"/>
            </a:xfrm>
            <a:prstGeom prst="rect">
              <a:avLst/>
            </a:prstGeom>
          </p:spPr>
        </p:pic>
      </p:grpSp>
      <p:sp>
        <p:nvSpPr>
          <p:cNvPr id="130" name="Rectangle 129">
            <a:extLst>
              <a:ext uri="{FF2B5EF4-FFF2-40B4-BE49-F238E27FC236}">
                <a16:creationId xmlns:a16="http://schemas.microsoft.com/office/drawing/2014/main" id="{CC0A57CA-6ABD-4909-A705-DE03C0BDDD13}"/>
              </a:ext>
            </a:extLst>
          </p:cNvPr>
          <p:cNvSpPr/>
          <p:nvPr/>
        </p:nvSpPr>
        <p:spPr>
          <a:xfrm>
            <a:off x="2228660" y="2700923"/>
            <a:ext cx="1440000" cy="711681"/>
          </a:xfrm>
          <a:prstGeom prst="rect">
            <a:avLst/>
          </a:prstGeom>
          <a:solidFill>
            <a:srgbClr val="22777B"/>
          </a:solidFill>
          <a:ln w="9525">
            <a:solidFill>
              <a:srgbClr val="22777B"/>
            </a:solidFill>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Clr>
                <a:schemeClr val="tx2"/>
              </a:buClr>
              <a:buNone/>
            </a:pPr>
            <a:r>
              <a:rPr lang="nl-NL" sz="1000" b="1" dirty="0">
                <a:solidFill>
                  <a:srgbClr val="FFFFFF"/>
                </a:solidFill>
              </a:rPr>
              <a:t>Bepalen inkoopstrategie en aanbesteden</a:t>
            </a:r>
            <a:endParaRPr kumimoji="0" lang="nl-NL" sz="1000" b="1" i="0" u="none" strike="noStrike" kern="1200" cap="none" spc="0" normalizeH="0" baseline="0" noProof="0" dirty="0">
              <a:ln>
                <a:noFill/>
              </a:ln>
              <a:solidFill>
                <a:srgbClr val="FFFFFF"/>
              </a:solidFill>
              <a:effectLst/>
              <a:uLnTx/>
              <a:uFillTx/>
            </a:endParaRPr>
          </a:p>
        </p:txBody>
      </p:sp>
      <p:sp>
        <p:nvSpPr>
          <p:cNvPr id="161" name="Rectangle 160">
            <a:extLst>
              <a:ext uri="{FF2B5EF4-FFF2-40B4-BE49-F238E27FC236}">
                <a16:creationId xmlns:a16="http://schemas.microsoft.com/office/drawing/2014/main" id="{664FF3AC-0741-4E8B-8D8F-951D141EFBCD}"/>
              </a:ext>
            </a:extLst>
          </p:cNvPr>
          <p:cNvSpPr/>
          <p:nvPr/>
        </p:nvSpPr>
        <p:spPr>
          <a:xfrm>
            <a:off x="3786276" y="3215273"/>
            <a:ext cx="1440000" cy="711681"/>
          </a:xfrm>
          <a:prstGeom prst="rect">
            <a:avLst/>
          </a:prstGeom>
          <a:solidFill>
            <a:srgbClr val="22777B"/>
          </a:solidFill>
          <a:ln w="9525">
            <a:solidFill>
              <a:srgbClr val="22777B"/>
            </a:solidFill>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Managen contract</a:t>
            </a:r>
          </a:p>
        </p:txBody>
      </p:sp>
      <p:sp>
        <p:nvSpPr>
          <p:cNvPr id="179" name="Rectangle 178">
            <a:extLst>
              <a:ext uri="{FF2B5EF4-FFF2-40B4-BE49-F238E27FC236}">
                <a16:creationId xmlns:a16="http://schemas.microsoft.com/office/drawing/2014/main" id="{DBAC0AFB-406C-4579-ADBB-04581E1602E2}"/>
              </a:ext>
            </a:extLst>
          </p:cNvPr>
          <p:cNvSpPr/>
          <p:nvPr/>
        </p:nvSpPr>
        <p:spPr>
          <a:xfrm>
            <a:off x="5343892" y="2881898"/>
            <a:ext cx="1440000" cy="711681"/>
          </a:xfrm>
          <a:prstGeom prst="rect">
            <a:avLst/>
          </a:prstGeom>
          <a:solidFill>
            <a:srgbClr val="22777B"/>
          </a:solidFill>
          <a:ln w="9525">
            <a:solidFill>
              <a:srgbClr val="22777B"/>
            </a:solidFill>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Clr>
                <a:schemeClr val="tx2"/>
              </a:buClr>
              <a:buNone/>
            </a:pPr>
            <a:r>
              <a:rPr lang="nl-NL" sz="1000" b="1" dirty="0">
                <a:solidFill>
                  <a:srgbClr val="FFFFFF"/>
                </a:solidFill>
              </a:rPr>
              <a:t>Indiceren</a:t>
            </a:r>
            <a:endPar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grpSp>
        <p:nvGrpSpPr>
          <p:cNvPr id="21" name="Group 20">
            <a:extLst>
              <a:ext uri="{FF2B5EF4-FFF2-40B4-BE49-F238E27FC236}">
                <a16:creationId xmlns:a16="http://schemas.microsoft.com/office/drawing/2014/main" id="{DD6415DD-9351-4365-B763-2588AC03A48D}"/>
              </a:ext>
            </a:extLst>
          </p:cNvPr>
          <p:cNvGrpSpPr/>
          <p:nvPr/>
        </p:nvGrpSpPr>
        <p:grpSpPr>
          <a:xfrm>
            <a:off x="6901508" y="3215273"/>
            <a:ext cx="1440000" cy="711681"/>
            <a:chOff x="6901508" y="2996198"/>
            <a:chExt cx="1440000" cy="711681"/>
          </a:xfrm>
        </p:grpSpPr>
        <p:sp>
          <p:nvSpPr>
            <p:cNvPr id="210" name="Rectangle 209">
              <a:extLst>
                <a:ext uri="{FF2B5EF4-FFF2-40B4-BE49-F238E27FC236}">
                  <a16:creationId xmlns:a16="http://schemas.microsoft.com/office/drawing/2014/main" id="{4C6F9206-E24F-4240-B137-E6A39B8DB4D6}"/>
                </a:ext>
              </a:extLst>
            </p:cNvPr>
            <p:cNvSpPr/>
            <p:nvPr/>
          </p:nvSpPr>
          <p:spPr>
            <a:xfrm>
              <a:off x="6901508" y="2996198"/>
              <a:ext cx="1440000" cy="711681"/>
            </a:xfrm>
            <a:prstGeom prst="rect">
              <a:avLst/>
            </a:prstGeom>
            <a:solidFill>
              <a:srgbClr val="22777B"/>
            </a:solidFill>
            <a:ln w="9525">
              <a:solidFill>
                <a:srgbClr val="22777B"/>
              </a:solidFill>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Clr>
                  <a:schemeClr val="tx2"/>
                </a:buClr>
                <a:buNone/>
              </a:pPr>
              <a:r>
                <a:rPr lang="nl-NL" sz="1000" b="1" dirty="0">
                  <a:solidFill>
                    <a:srgbClr val="FFFFFF"/>
                  </a:solidFill>
                </a:rPr>
                <a:t>Organiseren boekingsproces</a:t>
              </a:r>
              <a:endPar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grpSp>
          <p:nvGrpSpPr>
            <p:cNvPr id="107" name="Group 106">
              <a:extLst>
                <a:ext uri="{FF2B5EF4-FFF2-40B4-BE49-F238E27FC236}">
                  <a16:creationId xmlns:a16="http://schemas.microsoft.com/office/drawing/2014/main" id="{3E784CFC-ED8F-4EB1-8F73-7517C67F6D16}"/>
                </a:ext>
              </a:extLst>
            </p:cNvPr>
            <p:cNvGrpSpPr/>
            <p:nvPr/>
          </p:nvGrpSpPr>
          <p:grpSpPr>
            <a:xfrm>
              <a:off x="7392422" y="3322761"/>
              <a:ext cx="458172" cy="267398"/>
              <a:chOff x="6684497" y="3494146"/>
              <a:chExt cx="700406" cy="408771"/>
            </a:xfrm>
          </p:grpSpPr>
          <p:grpSp>
            <p:nvGrpSpPr>
              <p:cNvPr id="108" name="Group 107">
                <a:extLst>
                  <a:ext uri="{FF2B5EF4-FFF2-40B4-BE49-F238E27FC236}">
                    <a16:creationId xmlns:a16="http://schemas.microsoft.com/office/drawing/2014/main" id="{E7CF65F0-F9C5-4AF9-BE11-E829C89A1CF0}"/>
                  </a:ext>
                </a:extLst>
              </p:cNvPr>
              <p:cNvGrpSpPr/>
              <p:nvPr/>
            </p:nvGrpSpPr>
            <p:grpSpPr>
              <a:xfrm>
                <a:off x="6684497" y="3494146"/>
                <a:ext cx="700406" cy="408771"/>
                <a:chOff x="7648575" y="1647825"/>
                <a:chExt cx="1841500" cy="1074738"/>
              </a:xfrm>
            </p:grpSpPr>
            <p:sp>
              <p:nvSpPr>
                <p:cNvPr id="111" name="Freeform 27">
                  <a:extLst>
                    <a:ext uri="{FF2B5EF4-FFF2-40B4-BE49-F238E27FC236}">
                      <a16:creationId xmlns:a16="http://schemas.microsoft.com/office/drawing/2014/main" id="{2EF79F43-17FD-439A-8245-52431AEE9CC1}"/>
                    </a:ext>
                  </a:extLst>
                </p:cNvPr>
                <p:cNvSpPr>
                  <a:spLocks noChangeArrowheads="1"/>
                </p:cNvSpPr>
                <p:nvPr/>
              </p:nvSpPr>
              <p:spPr bwMode="auto">
                <a:xfrm>
                  <a:off x="7648575" y="2613025"/>
                  <a:ext cx="1841500" cy="109538"/>
                </a:xfrm>
                <a:custGeom>
                  <a:avLst/>
                  <a:gdLst>
                    <a:gd name="T0" fmla="*/ 2881 w 5115"/>
                    <a:gd name="T1" fmla="*/ 0 h 305"/>
                    <a:gd name="T2" fmla="*/ 2881 w 5115"/>
                    <a:gd name="T3" fmla="*/ 0 h 305"/>
                    <a:gd name="T4" fmla="*/ 2881 w 5115"/>
                    <a:gd name="T5" fmla="*/ 53 h 305"/>
                    <a:gd name="T6" fmla="*/ 2815 w 5115"/>
                    <a:gd name="T7" fmla="*/ 119 h 305"/>
                    <a:gd name="T8" fmla="*/ 2286 w 5115"/>
                    <a:gd name="T9" fmla="*/ 119 h 305"/>
                    <a:gd name="T10" fmla="*/ 2220 w 5115"/>
                    <a:gd name="T11" fmla="*/ 53 h 305"/>
                    <a:gd name="T12" fmla="*/ 2220 w 5115"/>
                    <a:gd name="T13" fmla="*/ 0 h 305"/>
                    <a:gd name="T14" fmla="*/ 0 w 5115"/>
                    <a:gd name="T15" fmla="*/ 0 h 305"/>
                    <a:gd name="T16" fmla="*/ 0 w 5115"/>
                    <a:gd name="T17" fmla="*/ 79 h 305"/>
                    <a:gd name="T18" fmla="*/ 225 w 5115"/>
                    <a:gd name="T19" fmla="*/ 304 h 305"/>
                    <a:gd name="T20" fmla="*/ 4876 w 5115"/>
                    <a:gd name="T21" fmla="*/ 304 h 305"/>
                    <a:gd name="T22" fmla="*/ 5114 w 5115"/>
                    <a:gd name="T23" fmla="*/ 79 h 305"/>
                    <a:gd name="T24" fmla="*/ 5114 w 5115"/>
                    <a:gd name="T25" fmla="*/ 0 h 305"/>
                    <a:gd name="T26" fmla="*/ 2881 w 5115"/>
                    <a:gd name="T27"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15" h="305">
                      <a:moveTo>
                        <a:pt x="2881" y="0"/>
                      </a:moveTo>
                      <a:lnTo>
                        <a:pt x="2881" y="0"/>
                      </a:lnTo>
                      <a:cubicBezTo>
                        <a:pt x="2881" y="53"/>
                        <a:pt x="2881" y="53"/>
                        <a:pt x="2881" y="53"/>
                      </a:cubicBezTo>
                      <a:cubicBezTo>
                        <a:pt x="2881" y="79"/>
                        <a:pt x="2881" y="119"/>
                        <a:pt x="2815" y="119"/>
                      </a:cubicBezTo>
                      <a:cubicBezTo>
                        <a:pt x="2286" y="119"/>
                        <a:pt x="2286" y="119"/>
                        <a:pt x="2286" y="119"/>
                      </a:cubicBezTo>
                      <a:cubicBezTo>
                        <a:pt x="2260" y="119"/>
                        <a:pt x="2220" y="79"/>
                        <a:pt x="2220" y="53"/>
                      </a:cubicBezTo>
                      <a:cubicBezTo>
                        <a:pt x="2220" y="0"/>
                        <a:pt x="2220" y="0"/>
                        <a:pt x="2220" y="0"/>
                      </a:cubicBezTo>
                      <a:cubicBezTo>
                        <a:pt x="0" y="0"/>
                        <a:pt x="0" y="0"/>
                        <a:pt x="0" y="0"/>
                      </a:cubicBezTo>
                      <a:cubicBezTo>
                        <a:pt x="0" y="79"/>
                        <a:pt x="0" y="79"/>
                        <a:pt x="0" y="79"/>
                      </a:cubicBezTo>
                      <a:cubicBezTo>
                        <a:pt x="0" y="198"/>
                        <a:pt x="79" y="304"/>
                        <a:pt x="225" y="304"/>
                      </a:cubicBezTo>
                      <a:cubicBezTo>
                        <a:pt x="4876" y="304"/>
                        <a:pt x="4876" y="304"/>
                        <a:pt x="4876" y="304"/>
                      </a:cubicBezTo>
                      <a:cubicBezTo>
                        <a:pt x="5021" y="304"/>
                        <a:pt x="5114" y="198"/>
                        <a:pt x="5114" y="79"/>
                      </a:cubicBezTo>
                      <a:cubicBezTo>
                        <a:pt x="5114" y="0"/>
                        <a:pt x="5114" y="0"/>
                        <a:pt x="5114" y="0"/>
                      </a:cubicBezTo>
                      <a:lnTo>
                        <a:pt x="2881" y="0"/>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nl-NL" sz="1100" dirty="0"/>
                </a:p>
              </p:txBody>
            </p:sp>
            <p:sp>
              <p:nvSpPr>
                <p:cNvPr id="112" name="Freeform 28">
                  <a:extLst>
                    <a:ext uri="{FF2B5EF4-FFF2-40B4-BE49-F238E27FC236}">
                      <a16:creationId xmlns:a16="http://schemas.microsoft.com/office/drawing/2014/main" id="{8DA497F1-D5CD-46E0-9AB7-2C96882B0096}"/>
                    </a:ext>
                  </a:extLst>
                </p:cNvPr>
                <p:cNvSpPr>
                  <a:spLocks noChangeArrowheads="1"/>
                </p:cNvSpPr>
                <p:nvPr/>
              </p:nvSpPr>
              <p:spPr bwMode="auto">
                <a:xfrm>
                  <a:off x="7899400" y="1647825"/>
                  <a:ext cx="1331913" cy="865188"/>
                </a:xfrm>
                <a:custGeom>
                  <a:avLst/>
                  <a:gdLst>
                    <a:gd name="T0" fmla="*/ 3528 w 3701"/>
                    <a:gd name="T1" fmla="*/ 0 h 2405"/>
                    <a:gd name="T2" fmla="*/ 3528 w 3701"/>
                    <a:gd name="T3" fmla="*/ 0 h 2405"/>
                    <a:gd name="T4" fmla="*/ 172 w 3701"/>
                    <a:gd name="T5" fmla="*/ 0 h 2405"/>
                    <a:gd name="T6" fmla="*/ 0 w 3701"/>
                    <a:gd name="T7" fmla="*/ 171 h 2405"/>
                    <a:gd name="T8" fmla="*/ 0 w 3701"/>
                    <a:gd name="T9" fmla="*/ 1387 h 2405"/>
                    <a:gd name="T10" fmla="*/ 0 w 3701"/>
                    <a:gd name="T11" fmla="*/ 2311 h 2405"/>
                    <a:gd name="T12" fmla="*/ 0 w 3701"/>
                    <a:gd name="T13" fmla="*/ 2404 h 2405"/>
                    <a:gd name="T14" fmla="*/ 3700 w 3701"/>
                    <a:gd name="T15" fmla="*/ 2404 h 2405"/>
                    <a:gd name="T16" fmla="*/ 3700 w 3701"/>
                    <a:gd name="T17" fmla="*/ 2311 h 2405"/>
                    <a:gd name="T18" fmla="*/ 3700 w 3701"/>
                    <a:gd name="T19" fmla="*/ 1387 h 2405"/>
                    <a:gd name="T20" fmla="*/ 3700 w 3701"/>
                    <a:gd name="T21" fmla="*/ 171 h 2405"/>
                    <a:gd name="T22" fmla="*/ 3528 w 3701"/>
                    <a:gd name="T23" fmla="*/ 0 h 2405"/>
                    <a:gd name="T24" fmla="*/ 3528 w 3701"/>
                    <a:gd name="T25" fmla="*/ 2232 h 2405"/>
                    <a:gd name="T26" fmla="*/ 3528 w 3701"/>
                    <a:gd name="T27" fmla="*/ 2232 h 2405"/>
                    <a:gd name="T28" fmla="*/ 172 w 3701"/>
                    <a:gd name="T29" fmla="*/ 2232 h 2405"/>
                    <a:gd name="T30" fmla="*/ 172 w 3701"/>
                    <a:gd name="T31" fmla="*/ 1387 h 2405"/>
                    <a:gd name="T32" fmla="*/ 172 w 3701"/>
                    <a:gd name="T33" fmla="*/ 171 h 2405"/>
                    <a:gd name="T34" fmla="*/ 3528 w 3701"/>
                    <a:gd name="T35" fmla="*/ 171 h 2405"/>
                    <a:gd name="T36" fmla="*/ 3528 w 3701"/>
                    <a:gd name="T37" fmla="*/ 1387 h 2405"/>
                    <a:gd name="T38" fmla="*/ 3528 w 3701"/>
                    <a:gd name="T39" fmla="*/ 2232 h 2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1" h="2405">
                      <a:moveTo>
                        <a:pt x="3528" y="0"/>
                      </a:moveTo>
                      <a:lnTo>
                        <a:pt x="3528" y="0"/>
                      </a:lnTo>
                      <a:cubicBezTo>
                        <a:pt x="172" y="0"/>
                        <a:pt x="172" y="0"/>
                        <a:pt x="172" y="0"/>
                      </a:cubicBezTo>
                      <a:cubicBezTo>
                        <a:pt x="80" y="0"/>
                        <a:pt x="0" y="79"/>
                        <a:pt x="0" y="171"/>
                      </a:cubicBezTo>
                      <a:cubicBezTo>
                        <a:pt x="0" y="1387"/>
                        <a:pt x="0" y="1387"/>
                        <a:pt x="0" y="1387"/>
                      </a:cubicBezTo>
                      <a:cubicBezTo>
                        <a:pt x="0" y="2311"/>
                        <a:pt x="0" y="2311"/>
                        <a:pt x="0" y="2311"/>
                      </a:cubicBezTo>
                      <a:cubicBezTo>
                        <a:pt x="0" y="2404"/>
                        <a:pt x="0" y="2404"/>
                        <a:pt x="0" y="2404"/>
                      </a:cubicBezTo>
                      <a:cubicBezTo>
                        <a:pt x="3700" y="2404"/>
                        <a:pt x="3700" y="2404"/>
                        <a:pt x="3700" y="2404"/>
                      </a:cubicBezTo>
                      <a:cubicBezTo>
                        <a:pt x="3700" y="2311"/>
                        <a:pt x="3700" y="2311"/>
                        <a:pt x="3700" y="2311"/>
                      </a:cubicBezTo>
                      <a:cubicBezTo>
                        <a:pt x="3700" y="1387"/>
                        <a:pt x="3700" y="1387"/>
                        <a:pt x="3700" y="1387"/>
                      </a:cubicBezTo>
                      <a:cubicBezTo>
                        <a:pt x="3700" y="171"/>
                        <a:pt x="3700" y="171"/>
                        <a:pt x="3700" y="171"/>
                      </a:cubicBezTo>
                      <a:cubicBezTo>
                        <a:pt x="3700" y="79"/>
                        <a:pt x="3621" y="0"/>
                        <a:pt x="3528" y="0"/>
                      </a:cubicBezTo>
                      <a:close/>
                      <a:moveTo>
                        <a:pt x="3528" y="2232"/>
                      </a:moveTo>
                      <a:lnTo>
                        <a:pt x="3528" y="2232"/>
                      </a:lnTo>
                      <a:cubicBezTo>
                        <a:pt x="172" y="2232"/>
                        <a:pt x="172" y="2232"/>
                        <a:pt x="172" y="2232"/>
                      </a:cubicBezTo>
                      <a:cubicBezTo>
                        <a:pt x="172" y="1387"/>
                        <a:pt x="172" y="1387"/>
                        <a:pt x="172" y="1387"/>
                      </a:cubicBezTo>
                      <a:cubicBezTo>
                        <a:pt x="172" y="171"/>
                        <a:pt x="172" y="171"/>
                        <a:pt x="172" y="171"/>
                      </a:cubicBezTo>
                      <a:cubicBezTo>
                        <a:pt x="3528" y="171"/>
                        <a:pt x="3528" y="171"/>
                        <a:pt x="3528" y="171"/>
                      </a:cubicBezTo>
                      <a:cubicBezTo>
                        <a:pt x="3528" y="1387"/>
                        <a:pt x="3528" y="1387"/>
                        <a:pt x="3528" y="1387"/>
                      </a:cubicBezTo>
                      <a:lnTo>
                        <a:pt x="3528" y="2232"/>
                      </a:lnTo>
                      <a:close/>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nl-NL" sz="1100" dirty="0"/>
                </a:p>
              </p:txBody>
            </p:sp>
            <p:sp>
              <p:nvSpPr>
                <p:cNvPr id="113" name="Freeform 29">
                  <a:extLst>
                    <a:ext uri="{FF2B5EF4-FFF2-40B4-BE49-F238E27FC236}">
                      <a16:creationId xmlns:a16="http://schemas.microsoft.com/office/drawing/2014/main" id="{3DEB229A-51CD-4494-A794-DB9635DA7E77}"/>
                    </a:ext>
                  </a:extLst>
                </p:cNvPr>
                <p:cNvSpPr>
                  <a:spLocks noChangeArrowheads="1"/>
                </p:cNvSpPr>
                <p:nvPr/>
              </p:nvSpPr>
              <p:spPr bwMode="auto">
                <a:xfrm>
                  <a:off x="7961313" y="1709738"/>
                  <a:ext cx="1208087" cy="742950"/>
                </a:xfrm>
                <a:custGeom>
                  <a:avLst/>
                  <a:gdLst>
                    <a:gd name="T0" fmla="*/ 3356 w 3357"/>
                    <a:gd name="T1" fmla="*/ 2061 h 2062"/>
                    <a:gd name="T2" fmla="*/ 0 w 3357"/>
                    <a:gd name="T3" fmla="*/ 2061 h 2062"/>
                    <a:gd name="T4" fmla="*/ 0 w 3357"/>
                    <a:gd name="T5" fmla="*/ 0 h 2062"/>
                    <a:gd name="T6" fmla="*/ 3356 w 3357"/>
                    <a:gd name="T7" fmla="*/ 0 h 2062"/>
                    <a:gd name="T8" fmla="*/ 3356 w 3357"/>
                    <a:gd name="T9" fmla="*/ 2061 h 2062"/>
                  </a:gdLst>
                  <a:ahLst/>
                  <a:cxnLst>
                    <a:cxn ang="0">
                      <a:pos x="T0" y="T1"/>
                    </a:cxn>
                    <a:cxn ang="0">
                      <a:pos x="T2" y="T3"/>
                    </a:cxn>
                    <a:cxn ang="0">
                      <a:pos x="T4" y="T5"/>
                    </a:cxn>
                    <a:cxn ang="0">
                      <a:pos x="T6" y="T7"/>
                    </a:cxn>
                    <a:cxn ang="0">
                      <a:pos x="T8" y="T9"/>
                    </a:cxn>
                  </a:cxnLst>
                  <a:rect l="0" t="0" r="r" b="b"/>
                  <a:pathLst>
                    <a:path w="3357" h="2062">
                      <a:moveTo>
                        <a:pt x="3356" y="2061"/>
                      </a:moveTo>
                      <a:lnTo>
                        <a:pt x="0" y="2061"/>
                      </a:lnTo>
                      <a:lnTo>
                        <a:pt x="0" y="0"/>
                      </a:lnTo>
                      <a:lnTo>
                        <a:pt x="3356" y="0"/>
                      </a:lnTo>
                      <a:lnTo>
                        <a:pt x="3356" y="2061"/>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nl-NL" sz="1100" dirty="0"/>
                </a:p>
              </p:txBody>
            </p:sp>
          </p:grpSp>
          <p:pic>
            <p:nvPicPr>
              <p:cNvPr id="109" name="Graphic 108" descr="Monthly calendar with solid fill">
                <a:extLst>
                  <a:ext uri="{FF2B5EF4-FFF2-40B4-BE49-F238E27FC236}">
                    <a16:creationId xmlns:a16="http://schemas.microsoft.com/office/drawing/2014/main" id="{C8054A5D-B6B7-48AC-9AA4-DB3BBEDF7677}"/>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872700" y="3498707"/>
                <a:ext cx="324000" cy="324000"/>
              </a:xfrm>
              <a:prstGeom prst="rect">
                <a:avLst/>
              </a:prstGeom>
            </p:spPr>
          </p:pic>
        </p:grpSp>
      </p:grpSp>
      <p:sp>
        <p:nvSpPr>
          <p:cNvPr id="121" name="Rectangle 120">
            <a:extLst>
              <a:ext uri="{FF2B5EF4-FFF2-40B4-BE49-F238E27FC236}">
                <a16:creationId xmlns:a16="http://schemas.microsoft.com/office/drawing/2014/main" id="{DE9621BE-19E4-4D93-9B8A-3430ED02FF26}"/>
              </a:ext>
            </a:extLst>
          </p:cNvPr>
          <p:cNvSpPr/>
          <p:nvPr/>
        </p:nvSpPr>
        <p:spPr>
          <a:xfrm>
            <a:off x="818849" y="5856196"/>
            <a:ext cx="10456227" cy="260602"/>
          </a:xfrm>
          <a:prstGeom prst="rect">
            <a:avLst/>
          </a:prstGeom>
          <a:solidFill>
            <a:srgbClr val="FFE8BA">
              <a:alpha val="40000"/>
            </a:srgbClr>
          </a:solidFill>
          <a:ln w="9525">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t>Samenwerken in regionaal verband </a:t>
            </a:r>
            <a:r>
              <a:rPr lang="nl-NL" sz="1000"/>
              <a:t>en met OV</a:t>
            </a:r>
            <a:endParaRPr lang="nl-NL" sz="1000" dirty="0"/>
          </a:p>
        </p:txBody>
      </p:sp>
      <p:cxnSp>
        <p:nvCxnSpPr>
          <p:cNvPr id="9" name="Connector: Elbow 8">
            <a:extLst>
              <a:ext uri="{FF2B5EF4-FFF2-40B4-BE49-F238E27FC236}">
                <a16:creationId xmlns:a16="http://schemas.microsoft.com/office/drawing/2014/main" id="{6FD3D8CC-B67E-498F-8475-2FDD39C9C438}"/>
              </a:ext>
            </a:extLst>
          </p:cNvPr>
          <p:cNvCxnSpPr>
            <a:cxnSpLocks/>
          </p:cNvCxnSpPr>
          <p:nvPr/>
        </p:nvCxnSpPr>
        <p:spPr>
          <a:xfrm rot="16200000" flipH="1">
            <a:off x="1596201" y="3507257"/>
            <a:ext cx="396000" cy="806315"/>
          </a:xfrm>
          <a:prstGeom prst="bentConnector3">
            <a:avLst/>
          </a:prstGeom>
          <a:ln>
            <a:solidFill>
              <a:srgbClr val="22777B"/>
            </a:solidFill>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3AD2620A-5C81-4B7A-A1BE-F598F36BFA74}"/>
              </a:ext>
            </a:extLst>
          </p:cNvPr>
          <p:cNvCxnSpPr>
            <a:cxnSpLocks/>
            <a:stCxn id="130" idx="0"/>
            <a:endCxn id="141" idx="2"/>
          </p:cNvCxnSpPr>
          <p:nvPr/>
        </p:nvCxnSpPr>
        <p:spPr>
          <a:xfrm rot="5400000" flipH="1" flipV="1">
            <a:off x="3500315" y="1973504"/>
            <a:ext cx="175765" cy="1279074"/>
          </a:xfrm>
          <a:prstGeom prst="bentConnector3">
            <a:avLst>
              <a:gd name="adj1" fmla="val 50000"/>
            </a:avLst>
          </a:prstGeom>
          <a:ln>
            <a:solidFill>
              <a:srgbClr val="22777B"/>
            </a:solidFill>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50A237DE-4643-4146-96F3-6B52B4D50CA4}"/>
              </a:ext>
            </a:extLst>
          </p:cNvPr>
          <p:cNvCxnSpPr>
            <a:cxnSpLocks/>
          </p:cNvCxnSpPr>
          <p:nvPr/>
        </p:nvCxnSpPr>
        <p:spPr>
          <a:xfrm rot="16200000" flipV="1">
            <a:off x="4733752" y="3710970"/>
            <a:ext cx="396000" cy="850951"/>
          </a:xfrm>
          <a:prstGeom prst="bentConnector3">
            <a:avLst>
              <a:gd name="adj1" fmla="val 50000"/>
            </a:avLst>
          </a:prstGeom>
          <a:ln>
            <a:solidFill>
              <a:srgbClr val="22777B"/>
            </a:solidFill>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2144CDC2-108C-4514-BE6E-70169EA60F52}"/>
              </a:ext>
            </a:extLst>
          </p:cNvPr>
          <p:cNvCxnSpPr>
            <a:cxnSpLocks/>
            <a:stCxn id="210" idx="2"/>
          </p:cNvCxnSpPr>
          <p:nvPr/>
        </p:nvCxnSpPr>
        <p:spPr>
          <a:xfrm rot="16200000" flipH="1">
            <a:off x="7830330" y="3700909"/>
            <a:ext cx="396000" cy="813644"/>
          </a:xfrm>
          <a:prstGeom prst="bentConnector3">
            <a:avLst/>
          </a:prstGeom>
          <a:ln>
            <a:solidFill>
              <a:srgbClr val="22777B"/>
            </a:solidFill>
          </a:ln>
        </p:spPr>
        <p:style>
          <a:lnRef idx="1">
            <a:schemeClr val="accent1"/>
          </a:lnRef>
          <a:fillRef idx="0">
            <a:schemeClr val="accent1"/>
          </a:fillRef>
          <a:effectRef idx="0">
            <a:schemeClr val="accent1"/>
          </a:effectRef>
          <a:fontRef idx="minor">
            <a:schemeClr val="tx1"/>
          </a:fontRef>
        </p:style>
      </p:cxnSp>
      <p:cxnSp>
        <p:nvCxnSpPr>
          <p:cNvPr id="137" name="Connector: Elbow 136">
            <a:extLst>
              <a:ext uri="{FF2B5EF4-FFF2-40B4-BE49-F238E27FC236}">
                <a16:creationId xmlns:a16="http://schemas.microsoft.com/office/drawing/2014/main" id="{9A2BC71A-DD43-477D-82D6-F4AB89296B84}"/>
              </a:ext>
            </a:extLst>
          </p:cNvPr>
          <p:cNvCxnSpPr>
            <a:cxnSpLocks/>
          </p:cNvCxnSpPr>
          <p:nvPr/>
        </p:nvCxnSpPr>
        <p:spPr>
          <a:xfrm rot="5400000" flipH="1" flipV="1">
            <a:off x="8609138" y="3734920"/>
            <a:ext cx="396000" cy="743972"/>
          </a:xfrm>
          <a:prstGeom prst="bentConnector3">
            <a:avLst>
              <a:gd name="adj1" fmla="val 50000"/>
            </a:avLst>
          </a:prstGeom>
          <a:ln>
            <a:solidFill>
              <a:srgbClr val="22777B"/>
            </a:solidFill>
          </a:ln>
        </p:spPr>
        <p:style>
          <a:lnRef idx="1">
            <a:schemeClr val="accent1"/>
          </a:lnRef>
          <a:fillRef idx="0">
            <a:schemeClr val="accent1"/>
          </a:fillRef>
          <a:effectRef idx="0">
            <a:schemeClr val="accent1"/>
          </a:effectRef>
          <a:fontRef idx="minor">
            <a:schemeClr val="tx1"/>
          </a:fontRef>
        </p:style>
      </p:cxnSp>
      <p:grpSp>
        <p:nvGrpSpPr>
          <p:cNvPr id="181" name="Group 180">
            <a:extLst>
              <a:ext uri="{FF2B5EF4-FFF2-40B4-BE49-F238E27FC236}">
                <a16:creationId xmlns:a16="http://schemas.microsoft.com/office/drawing/2014/main" id="{FF9EE876-92EF-4DAF-B56C-80FC5039A001}"/>
              </a:ext>
            </a:extLst>
          </p:cNvPr>
          <p:cNvGrpSpPr/>
          <p:nvPr/>
        </p:nvGrpSpPr>
        <p:grpSpPr>
          <a:xfrm>
            <a:off x="2717564" y="2955204"/>
            <a:ext cx="431364" cy="431364"/>
            <a:chOff x="504852" y="1985560"/>
            <a:chExt cx="914400" cy="914400"/>
          </a:xfrm>
        </p:grpSpPr>
        <p:pic>
          <p:nvPicPr>
            <p:cNvPr id="182" name="Graphic 181" descr="Piggy Bank with solid fill">
              <a:extLst>
                <a:ext uri="{FF2B5EF4-FFF2-40B4-BE49-F238E27FC236}">
                  <a16:creationId xmlns:a16="http://schemas.microsoft.com/office/drawing/2014/main" id="{F20E75E9-6945-41F3-A5C4-A8372CB4021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4852" y="1985560"/>
              <a:ext cx="914400" cy="914400"/>
            </a:xfrm>
            <a:prstGeom prst="rect">
              <a:avLst/>
            </a:prstGeom>
          </p:spPr>
        </p:pic>
        <p:pic>
          <p:nvPicPr>
            <p:cNvPr id="183" name="Graphic 182" descr="Euro with solid fill">
              <a:extLst>
                <a:ext uri="{FF2B5EF4-FFF2-40B4-BE49-F238E27FC236}">
                  <a16:creationId xmlns:a16="http://schemas.microsoft.com/office/drawing/2014/main" id="{8ECE6673-FF86-40F8-A2C4-9B8F373D35F0}"/>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754881" y="2343603"/>
              <a:ext cx="297228" cy="297228"/>
            </a:xfrm>
            <a:prstGeom prst="rect">
              <a:avLst/>
            </a:prstGeom>
          </p:spPr>
        </p:pic>
      </p:grpSp>
      <p:pic>
        <p:nvPicPr>
          <p:cNvPr id="43" name="Graphic 42" descr="Handshake with solid fill">
            <a:extLst>
              <a:ext uri="{FF2B5EF4-FFF2-40B4-BE49-F238E27FC236}">
                <a16:creationId xmlns:a16="http://schemas.microsoft.com/office/drawing/2014/main" id="{4F9033E5-FEA8-4A40-A6BE-1B8325495B2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288186" y="3344306"/>
            <a:ext cx="589941" cy="589941"/>
          </a:xfrm>
          <a:prstGeom prst="rect">
            <a:avLst/>
          </a:prstGeom>
        </p:spPr>
      </p:pic>
      <p:pic>
        <p:nvPicPr>
          <p:cNvPr id="45" name="Graphic 44" descr="Checkbox Checked with solid fill">
            <a:extLst>
              <a:ext uri="{FF2B5EF4-FFF2-40B4-BE49-F238E27FC236}">
                <a16:creationId xmlns:a16="http://schemas.microsoft.com/office/drawing/2014/main" id="{4B55A81A-84EA-4EDF-9F80-7D4C13E3F8A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798287" y="3050611"/>
            <a:ext cx="531210" cy="531210"/>
          </a:xfrm>
          <a:prstGeom prst="rect">
            <a:avLst/>
          </a:prstGeom>
        </p:spPr>
      </p:pic>
      <p:pic>
        <p:nvPicPr>
          <p:cNvPr id="49" name="Graphic 48" descr="Stopwatch 75% with solid fill">
            <a:extLst>
              <a:ext uri="{FF2B5EF4-FFF2-40B4-BE49-F238E27FC236}">
                <a16:creationId xmlns:a16="http://schemas.microsoft.com/office/drawing/2014/main" id="{6BFA44C1-80D3-4E75-8BD9-5871D901623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966705" y="3424782"/>
            <a:ext cx="424838" cy="424838"/>
          </a:xfrm>
          <a:prstGeom prst="rect">
            <a:avLst/>
          </a:prstGeom>
        </p:spPr>
      </p:pic>
      <p:pic>
        <p:nvPicPr>
          <p:cNvPr id="51" name="Graphic 50" descr="Bus with solid fill">
            <a:extLst>
              <a:ext uri="{FF2B5EF4-FFF2-40B4-BE49-F238E27FC236}">
                <a16:creationId xmlns:a16="http://schemas.microsoft.com/office/drawing/2014/main" id="{A6B73550-CC6E-4ECD-9584-98A5081F0C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06669" y="3100535"/>
            <a:ext cx="460141" cy="460141"/>
          </a:xfrm>
          <a:prstGeom prst="rect">
            <a:avLst/>
          </a:prstGeom>
        </p:spPr>
      </p:pic>
      <p:sp>
        <p:nvSpPr>
          <p:cNvPr id="66" name="Content Placeholder 1">
            <a:extLst>
              <a:ext uri="{FF2B5EF4-FFF2-40B4-BE49-F238E27FC236}">
                <a16:creationId xmlns:a16="http://schemas.microsoft.com/office/drawing/2014/main" id="{E77E1D65-D96F-428A-ABDB-1AB031C37F09}"/>
              </a:ext>
            </a:extLst>
          </p:cNvPr>
          <p:cNvSpPr txBox="1">
            <a:spLocks/>
          </p:cNvSpPr>
          <p:nvPr/>
        </p:nvSpPr>
        <p:spPr>
          <a:xfrm>
            <a:off x="5343892" y="1601689"/>
            <a:ext cx="6102000" cy="306000"/>
          </a:xfrm>
          <a:prstGeom prst="rect">
            <a:avLst/>
          </a:prstGeom>
          <a:noFill/>
          <a:ln w="9525">
            <a:noFill/>
          </a:ln>
          <a:extLst>
            <a:ext uri="{909E8E84-426E-40DD-AFC4-6F175D3DCCD1}">
              <a14:hiddenFill xmlns:a14="http://schemas.microsoft.com/office/drawing/2010/main">
                <a:solidFill>
                  <a:srgbClr val="68ABB0"/>
                </a:solidFill>
              </a14:hiddenFill>
            </a:ext>
            <a:ext uri="{91240B29-F687-4F45-9708-019B960494DF}">
              <a14:hiddenLine xmlns:a14="http://schemas.microsoft.com/office/drawing/2010/main" w="9525">
                <a:solidFill>
                  <a:srgbClr val="22777B"/>
                </a:solidFill>
              </a14:hiddenLine>
            </a:ext>
          </a:extLst>
        </p:spPr>
        <p:txBody>
          <a:bodyPr vert="horz" lIns="72000" tIns="72000" rIns="72000" bIns="72000" rtlCol="0" anchor="ctr">
            <a:normAutofit/>
          </a:bodyPr>
          <a:lstStyle>
            <a:defPPr>
              <a:defRPr lang="nl-NL"/>
            </a:defPPr>
            <a:lvl1pPr marL="0" indent="0" algn="ctr">
              <a:buNone/>
              <a:defRPr sz="1000" b="1">
                <a:solidFill>
                  <a:srgbClr val="FFFFFF"/>
                </a:solidFill>
              </a:defRPr>
            </a:lvl1pPr>
            <a:lvl2pPr>
              <a:defRPr>
                <a:solidFill>
                  <a:schemeClr val="tx1"/>
                </a:solidFill>
              </a:defRPr>
            </a:lvl2pPr>
            <a:lvl3pPr>
              <a:defRPr>
                <a:solidFill>
                  <a:schemeClr val="tx1"/>
                </a:solidFill>
              </a:defRPr>
            </a:lvl3pPr>
            <a:lvl4pPr>
              <a:defRPr>
                <a:solidFill>
                  <a:schemeClr val="tx1"/>
                </a:solidFill>
              </a:defRPr>
            </a:lvl4pPr>
            <a:lvl5pPr marL="900000" indent="-180000" eaLnBrk="1" hangingPunct="1">
              <a:buClr>
                <a:schemeClr val="tx2"/>
              </a:buClr>
              <a:buFont typeface="Corbel" panose="020B0503020204020204" pitchFamily="34" charset="0"/>
              <a:buChar char="-"/>
              <a:defRPr sz="1400"/>
            </a:lvl5pPr>
          </a:lstStyle>
          <a:p>
            <a:r>
              <a:rPr lang="nl-NL" dirty="0">
                <a:solidFill>
                  <a:srgbClr val="000000"/>
                </a:solidFill>
              </a:rPr>
              <a:t>Vervoer</a:t>
            </a:r>
          </a:p>
        </p:txBody>
      </p:sp>
      <p:cxnSp>
        <p:nvCxnSpPr>
          <p:cNvPr id="67" name="Straight Connector 66">
            <a:extLst>
              <a:ext uri="{FF2B5EF4-FFF2-40B4-BE49-F238E27FC236}">
                <a16:creationId xmlns:a16="http://schemas.microsoft.com/office/drawing/2014/main" id="{63ED91F2-0795-4790-88CC-F83D4DAC8DE2}"/>
              </a:ext>
            </a:extLst>
          </p:cNvPr>
          <p:cNvCxnSpPr>
            <a:cxnSpLocks/>
          </p:cNvCxnSpPr>
          <p:nvPr/>
        </p:nvCxnSpPr>
        <p:spPr>
          <a:xfrm>
            <a:off x="5343892" y="1907689"/>
            <a:ext cx="6120000" cy="0"/>
          </a:xfrm>
          <a:prstGeom prst="line">
            <a:avLst/>
          </a:prstGeom>
          <a:noFill/>
          <a:ln w="19050" cap="flat" cmpd="sng" algn="ctr">
            <a:solidFill>
              <a:schemeClr val="tx1"/>
            </a:solidFill>
            <a:prstDash val="solid"/>
          </a:ln>
          <a:effectLst/>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cxnSp>
      <p:sp>
        <p:nvSpPr>
          <p:cNvPr id="68" name="Content Placeholder 1">
            <a:extLst>
              <a:ext uri="{FF2B5EF4-FFF2-40B4-BE49-F238E27FC236}">
                <a16:creationId xmlns:a16="http://schemas.microsoft.com/office/drawing/2014/main" id="{4F85BBA3-6015-403C-BD1A-A6FDC3B2D08A}"/>
              </a:ext>
            </a:extLst>
          </p:cNvPr>
          <p:cNvSpPr txBox="1">
            <a:spLocks/>
          </p:cNvSpPr>
          <p:nvPr/>
        </p:nvSpPr>
        <p:spPr>
          <a:xfrm>
            <a:off x="671044" y="1601689"/>
            <a:ext cx="4554000" cy="306000"/>
          </a:xfrm>
          <a:prstGeom prst="rect">
            <a:avLst/>
          </a:prstGeom>
          <a:noFill/>
          <a:ln w="9525">
            <a:noFill/>
          </a:ln>
          <a:extLst>
            <a:ext uri="{909E8E84-426E-40DD-AFC4-6F175D3DCCD1}">
              <a14:hiddenFill xmlns:a14="http://schemas.microsoft.com/office/drawing/2010/main">
                <a:solidFill>
                  <a:srgbClr val="68ABB0"/>
                </a:solidFill>
              </a14:hiddenFill>
            </a:ext>
            <a:ext uri="{91240B29-F687-4F45-9708-019B960494DF}">
              <a14:hiddenLine xmlns:a14="http://schemas.microsoft.com/office/drawing/2010/main" w="9525">
                <a:solidFill>
                  <a:srgbClr val="22777B"/>
                </a:solidFill>
              </a14:hiddenLine>
            </a:ext>
          </a:extLst>
        </p:spPr>
        <p:txBody>
          <a:bodyPr vert="horz" lIns="72000" tIns="72000" rIns="72000" bIns="72000" rtlCol="0" anchor="ctr">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r>
              <a:rPr lang="nl-NL" sz="1000" b="1" dirty="0"/>
              <a:t>Beleid en inkoop</a:t>
            </a:r>
            <a:endParaRPr lang="nl-NL" sz="1000" dirty="0"/>
          </a:p>
        </p:txBody>
      </p:sp>
      <p:cxnSp>
        <p:nvCxnSpPr>
          <p:cNvPr id="69" name="Straight Connector 68">
            <a:extLst>
              <a:ext uri="{FF2B5EF4-FFF2-40B4-BE49-F238E27FC236}">
                <a16:creationId xmlns:a16="http://schemas.microsoft.com/office/drawing/2014/main" id="{E3D0B2DA-66C0-4681-BD7E-1EE027BD9117}"/>
              </a:ext>
            </a:extLst>
          </p:cNvPr>
          <p:cNvCxnSpPr>
            <a:cxnSpLocks/>
          </p:cNvCxnSpPr>
          <p:nvPr/>
        </p:nvCxnSpPr>
        <p:spPr>
          <a:xfrm>
            <a:off x="672276" y="1907689"/>
            <a:ext cx="4554000" cy="0"/>
          </a:xfrm>
          <a:prstGeom prst="line">
            <a:avLst/>
          </a:prstGeom>
          <a:noFill/>
          <a:ln w="19050" cap="flat" cmpd="sng" algn="ctr">
            <a:solidFill>
              <a:schemeClr val="tx1"/>
            </a:solidFill>
            <a:prstDash val="solid"/>
          </a:ln>
          <a:effectLst/>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5D26111C-CF7F-436D-A061-FB227D69F240}"/>
              </a:ext>
            </a:extLst>
          </p:cNvPr>
          <p:cNvSpPr/>
          <p:nvPr/>
        </p:nvSpPr>
        <p:spPr>
          <a:xfrm>
            <a:off x="861802" y="4225828"/>
            <a:ext cx="2844000" cy="259200"/>
          </a:xfrm>
          <a:prstGeom prst="rect">
            <a:avLst/>
          </a:prstGeom>
          <a:solidFill>
            <a:srgbClr val="FFE8BA">
              <a:alpha val="40000"/>
            </a:srgbClr>
          </a:solidFill>
          <a:ln w="9525">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lang="nl-NL" sz="1000" dirty="0"/>
              <a:t>Limiteren van doelgroepen en gebruik </a:t>
            </a:r>
          </a:p>
        </p:txBody>
      </p:sp>
      <p:sp>
        <p:nvSpPr>
          <p:cNvPr id="5" name="Rectangle 4">
            <a:extLst>
              <a:ext uri="{FF2B5EF4-FFF2-40B4-BE49-F238E27FC236}">
                <a16:creationId xmlns:a16="http://schemas.microsoft.com/office/drawing/2014/main" id="{495BFFE4-1D93-4407-8608-4595BCC3F9DB}"/>
              </a:ext>
            </a:extLst>
          </p:cNvPr>
          <p:cNvSpPr/>
          <p:nvPr/>
        </p:nvSpPr>
        <p:spPr>
          <a:xfrm>
            <a:off x="688915" y="4225828"/>
            <a:ext cx="212400" cy="259200"/>
          </a:xfrm>
          <a:prstGeom prst="rect">
            <a:avLst/>
          </a:prstGeom>
          <a:solidFill>
            <a:srgbClr val="EC6224"/>
          </a:solidFill>
          <a:ln>
            <a:solidFill>
              <a:srgbClr val="EC6224"/>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a:t>
            </a:r>
          </a:p>
        </p:txBody>
      </p:sp>
      <p:sp>
        <p:nvSpPr>
          <p:cNvPr id="125" name="Rectangle 124">
            <a:extLst>
              <a:ext uri="{FF2B5EF4-FFF2-40B4-BE49-F238E27FC236}">
                <a16:creationId xmlns:a16="http://schemas.microsoft.com/office/drawing/2014/main" id="{A2E059C1-D04A-4571-8D11-E8EDE816489D}"/>
              </a:ext>
            </a:extLst>
          </p:cNvPr>
          <p:cNvSpPr/>
          <p:nvPr/>
        </p:nvSpPr>
        <p:spPr>
          <a:xfrm>
            <a:off x="869901" y="4549823"/>
            <a:ext cx="2844000" cy="260602"/>
          </a:xfrm>
          <a:prstGeom prst="rect">
            <a:avLst/>
          </a:prstGeom>
          <a:solidFill>
            <a:srgbClr val="FFE8BA">
              <a:alpha val="40000"/>
            </a:srgbClr>
          </a:solidFill>
          <a:ln w="9525">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lang="nl-NL" sz="1000" dirty="0"/>
              <a:t>Stimuleren en integreren met OV</a:t>
            </a:r>
          </a:p>
        </p:txBody>
      </p:sp>
      <p:sp>
        <p:nvSpPr>
          <p:cNvPr id="70" name="Rectangle 69">
            <a:extLst>
              <a:ext uri="{FF2B5EF4-FFF2-40B4-BE49-F238E27FC236}">
                <a16:creationId xmlns:a16="http://schemas.microsoft.com/office/drawing/2014/main" id="{91D5FA40-97BF-4726-BAD5-F09C01BCE729}"/>
              </a:ext>
            </a:extLst>
          </p:cNvPr>
          <p:cNvSpPr/>
          <p:nvPr/>
        </p:nvSpPr>
        <p:spPr>
          <a:xfrm>
            <a:off x="680815" y="4549823"/>
            <a:ext cx="212400" cy="259200"/>
          </a:xfrm>
          <a:prstGeom prst="rect">
            <a:avLst/>
          </a:prstGeom>
          <a:solidFill>
            <a:srgbClr val="EC6224"/>
          </a:solidFill>
          <a:ln>
            <a:solidFill>
              <a:srgbClr val="EC6224"/>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2</a:t>
            </a:r>
          </a:p>
        </p:txBody>
      </p:sp>
      <p:sp>
        <p:nvSpPr>
          <p:cNvPr id="122" name="Rectangle 121">
            <a:extLst>
              <a:ext uri="{FF2B5EF4-FFF2-40B4-BE49-F238E27FC236}">
                <a16:creationId xmlns:a16="http://schemas.microsoft.com/office/drawing/2014/main" id="{553F5E2A-D560-4048-BA0B-DB9DA991649C}"/>
              </a:ext>
            </a:extLst>
          </p:cNvPr>
          <p:cNvSpPr/>
          <p:nvPr/>
        </p:nvSpPr>
        <p:spPr>
          <a:xfrm>
            <a:off x="869901" y="4875219"/>
            <a:ext cx="2844000" cy="260602"/>
          </a:xfrm>
          <a:prstGeom prst="rect">
            <a:avLst/>
          </a:prstGeom>
          <a:solidFill>
            <a:srgbClr val="FFE8BA">
              <a:alpha val="40000"/>
            </a:srgbClr>
          </a:solidFill>
          <a:ln w="9525">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lang="nl-NL" sz="1000" dirty="0"/>
              <a:t>Ontwikkelen alternatief aanbod (fijnmazig) vervoer </a:t>
            </a:r>
          </a:p>
        </p:txBody>
      </p:sp>
      <p:sp>
        <p:nvSpPr>
          <p:cNvPr id="71" name="Rectangle 70">
            <a:extLst>
              <a:ext uri="{FF2B5EF4-FFF2-40B4-BE49-F238E27FC236}">
                <a16:creationId xmlns:a16="http://schemas.microsoft.com/office/drawing/2014/main" id="{8E4C18FA-2C74-42E8-A852-3D311C2AAF19}"/>
              </a:ext>
            </a:extLst>
          </p:cNvPr>
          <p:cNvSpPr/>
          <p:nvPr/>
        </p:nvSpPr>
        <p:spPr>
          <a:xfrm>
            <a:off x="680815" y="4876621"/>
            <a:ext cx="212400" cy="259200"/>
          </a:xfrm>
          <a:prstGeom prst="rect">
            <a:avLst/>
          </a:prstGeom>
          <a:solidFill>
            <a:srgbClr val="EC6224"/>
          </a:solidFill>
          <a:ln>
            <a:solidFill>
              <a:srgbClr val="EC6224"/>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b="1" dirty="0">
                <a:solidFill>
                  <a:srgbClr val="FFFFFF"/>
                </a:solidFill>
              </a:rPr>
              <a:t>3</a:t>
            </a:r>
            <a:endPar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74" name="Rectangle 73">
            <a:extLst>
              <a:ext uri="{FF2B5EF4-FFF2-40B4-BE49-F238E27FC236}">
                <a16:creationId xmlns:a16="http://schemas.microsoft.com/office/drawing/2014/main" id="{74CD772B-0501-495A-B308-0F3823D02CDF}"/>
              </a:ext>
            </a:extLst>
          </p:cNvPr>
          <p:cNvSpPr/>
          <p:nvPr/>
        </p:nvSpPr>
        <p:spPr>
          <a:xfrm>
            <a:off x="818849" y="5856196"/>
            <a:ext cx="212400" cy="259200"/>
          </a:xfrm>
          <a:prstGeom prst="rect">
            <a:avLst/>
          </a:prstGeom>
          <a:solidFill>
            <a:srgbClr val="EC6224"/>
          </a:solidFill>
          <a:ln>
            <a:solidFill>
              <a:srgbClr val="EC6224"/>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8</a:t>
            </a:r>
          </a:p>
        </p:txBody>
      </p:sp>
      <p:sp>
        <p:nvSpPr>
          <p:cNvPr id="76" name="Rectangle 75">
            <a:extLst>
              <a:ext uri="{FF2B5EF4-FFF2-40B4-BE49-F238E27FC236}">
                <a16:creationId xmlns:a16="http://schemas.microsoft.com/office/drawing/2014/main" id="{FD5B1261-B35D-4996-89DB-E80532F8A85E}"/>
              </a:ext>
            </a:extLst>
          </p:cNvPr>
          <p:cNvSpPr/>
          <p:nvPr/>
        </p:nvSpPr>
        <p:spPr>
          <a:xfrm>
            <a:off x="2890451" y="2187749"/>
            <a:ext cx="2844000" cy="259200"/>
          </a:xfrm>
          <a:prstGeom prst="rect">
            <a:avLst/>
          </a:prstGeom>
          <a:solidFill>
            <a:srgbClr val="FFE8BA">
              <a:alpha val="40000"/>
            </a:srgbClr>
          </a:solidFill>
          <a:ln w="9525">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lang="nl-NL" sz="1000" dirty="0"/>
              <a:t>Integreren van voorzieningen in één contract</a:t>
            </a:r>
          </a:p>
        </p:txBody>
      </p:sp>
      <p:sp>
        <p:nvSpPr>
          <p:cNvPr id="77" name="Rectangle 76">
            <a:extLst>
              <a:ext uri="{FF2B5EF4-FFF2-40B4-BE49-F238E27FC236}">
                <a16:creationId xmlns:a16="http://schemas.microsoft.com/office/drawing/2014/main" id="{8E7C3B0D-EB7A-46E1-A5E1-A5A41132F7B1}"/>
              </a:ext>
            </a:extLst>
          </p:cNvPr>
          <p:cNvSpPr/>
          <p:nvPr/>
        </p:nvSpPr>
        <p:spPr>
          <a:xfrm>
            <a:off x="2717564" y="2187749"/>
            <a:ext cx="212400" cy="259200"/>
          </a:xfrm>
          <a:prstGeom prst="rect">
            <a:avLst/>
          </a:prstGeom>
          <a:solidFill>
            <a:srgbClr val="EC6224"/>
          </a:solidFill>
          <a:ln>
            <a:solidFill>
              <a:srgbClr val="EC6224"/>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4</a:t>
            </a:r>
          </a:p>
        </p:txBody>
      </p:sp>
      <p:sp>
        <p:nvSpPr>
          <p:cNvPr id="79" name="Rectangle 78">
            <a:extLst>
              <a:ext uri="{FF2B5EF4-FFF2-40B4-BE49-F238E27FC236}">
                <a16:creationId xmlns:a16="http://schemas.microsoft.com/office/drawing/2014/main" id="{1D7AD121-5197-4075-A51C-0DE70850462D}"/>
              </a:ext>
            </a:extLst>
          </p:cNvPr>
          <p:cNvSpPr/>
          <p:nvPr/>
        </p:nvSpPr>
        <p:spPr>
          <a:xfrm>
            <a:off x="3935227" y="4430702"/>
            <a:ext cx="2844000" cy="259200"/>
          </a:xfrm>
          <a:prstGeom prst="rect">
            <a:avLst/>
          </a:prstGeom>
          <a:solidFill>
            <a:srgbClr val="FFE8BA">
              <a:alpha val="40000"/>
            </a:srgbClr>
          </a:solidFill>
          <a:ln w="9525">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lang="nl-NL" sz="1000" dirty="0"/>
              <a:t>Opzetten data-analyse en -monitoring</a:t>
            </a:r>
          </a:p>
        </p:txBody>
      </p:sp>
      <p:sp>
        <p:nvSpPr>
          <p:cNvPr id="80" name="Rectangle 79">
            <a:extLst>
              <a:ext uri="{FF2B5EF4-FFF2-40B4-BE49-F238E27FC236}">
                <a16:creationId xmlns:a16="http://schemas.microsoft.com/office/drawing/2014/main" id="{44E2BF15-1683-43E1-9886-75B232329F73}"/>
              </a:ext>
            </a:extLst>
          </p:cNvPr>
          <p:cNvSpPr/>
          <p:nvPr/>
        </p:nvSpPr>
        <p:spPr>
          <a:xfrm>
            <a:off x="3762340" y="4430702"/>
            <a:ext cx="212400" cy="259200"/>
          </a:xfrm>
          <a:prstGeom prst="rect">
            <a:avLst/>
          </a:prstGeom>
          <a:solidFill>
            <a:srgbClr val="EC6224"/>
          </a:solidFill>
          <a:ln>
            <a:solidFill>
              <a:srgbClr val="EC6224"/>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b="1" dirty="0">
                <a:solidFill>
                  <a:srgbClr val="FFFFFF"/>
                </a:solidFill>
              </a:rPr>
              <a:t>5</a:t>
            </a:r>
            <a:endPar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86" name="Rectangle 85">
            <a:extLst>
              <a:ext uri="{FF2B5EF4-FFF2-40B4-BE49-F238E27FC236}">
                <a16:creationId xmlns:a16="http://schemas.microsoft.com/office/drawing/2014/main" id="{331C563B-B8CE-489E-8D03-3BBE113830D3}"/>
              </a:ext>
            </a:extLst>
          </p:cNvPr>
          <p:cNvSpPr/>
          <p:nvPr/>
        </p:nvSpPr>
        <p:spPr>
          <a:xfrm>
            <a:off x="7080324" y="4391881"/>
            <a:ext cx="2844000" cy="259200"/>
          </a:xfrm>
          <a:prstGeom prst="rect">
            <a:avLst/>
          </a:prstGeom>
          <a:solidFill>
            <a:srgbClr val="FFE8BA">
              <a:alpha val="40000"/>
            </a:srgbClr>
          </a:solidFill>
          <a:ln w="9525">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lang="nl-NL" sz="1000" dirty="0"/>
              <a:t>Regiecentrale als slim zenuwcentrum</a:t>
            </a:r>
          </a:p>
        </p:txBody>
      </p:sp>
      <p:sp>
        <p:nvSpPr>
          <p:cNvPr id="87" name="Rectangle 86">
            <a:extLst>
              <a:ext uri="{FF2B5EF4-FFF2-40B4-BE49-F238E27FC236}">
                <a16:creationId xmlns:a16="http://schemas.microsoft.com/office/drawing/2014/main" id="{0A7609D1-8641-45B4-9D77-1DBFAE9B6C21}"/>
              </a:ext>
            </a:extLst>
          </p:cNvPr>
          <p:cNvSpPr/>
          <p:nvPr/>
        </p:nvSpPr>
        <p:spPr>
          <a:xfrm>
            <a:off x="6907437" y="4391881"/>
            <a:ext cx="212400" cy="259200"/>
          </a:xfrm>
          <a:prstGeom prst="rect">
            <a:avLst/>
          </a:prstGeom>
          <a:solidFill>
            <a:srgbClr val="EC6224"/>
          </a:solidFill>
          <a:ln>
            <a:solidFill>
              <a:srgbClr val="EC6224"/>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b="1" dirty="0">
                <a:solidFill>
                  <a:srgbClr val="FFFFFF"/>
                </a:solidFill>
              </a:rPr>
              <a:t>6</a:t>
            </a:r>
            <a:endPar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148F933C-96DE-46E7-854A-5D1746D0ED9B}"/>
              </a:ext>
            </a:extLst>
          </p:cNvPr>
          <p:cNvSpPr/>
          <p:nvPr/>
        </p:nvSpPr>
        <p:spPr>
          <a:xfrm>
            <a:off x="7088423" y="4715876"/>
            <a:ext cx="2844000" cy="260602"/>
          </a:xfrm>
          <a:prstGeom prst="rect">
            <a:avLst/>
          </a:prstGeom>
          <a:solidFill>
            <a:srgbClr val="FFE8BA">
              <a:alpha val="40000"/>
            </a:srgbClr>
          </a:solidFill>
          <a:ln w="9525">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lang="nl-NL" sz="1000" dirty="0"/>
              <a:t>MaaS: integreren boeking en planning</a:t>
            </a:r>
          </a:p>
        </p:txBody>
      </p:sp>
      <p:sp>
        <p:nvSpPr>
          <p:cNvPr id="90" name="Rectangle 89">
            <a:extLst>
              <a:ext uri="{FF2B5EF4-FFF2-40B4-BE49-F238E27FC236}">
                <a16:creationId xmlns:a16="http://schemas.microsoft.com/office/drawing/2014/main" id="{DBA81DC1-B183-4715-BE79-CB9E11553B7D}"/>
              </a:ext>
            </a:extLst>
          </p:cNvPr>
          <p:cNvSpPr/>
          <p:nvPr/>
        </p:nvSpPr>
        <p:spPr>
          <a:xfrm>
            <a:off x="6899337" y="4715876"/>
            <a:ext cx="212400" cy="259200"/>
          </a:xfrm>
          <a:prstGeom prst="rect">
            <a:avLst/>
          </a:prstGeom>
          <a:solidFill>
            <a:srgbClr val="EC6224"/>
          </a:solidFill>
          <a:ln>
            <a:solidFill>
              <a:srgbClr val="EC6224"/>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7</a:t>
            </a:r>
          </a:p>
        </p:txBody>
      </p:sp>
    </p:spTree>
    <p:extLst>
      <p:ext uri="{BB962C8B-B14F-4D97-AF65-F5344CB8AC3E}">
        <p14:creationId xmlns:p14="http://schemas.microsoft.com/office/powerpoint/2010/main" val="38663528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A7E2A55-853B-47A9-A999-76B509545684}"/>
              </a:ext>
            </a:extLst>
          </p:cNvPr>
          <p:cNvGraphicFramePr>
            <a:graphicFrameLocks noChangeAspect="1"/>
          </p:cNvGraphicFramePr>
          <p:nvPr>
            <p:custDataLst>
              <p:tags r:id="rId2"/>
            </p:custDataLst>
            <p:extLst>
              <p:ext uri="{D42A27DB-BD31-4B8C-83A1-F6EECF244321}">
                <p14:modId xmlns:p14="http://schemas.microsoft.com/office/powerpoint/2010/main" val="1384486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2" name="think-cell Slide" r:id="rId30" imgW="425" imgH="424" progId="TCLayout.ActiveDocument.1">
                  <p:embed/>
                </p:oleObj>
              </mc:Choice>
              <mc:Fallback>
                <p:oleObj name="think-cell Slide" r:id="rId30" imgW="425" imgH="424" progId="TCLayout.ActiveDocument.1">
                  <p:embed/>
                  <p:pic>
                    <p:nvPicPr>
                      <p:cNvPr id="10" name="Object 9" hidden="1">
                        <a:extLst>
                          <a:ext uri="{FF2B5EF4-FFF2-40B4-BE49-F238E27FC236}">
                            <a16:creationId xmlns:a16="http://schemas.microsoft.com/office/drawing/2014/main" id="{DA7E2A55-853B-47A9-A999-76B509545684}"/>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45" name="Rectangle 244">
            <a:extLst>
              <a:ext uri="{FF2B5EF4-FFF2-40B4-BE49-F238E27FC236}">
                <a16:creationId xmlns:a16="http://schemas.microsoft.com/office/drawing/2014/main" id="{B50525D6-C11F-4830-9C54-E38C6017E1B5}"/>
              </a:ext>
            </a:extLst>
          </p:cNvPr>
          <p:cNvSpPr/>
          <p:nvPr/>
        </p:nvSpPr>
        <p:spPr>
          <a:xfrm>
            <a:off x="662779" y="1665127"/>
            <a:ext cx="3479007" cy="4643598"/>
          </a:xfrm>
          <a:prstGeom prst="rect">
            <a:avLst/>
          </a:prstGeom>
          <a:solidFill>
            <a:schemeClr val="accent6">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44" name="Title 7">
            <a:extLst>
              <a:ext uri="{FF2B5EF4-FFF2-40B4-BE49-F238E27FC236}">
                <a16:creationId xmlns:a16="http://schemas.microsoft.com/office/drawing/2014/main" id="{CBFD3BB9-1036-4C3D-8E0A-0A288E5A500E}"/>
              </a:ext>
            </a:extLst>
          </p:cNvPr>
          <p:cNvSpPr txBox="1">
            <a:spLocks/>
          </p:cNvSpPr>
          <p:nvPr/>
        </p:nvSpPr>
        <p:spPr>
          <a:xfrm>
            <a:off x="-1" y="265387"/>
            <a:ext cx="12192001" cy="942979"/>
          </a:xfrm>
          <a:prstGeom prst="rect">
            <a:avLst/>
          </a:prstGeom>
          <a:solidFill>
            <a:srgbClr val="22777B"/>
          </a:solidFill>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a:solidFill>
                  <a:schemeClr val="tx2"/>
                </a:solidFill>
                <a:latin typeface="Corbel" panose="020B0503020204020204" pitchFamily="34" charset="0"/>
                <a:ea typeface="+mj-ea"/>
                <a:cs typeface="+mj-cs"/>
              </a:defRPr>
            </a:lvl1pPr>
          </a:lstStyle>
          <a:p>
            <a:pPr marL="0" indent="0">
              <a:buClrTx/>
              <a:buFontTx/>
            </a:pPr>
            <a:r>
              <a:rPr lang="nl-NL" dirty="0">
                <a:solidFill>
                  <a:srgbClr val="000000"/>
                </a:solidFill>
              </a:rPr>
              <a:t>	</a:t>
            </a:r>
          </a:p>
        </p:txBody>
      </p:sp>
      <p:sp>
        <p:nvSpPr>
          <p:cNvPr id="84" name="Rectangle 83">
            <a:extLst>
              <a:ext uri="{FF2B5EF4-FFF2-40B4-BE49-F238E27FC236}">
                <a16:creationId xmlns:a16="http://schemas.microsoft.com/office/drawing/2014/main" id="{A1BD0942-A641-4B94-B25F-C3CA16A90D70}"/>
              </a:ext>
            </a:extLst>
          </p:cNvPr>
          <p:cNvSpPr/>
          <p:nvPr/>
        </p:nvSpPr>
        <p:spPr>
          <a:xfrm>
            <a:off x="651593" y="1898011"/>
            <a:ext cx="5433219" cy="1483317"/>
          </a:xfrm>
          <a:prstGeom prst="rect">
            <a:avLst/>
          </a:prstGeom>
          <a:noFill/>
          <a:ln>
            <a:noFill/>
          </a:ln>
          <a:extLst>
            <a:ext uri="{909E8E84-426E-40DD-AFC4-6F175D3DCCD1}">
              <a14:hiddenFill xmlns:a14="http://schemas.microsoft.com/office/drawing/2010/main">
                <a:solidFill>
                  <a:srgbClr val="95C5C9"/>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6" name="Slide Number Placeholder 5">
            <a:extLst>
              <a:ext uri="{FF2B5EF4-FFF2-40B4-BE49-F238E27FC236}">
                <a16:creationId xmlns:a16="http://schemas.microsoft.com/office/drawing/2014/main" id="{EA5B4AF5-72CF-4819-8135-F522810EB50A}"/>
              </a:ext>
            </a:extLst>
          </p:cNvPr>
          <p:cNvSpPr>
            <a:spLocks noGrp="1"/>
          </p:cNvSpPr>
          <p:nvPr>
            <p:ph type="sldNum" sz="quarter" idx="12"/>
          </p:nvPr>
        </p:nvSpPr>
        <p:spPr/>
        <p:txBody>
          <a:bodyPr/>
          <a:lstStyle/>
          <a:p>
            <a:fld id="{992CD0B2-8AB2-4C6C-8876-E15753662C9B}" type="slidenum">
              <a:rPr lang="nl-NL" smtClean="0"/>
              <a:pPr/>
              <a:t>14</a:t>
            </a:fld>
            <a:endParaRPr lang="nl-NL" dirty="0"/>
          </a:p>
        </p:txBody>
      </p:sp>
      <p:sp>
        <p:nvSpPr>
          <p:cNvPr id="47" name="TextBox 46">
            <a:extLst>
              <a:ext uri="{FF2B5EF4-FFF2-40B4-BE49-F238E27FC236}">
                <a16:creationId xmlns:a16="http://schemas.microsoft.com/office/drawing/2014/main" id="{4716077D-F49C-442C-BDB1-5D321EBE6829}"/>
              </a:ext>
            </a:extLst>
          </p:cNvPr>
          <p:cNvSpPr txBox="1"/>
          <p:nvPr/>
        </p:nvSpPr>
        <p:spPr>
          <a:xfrm>
            <a:off x="658813" y="274425"/>
            <a:ext cx="6724448" cy="230832"/>
          </a:xfrm>
          <a:prstGeom prst="rect">
            <a:avLst/>
          </a:prstGeom>
          <a:noFill/>
        </p:spPr>
        <p:txBody>
          <a:bodyPr wrap="square">
            <a:spAutoFit/>
          </a:bodyPr>
          <a:lstStyle/>
          <a:p>
            <a:pPr marL="0" indent="0">
              <a:buNone/>
            </a:pPr>
            <a:r>
              <a:rPr lang="nl-NL" sz="1000" b="1" dirty="0">
                <a:solidFill>
                  <a:srgbClr val="FFFFFF"/>
                </a:solidFill>
              </a:rPr>
              <a:t>Limiteren van doelgroepen en gebruik</a:t>
            </a:r>
          </a:p>
        </p:txBody>
      </p:sp>
      <p:sp>
        <p:nvSpPr>
          <p:cNvPr id="48" name="TextBox 47">
            <a:extLst>
              <a:ext uri="{FF2B5EF4-FFF2-40B4-BE49-F238E27FC236}">
                <a16:creationId xmlns:a16="http://schemas.microsoft.com/office/drawing/2014/main" id="{4B8BE3FC-F351-4532-B8C6-69DA96834DD2}"/>
              </a:ext>
            </a:extLst>
          </p:cNvPr>
          <p:cNvSpPr txBox="1"/>
          <p:nvPr/>
        </p:nvSpPr>
        <p:spPr>
          <a:xfrm>
            <a:off x="658813" y="617566"/>
            <a:ext cx="10921582" cy="424732"/>
          </a:xfrm>
          <a:prstGeom prst="rect">
            <a:avLst/>
          </a:prstGeom>
          <a:noFill/>
        </p:spPr>
        <p:txBody>
          <a:bodyPr wrap="square" anchor="ctr">
            <a:spAutoFit/>
          </a:bodyPr>
          <a:lstStyle/>
          <a:p>
            <a:pPr marL="0" indent="0">
              <a:buNone/>
            </a:pPr>
            <a:r>
              <a:rPr lang="nl-NL" sz="2400" b="1" dirty="0">
                <a:solidFill>
                  <a:srgbClr val="FFFFFF"/>
                </a:solidFill>
              </a:rPr>
              <a:t>Het limiteren van het aantal reizigers en gebruik kan mogelijk ~40 - 65% besparen</a:t>
            </a:r>
          </a:p>
        </p:txBody>
      </p:sp>
      <p:grpSp>
        <p:nvGrpSpPr>
          <p:cNvPr id="3" name="Group 2">
            <a:extLst>
              <a:ext uri="{FF2B5EF4-FFF2-40B4-BE49-F238E27FC236}">
                <a16:creationId xmlns:a16="http://schemas.microsoft.com/office/drawing/2014/main" id="{830AF456-1FAD-4B39-9F9D-838F84B925D9}"/>
              </a:ext>
            </a:extLst>
          </p:cNvPr>
          <p:cNvGrpSpPr/>
          <p:nvPr/>
        </p:nvGrpSpPr>
        <p:grpSpPr>
          <a:xfrm>
            <a:off x="701659" y="55733"/>
            <a:ext cx="2040807" cy="176387"/>
            <a:chOff x="701659" y="55733"/>
            <a:chExt cx="2040807" cy="176387"/>
          </a:xfrm>
        </p:grpSpPr>
        <p:sp>
          <p:nvSpPr>
            <p:cNvPr id="22" name="Rectangle: Rounded Corners 21">
              <a:extLst>
                <a:ext uri="{FF2B5EF4-FFF2-40B4-BE49-F238E27FC236}">
                  <a16:creationId xmlns:a16="http://schemas.microsoft.com/office/drawing/2014/main" id="{5DDAF52E-6F1F-44A6-A15D-ACCAD4A508EF}"/>
                </a:ext>
              </a:extLst>
            </p:cNvPr>
            <p:cNvSpPr/>
            <p:nvPr/>
          </p:nvSpPr>
          <p:spPr>
            <a:xfrm>
              <a:off x="931253" y="55733"/>
              <a:ext cx="204053" cy="176387"/>
            </a:xfrm>
            <a:prstGeom prst="roundRect">
              <a:avLst/>
            </a:prstGeom>
            <a:solidFill>
              <a:srgbClr val="EC6224"/>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a:t>
              </a:r>
            </a:p>
          </p:txBody>
        </p:sp>
        <p:sp>
          <p:nvSpPr>
            <p:cNvPr id="23" name="Rectangle: Rounded Corners 22">
              <a:extLst>
                <a:ext uri="{FF2B5EF4-FFF2-40B4-BE49-F238E27FC236}">
                  <a16:creationId xmlns:a16="http://schemas.microsoft.com/office/drawing/2014/main" id="{0A598342-9F11-4EE6-9FDA-32696E25F8CC}"/>
                </a:ext>
              </a:extLst>
            </p:cNvPr>
            <p:cNvSpPr/>
            <p:nvPr/>
          </p:nvSpPr>
          <p:spPr>
            <a:xfrm>
              <a:off x="116084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2</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24" name="Rectangle: Rounded Corners 23">
              <a:extLst>
                <a:ext uri="{FF2B5EF4-FFF2-40B4-BE49-F238E27FC236}">
                  <a16:creationId xmlns:a16="http://schemas.microsoft.com/office/drawing/2014/main" id="{A34DA8EF-1A6B-42C3-9F34-46E0E053BFA5}"/>
                </a:ext>
              </a:extLst>
            </p:cNvPr>
            <p:cNvSpPr/>
            <p:nvPr/>
          </p:nvSpPr>
          <p:spPr>
            <a:xfrm>
              <a:off x="1390441"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3</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25" name="Rectangle: Rounded Corners 24">
              <a:extLst>
                <a:ext uri="{FF2B5EF4-FFF2-40B4-BE49-F238E27FC236}">
                  <a16:creationId xmlns:a16="http://schemas.microsoft.com/office/drawing/2014/main" id="{0974EDF3-0626-4DFD-B2D8-187F722C739D}"/>
                </a:ext>
              </a:extLst>
            </p:cNvPr>
            <p:cNvSpPr/>
            <p:nvPr/>
          </p:nvSpPr>
          <p:spPr>
            <a:xfrm>
              <a:off x="1620035"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4</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26" name="Rectangle: Rounded Corners 25">
              <a:extLst>
                <a:ext uri="{FF2B5EF4-FFF2-40B4-BE49-F238E27FC236}">
                  <a16:creationId xmlns:a16="http://schemas.microsoft.com/office/drawing/2014/main" id="{F4ACEF84-518A-4826-8244-D33B050B60CA}"/>
                </a:ext>
              </a:extLst>
            </p:cNvPr>
            <p:cNvSpPr/>
            <p:nvPr/>
          </p:nvSpPr>
          <p:spPr>
            <a:xfrm>
              <a:off x="184962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5</a:t>
              </a:r>
            </a:p>
          </p:txBody>
        </p:sp>
        <p:sp>
          <p:nvSpPr>
            <p:cNvPr id="28" name="Rectangle: Rounded Corners 27">
              <a:extLst>
                <a:ext uri="{FF2B5EF4-FFF2-40B4-BE49-F238E27FC236}">
                  <a16:creationId xmlns:a16="http://schemas.microsoft.com/office/drawing/2014/main" id="{9455E2AF-268E-40B0-B067-CB227CD4FBB2}"/>
                </a:ext>
              </a:extLst>
            </p:cNvPr>
            <p:cNvSpPr/>
            <p:nvPr/>
          </p:nvSpPr>
          <p:spPr>
            <a:xfrm>
              <a:off x="207922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6</a:t>
              </a:r>
            </a:p>
          </p:txBody>
        </p:sp>
        <p:sp>
          <p:nvSpPr>
            <p:cNvPr id="29" name="Rectangle: Rounded Corners 28">
              <a:extLst>
                <a:ext uri="{FF2B5EF4-FFF2-40B4-BE49-F238E27FC236}">
                  <a16:creationId xmlns:a16="http://schemas.microsoft.com/office/drawing/2014/main" id="{79259517-B0DA-4174-AE18-23D9F3022685}"/>
                </a:ext>
              </a:extLst>
            </p:cNvPr>
            <p:cNvSpPr/>
            <p:nvPr/>
          </p:nvSpPr>
          <p:spPr>
            <a:xfrm>
              <a:off x="230881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7</a:t>
              </a:r>
            </a:p>
          </p:txBody>
        </p:sp>
        <p:sp>
          <p:nvSpPr>
            <p:cNvPr id="30" name="Rectangle: Rounded Corners 29">
              <a:extLst>
                <a:ext uri="{FF2B5EF4-FFF2-40B4-BE49-F238E27FC236}">
                  <a16:creationId xmlns:a16="http://schemas.microsoft.com/office/drawing/2014/main" id="{428F81FF-BF8C-43A0-95F0-363D35E1CD35}"/>
                </a:ext>
              </a:extLst>
            </p:cNvPr>
            <p:cNvSpPr/>
            <p:nvPr/>
          </p:nvSpPr>
          <p:spPr>
            <a:xfrm>
              <a:off x="253841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8</a:t>
              </a:r>
            </a:p>
          </p:txBody>
        </p:sp>
        <p:grpSp>
          <p:nvGrpSpPr>
            <p:cNvPr id="31" name="Group 30">
              <a:extLst>
                <a:ext uri="{FF2B5EF4-FFF2-40B4-BE49-F238E27FC236}">
                  <a16:creationId xmlns:a16="http://schemas.microsoft.com/office/drawing/2014/main" id="{8EC52E4D-B592-45A1-AA4C-F198BA4E3006}"/>
                </a:ext>
              </a:extLst>
            </p:cNvPr>
            <p:cNvGrpSpPr/>
            <p:nvPr/>
          </p:nvGrpSpPr>
          <p:grpSpPr>
            <a:xfrm>
              <a:off x="701659" y="55733"/>
              <a:ext cx="204053" cy="176387"/>
              <a:chOff x="701659" y="55733"/>
              <a:chExt cx="204053" cy="176387"/>
            </a:xfrm>
          </p:grpSpPr>
          <p:sp>
            <p:nvSpPr>
              <p:cNvPr id="32" name="Rectangle: Rounded Corners 31">
                <a:extLst>
                  <a:ext uri="{FF2B5EF4-FFF2-40B4-BE49-F238E27FC236}">
                    <a16:creationId xmlns:a16="http://schemas.microsoft.com/office/drawing/2014/main" id="{3579C41D-7C81-4CA1-812D-1FC0F6EF2A18}"/>
                  </a:ext>
                </a:extLst>
              </p:cNvPr>
              <p:cNvSpPr/>
              <p:nvPr/>
            </p:nvSpPr>
            <p:spPr>
              <a:xfrm>
                <a:off x="70165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33" name="Graphic 32" descr="Home with solid fill">
                <a:hlinkClick r:id="rId32" action="ppaction://hlinksldjump"/>
                <a:extLst>
                  <a:ext uri="{FF2B5EF4-FFF2-40B4-BE49-F238E27FC236}">
                    <a16:creationId xmlns:a16="http://schemas.microsoft.com/office/drawing/2014/main" id="{AF5F0703-FA16-4590-BF5D-4A346480B6CB}"/>
                  </a:ext>
                </a:extLst>
              </p:cNvPr>
              <p:cNvPicPr>
                <a:picLocks noChangeAspect="1"/>
              </p:cNvPicPr>
              <p:nvPr/>
            </p:nvPicPr>
            <p:blipFill>
              <a:blip r:embed="rId33" cstate="print">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734263" y="63707"/>
                <a:ext cx="136149" cy="136149"/>
              </a:xfrm>
              <a:prstGeom prst="rect">
                <a:avLst/>
              </a:prstGeom>
            </p:spPr>
          </p:pic>
        </p:grpSp>
      </p:grpSp>
      <p:sp>
        <p:nvSpPr>
          <p:cNvPr id="34" name="Content Placeholder 2">
            <a:extLst>
              <a:ext uri="{FF2B5EF4-FFF2-40B4-BE49-F238E27FC236}">
                <a16:creationId xmlns:a16="http://schemas.microsoft.com/office/drawing/2014/main" id="{7D32092B-1084-4A02-BD86-A46324233C2C}"/>
              </a:ext>
            </a:extLst>
          </p:cNvPr>
          <p:cNvSpPr txBox="1">
            <a:spLocks/>
          </p:cNvSpPr>
          <p:nvPr/>
        </p:nvSpPr>
        <p:spPr>
          <a:xfrm>
            <a:off x="662780" y="1650188"/>
            <a:ext cx="3431933" cy="1439340"/>
          </a:xfrm>
          <a:prstGeom prst="rect">
            <a:avLst/>
          </a:prstGeom>
          <a:noFill/>
          <a:ln w="19050">
            <a:noFill/>
          </a:ln>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b="1" dirty="0">
                <a:solidFill>
                  <a:srgbClr val="22777B"/>
                </a:solidFill>
              </a:rPr>
              <a:t>Berekenen van objectieve limieten</a:t>
            </a:r>
          </a:p>
        </p:txBody>
      </p:sp>
      <p:sp>
        <p:nvSpPr>
          <p:cNvPr id="35" name="Content Placeholder 2">
            <a:extLst>
              <a:ext uri="{FF2B5EF4-FFF2-40B4-BE49-F238E27FC236}">
                <a16:creationId xmlns:a16="http://schemas.microsoft.com/office/drawing/2014/main" id="{AC370BEA-BA28-49C6-8A4D-D28C39DE04C2}"/>
              </a:ext>
            </a:extLst>
          </p:cNvPr>
          <p:cNvSpPr txBox="1">
            <a:spLocks/>
          </p:cNvSpPr>
          <p:nvPr/>
        </p:nvSpPr>
        <p:spPr>
          <a:xfrm>
            <a:off x="658813" y="1898011"/>
            <a:ext cx="3438367" cy="4410713"/>
          </a:xfrm>
          <a:prstGeom prst="rect">
            <a:avLst/>
          </a:prstGeom>
          <a:noFill/>
          <a:ln w="9525">
            <a:noFill/>
          </a:ln>
          <a:extLst>
            <a:ext uri="{909E8E84-426E-40DD-AFC4-6F175D3DCCD1}">
              <a14:hiddenFill xmlns:a14="http://schemas.microsoft.com/office/drawing/2010/main">
                <a:solidFill>
                  <a:srgbClr val="95C5C9">
                    <a:alpha val="10000"/>
                  </a:srgb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sz="1000" dirty="0"/>
              <a:t>In de afgelopen jaren is zowel het aantal gebruikers als het gebruik toegenomen. In het kader van deze trend maar ook gezien de mogelijkheden die een toegankelijker OV en de toename van alternatieve vervoersvormen bieden, zien gemeenten kansen liggen in het afbakenen van het Wmo-vervoer voor reizigers die het écht nodig hebben. </a:t>
            </a:r>
          </a:p>
          <a:p>
            <a:pPr marL="0" indent="0">
              <a:buFont typeface="Wingdings" panose="05000000000000000000" pitchFamily="2" charset="2"/>
              <a:buNone/>
            </a:pPr>
            <a:r>
              <a:rPr lang="nl-NL" sz="1000" dirty="0"/>
              <a:t>Om tot een gefundeerde onderbouwing en eerlijke maatregelen te komen zijn dit de stappen om te overwegen:</a:t>
            </a:r>
          </a:p>
          <a:p>
            <a:r>
              <a:rPr lang="nl-NL" sz="1000" b="1" dirty="0"/>
              <a:t>Sturen op r</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echtmatig gebruik - </a:t>
            </a:r>
            <a:r>
              <a:rPr kumimoji="0" lang="nl-NL" sz="1000" b="0" i="0" u="none" strike="noStrike" kern="1200" cap="none" spc="0" normalizeH="0" baseline="0" noProof="0" dirty="0">
                <a:ln>
                  <a:noFill/>
                </a:ln>
                <a:effectLst/>
                <a:uLnTx/>
                <a:uFillTx/>
                <a:latin typeface="Corbel" panose="020B0503020204020204" pitchFamily="34" charset="0"/>
                <a:ea typeface="+mn-ea"/>
                <a:cs typeface="+mn-cs"/>
              </a:rPr>
              <a:t>Onderzoek of Wmo-vervoer onrechtmatig gebruikt wordt voor andere doeleinden dan sociaal-recreatieve bestemmingen (bijv. ritten naar ziekenhuis die onder de Zvw vallen)</a:t>
            </a:r>
          </a:p>
          <a:p>
            <a:r>
              <a:rPr lang="nl-NL" sz="1000" b="1" dirty="0"/>
              <a:t>Investeren in OV en AV </a:t>
            </a:r>
            <a:r>
              <a:rPr lang="nl-NL" sz="1000" dirty="0"/>
              <a:t>– Bereken hoeveel je wilt/ kunt investeren om het OV toegankelijk te maken en alternatief vervoer aan te bieden</a:t>
            </a:r>
          </a:p>
          <a:p>
            <a:r>
              <a:rPr lang="nl-NL" sz="1000" b="1" dirty="0"/>
              <a:t>Limiteren gebruikers – </a:t>
            </a:r>
            <a:r>
              <a:rPr lang="nl-NL" sz="1000" dirty="0"/>
              <a:t>Analyseer welke doelgroepen er nu gebruikmaken van het Wmo-vervoer en in hoeverre zij echt mobiel beperkt zijn</a:t>
            </a:r>
          </a:p>
          <a:p>
            <a:r>
              <a:rPr lang="nl-NL" sz="1000" b="1" dirty="0"/>
              <a:t>Limiteren gebruik – </a:t>
            </a:r>
            <a:r>
              <a:rPr lang="nl-NL" sz="1000" dirty="0"/>
              <a:t>Onderzoek wat een redelijk aantal ritten per jaar is om gebruikers met het Wmo-vervoer te laten reizen. Kijk naar wat het huidige gebruik is en hoe deze verdeeld is (</a:t>
            </a:r>
            <a:r>
              <a:rPr lang="nl-NL" sz="1000" i="1" dirty="0"/>
              <a:t>zie volgende slide</a:t>
            </a:r>
            <a:r>
              <a:rPr lang="nl-NL" sz="1000" dirty="0"/>
              <a:t>) en bedenk in welke omstandigheden kwetsbare reizigers gebruik moeten maken van het Wmo i.p.v. OV (bijv. bij slecht weer, ‘s avonds, op een dag met slechte energie etc.)</a:t>
            </a:r>
          </a:p>
          <a:p>
            <a:r>
              <a:rPr lang="nl-NL" sz="1000" b="1" dirty="0"/>
              <a:t>Stimuleren naar OV </a:t>
            </a:r>
            <a:r>
              <a:rPr lang="nl-NL" sz="1000" dirty="0"/>
              <a:t>– Kwantificeer hoeveel van de Wmo-gebruikers al met het OV kunnen reizen en hoeveel zouden willen reizen met het OV</a:t>
            </a:r>
            <a:endParaRPr lang="nl-NL" sz="1000" b="1" dirty="0"/>
          </a:p>
          <a:p>
            <a:endParaRPr kumimoji="0" lang="nl-NL" sz="1000" b="0" i="0" u="none" strike="noStrike" kern="1200" cap="none" spc="0" normalizeH="0" baseline="0" noProof="0" dirty="0">
              <a:ln>
                <a:noFill/>
              </a:ln>
              <a:effectLst/>
              <a:uLnTx/>
              <a:uFillTx/>
              <a:latin typeface="Corbel" panose="020B0503020204020204" pitchFamily="34" charset="0"/>
              <a:ea typeface="+mn-ea"/>
              <a:cs typeface="+mn-cs"/>
            </a:endParaRPr>
          </a:p>
          <a:p>
            <a:pPr marL="0" indent="0">
              <a:buFont typeface="Wingdings" panose="05000000000000000000" pitchFamily="2" charset="2"/>
              <a:buNone/>
            </a:pPr>
            <a:endParaRPr lang="nl-NL" sz="1000" dirty="0"/>
          </a:p>
        </p:txBody>
      </p:sp>
      <p:cxnSp>
        <p:nvCxnSpPr>
          <p:cNvPr id="43" name="Straight Connector 42">
            <a:extLst>
              <a:ext uri="{FF2B5EF4-FFF2-40B4-BE49-F238E27FC236}">
                <a16:creationId xmlns:a16="http://schemas.microsoft.com/office/drawing/2014/main" id="{36F690C0-FED7-4639-B89C-2753E13155CE}"/>
              </a:ext>
            </a:extLst>
          </p:cNvPr>
          <p:cNvCxnSpPr/>
          <p:nvPr>
            <p:custDataLst>
              <p:tags r:id="rId3"/>
            </p:custDataLst>
          </p:nvPr>
        </p:nvCxnSpPr>
        <p:spPr bwMode="auto">
          <a:xfrm>
            <a:off x="7743825" y="3248025"/>
            <a:ext cx="398463"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55159E06-D232-48BD-A36B-07A8C3A2D380}"/>
              </a:ext>
            </a:extLst>
          </p:cNvPr>
          <p:cNvCxnSpPr/>
          <p:nvPr>
            <p:custDataLst>
              <p:tags r:id="rId4"/>
            </p:custDataLst>
          </p:nvPr>
        </p:nvCxnSpPr>
        <p:spPr bwMode="auto">
          <a:xfrm>
            <a:off x="5049838" y="2613025"/>
            <a:ext cx="398463"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A812DAE0-DBFB-477E-AA1E-0344B4A3DFEE}"/>
              </a:ext>
            </a:extLst>
          </p:cNvPr>
          <p:cNvCxnSpPr/>
          <p:nvPr>
            <p:custDataLst>
              <p:tags r:id="rId5"/>
            </p:custDataLst>
          </p:nvPr>
        </p:nvCxnSpPr>
        <p:spPr bwMode="auto">
          <a:xfrm>
            <a:off x="5948363" y="3019425"/>
            <a:ext cx="398463"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B3F8A909-8211-4AB3-B6A0-7959BC280CC3}"/>
              </a:ext>
            </a:extLst>
          </p:cNvPr>
          <p:cNvCxnSpPr/>
          <p:nvPr>
            <p:custDataLst>
              <p:tags r:id="rId6"/>
            </p:custDataLst>
          </p:nvPr>
        </p:nvCxnSpPr>
        <p:spPr bwMode="auto">
          <a:xfrm>
            <a:off x="6845300" y="3019425"/>
            <a:ext cx="398463"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919A9492-FD07-42FD-ADD1-A142D2864C98}"/>
              </a:ext>
            </a:extLst>
          </p:cNvPr>
          <p:cNvCxnSpPr/>
          <p:nvPr>
            <p:custDataLst>
              <p:tags r:id="rId7"/>
            </p:custDataLst>
          </p:nvPr>
        </p:nvCxnSpPr>
        <p:spPr bwMode="auto">
          <a:xfrm>
            <a:off x="8640763" y="3970338"/>
            <a:ext cx="398463"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2882BE21-B5C8-4827-A392-21D40E60E38B}"/>
              </a:ext>
            </a:extLst>
          </p:cNvPr>
          <p:cNvCxnSpPr/>
          <p:nvPr>
            <p:custDataLst>
              <p:tags r:id="rId8"/>
            </p:custDataLst>
          </p:nvPr>
        </p:nvCxnSpPr>
        <p:spPr bwMode="auto">
          <a:xfrm>
            <a:off x="9537700" y="3970338"/>
            <a:ext cx="398463"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DB25C134-EB1E-4A37-AD15-D3FC1FF67B61}"/>
              </a:ext>
            </a:extLst>
          </p:cNvPr>
          <p:cNvCxnSpPr/>
          <p:nvPr>
            <p:custDataLst>
              <p:tags r:id="rId9"/>
            </p:custDataLst>
          </p:nvPr>
        </p:nvCxnSpPr>
        <p:spPr bwMode="auto">
          <a:xfrm>
            <a:off x="10436225" y="4473575"/>
            <a:ext cx="398463"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03" name="Rectangle 302">
            <a:extLst>
              <a:ext uri="{FF2B5EF4-FFF2-40B4-BE49-F238E27FC236}">
                <a16:creationId xmlns:a16="http://schemas.microsoft.com/office/drawing/2014/main" id="{59A15729-2D86-49B4-A09B-CD9C6A948219}"/>
              </a:ext>
            </a:extLst>
          </p:cNvPr>
          <p:cNvSpPr/>
          <p:nvPr>
            <p:custDataLst>
              <p:tags r:id="rId10"/>
            </p:custDataLst>
          </p:nvPr>
        </p:nvSpPr>
        <p:spPr bwMode="auto">
          <a:xfrm>
            <a:off x="6346825" y="3016250"/>
            <a:ext cx="498475" cy="6350"/>
          </a:xfrm>
          <a:prstGeom prst="rect">
            <a:avLst/>
          </a:prstGeom>
          <a:solidFill>
            <a:schemeClr val="accent3"/>
          </a:solidFill>
          <a:ln>
            <a:noFill/>
          </a:ln>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aphicFrame>
        <p:nvGraphicFramePr>
          <p:cNvPr id="60" name="Chart 59">
            <a:extLst>
              <a:ext uri="{FF2B5EF4-FFF2-40B4-BE49-F238E27FC236}">
                <a16:creationId xmlns:a16="http://schemas.microsoft.com/office/drawing/2014/main" id="{49FB32EE-D525-4726-A310-9AEA9CC28ED6}"/>
              </a:ext>
            </a:extLst>
          </p:cNvPr>
          <p:cNvGraphicFramePr/>
          <p:nvPr>
            <p:custDataLst>
              <p:tags r:id="rId11"/>
            </p:custDataLst>
            <p:extLst>
              <p:ext uri="{D42A27DB-BD31-4B8C-83A1-F6EECF244321}">
                <p14:modId xmlns:p14="http://schemas.microsoft.com/office/powerpoint/2010/main" val="750807185"/>
              </p:ext>
            </p:extLst>
          </p:nvPr>
        </p:nvGraphicFramePr>
        <p:xfrm>
          <a:off x="4270375" y="2530475"/>
          <a:ext cx="7345363" cy="3414713"/>
        </p:xfrm>
        <a:graphic>
          <a:graphicData uri="http://schemas.openxmlformats.org/drawingml/2006/chart">
            <c:chart xmlns:c="http://schemas.openxmlformats.org/drawingml/2006/chart" xmlns:r="http://schemas.openxmlformats.org/officeDocument/2006/relationships" r:id="rId35"/>
          </a:graphicData>
        </a:graphic>
      </p:graphicFrame>
      <p:cxnSp>
        <p:nvCxnSpPr>
          <p:cNvPr id="275" name="Straight Connector 274">
            <a:extLst>
              <a:ext uri="{FF2B5EF4-FFF2-40B4-BE49-F238E27FC236}">
                <a16:creationId xmlns:a16="http://schemas.microsoft.com/office/drawing/2014/main" id="{5DF9B7B5-5053-4C3E-AFB6-3565962354C4}"/>
              </a:ext>
            </a:extLst>
          </p:cNvPr>
          <p:cNvCxnSpPr/>
          <p:nvPr>
            <p:custDataLst>
              <p:tags r:id="rId12"/>
            </p:custDataLst>
          </p:nvPr>
        </p:nvCxnSpPr>
        <p:spPr bwMode="auto">
          <a:xfrm flipV="1">
            <a:off x="4800600" y="2498725"/>
            <a:ext cx="0" cy="7620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AF0EE1FA-C98B-4696-9949-E1506CAB5836}"/>
              </a:ext>
            </a:extLst>
          </p:cNvPr>
          <p:cNvCxnSpPr/>
          <p:nvPr>
            <p:custDataLst>
              <p:tags r:id="rId13"/>
            </p:custDataLst>
          </p:nvPr>
        </p:nvCxnSpPr>
        <p:spPr bwMode="auto">
          <a:xfrm>
            <a:off x="4800600" y="2498725"/>
            <a:ext cx="6283325"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77" name="Straight Connector 276">
            <a:extLst>
              <a:ext uri="{FF2B5EF4-FFF2-40B4-BE49-F238E27FC236}">
                <a16:creationId xmlns:a16="http://schemas.microsoft.com/office/drawing/2014/main" id="{093DE781-AEC2-45A4-9B1E-8B3E27474C91}"/>
              </a:ext>
            </a:extLst>
          </p:cNvPr>
          <p:cNvCxnSpPr/>
          <p:nvPr>
            <p:custDataLst>
              <p:tags r:id="rId14"/>
            </p:custDataLst>
          </p:nvPr>
        </p:nvCxnSpPr>
        <p:spPr bwMode="auto">
          <a:xfrm>
            <a:off x="11083925" y="2498725"/>
            <a:ext cx="0" cy="1936750"/>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58" name="Text Placeholder 5">
            <a:extLst>
              <a:ext uri="{FF2B5EF4-FFF2-40B4-BE49-F238E27FC236}">
                <a16:creationId xmlns:a16="http://schemas.microsoft.com/office/drawing/2014/main" id="{B9458D34-2141-4292-83B6-0DC24F28914E}"/>
              </a:ext>
            </a:extLst>
          </p:cNvPr>
          <p:cNvSpPr>
            <a:spLocks noGrp="1"/>
          </p:cNvSpPr>
          <p:nvPr>
            <p:custDataLst>
              <p:tags r:id="rId15"/>
            </p:custDataLst>
          </p:nvPr>
        </p:nvSpPr>
        <p:spPr bwMode="gray">
          <a:xfrm>
            <a:off x="8153399" y="3540125"/>
            <a:ext cx="477838" cy="1365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r>
              <a:rPr lang="nl-NL" altLang="en-US" sz="1000" dirty="0">
                <a:solidFill>
                  <a:schemeClr val="bg1"/>
                </a:solidFill>
              </a:rPr>
              <a:t>-20-25%</a:t>
            </a:r>
            <a:endParaRPr lang="nl-NL" sz="1000" noProof="0" dirty="0">
              <a:solidFill>
                <a:schemeClr val="bg1"/>
              </a:solidFill>
              <a:latin typeface="+mn-lt"/>
            </a:endParaRPr>
          </a:p>
        </p:txBody>
      </p:sp>
      <p:sp>
        <p:nvSpPr>
          <p:cNvPr id="354" name="Content 1">
            <a:extLst>
              <a:ext uri="{FF2B5EF4-FFF2-40B4-BE49-F238E27FC236}">
                <a16:creationId xmlns:a16="http://schemas.microsoft.com/office/drawing/2014/main" id="{4B9982FA-94CE-476E-98B9-AED20350F85D}"/>
              </a:ext>
            </a:extLst>
          </p:cNvPr>
          <p:cNvSpPr>
            <a:spLocks noGrp="1"/>
          </p:cNvSpPr>
          <p:nvPr>
            <p:custDataLst>
              <p:tags r:id="rId16"/>
            </p:custDataLst>
          </p:nvPr>
        </p:nvSpPr>
        <p:spPr bwMode="auto">
          <a:xfrm>
            <a:off x="7208838" y="5905500"/>
            <a:ext cx="56832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FF5EA32-DBDD-4AB1-9ED9-CDCD53E5865C}" type="datetime'L''''''imi''''''ter''e''n ''''g''eb''ru''''''iker''s'''''''">
              <a:rPr lang="nl-NL" altLang="en-US" sz="1000" smtClean="0">
                <a:solidFill>
                  <a:schemeClr val="tx1"/>
                </a:solidFill>
                <a:effectLst/>
                <a:latin typeface="+mn-lt"/>
              </a:rPr>
              <a:pPr marL="0" indent="0" algn="ctr">
                <a:spcBef>
                  <a:spcPct val="0"/>
                </a:spcBef>
                <a:spcAft>
                  <a:spcPct val="0"/>
                </a:spcAft>
                <a:buNone/>
              </a:pPr>
              <a:t>Limiteren gebruikers</a:t>
            </a:fld>
            <a:endParaRPr lang="nl-NL" sz="1000" noProof="0" dirty="0">
              <a:solidFill>
                <a:schemeClr val="tx1"/>
              </a:solidFill>
              <a:latin typeface="+mn-lt"/>
            </a:endParaRPr>
          </a:p>
        </p:txBody>
      </p:sp>
      <p:sp>
        <p:nvSpPr>
          <p:cNvPr id="54" name="Text Placeholder 5">
            <a:extLst>
              <a:ext uri="{FF2B5EF4-FFF2-40B4-BE49-F238E27FC236}">
                <a16:creationId xmlns:a16="http://schemas.microsoft.com/office/drawing/2014/main" id="{55D5B3EA-7783-42C0-822F-9CF6FDC986BB}"/>
              </a:ext>
            </a:extLst>
          </p:cNvPr>
          <p:cNvSpPr>
            <a:spLocks noGrp="1"/>
          </p:cNvSpPr>
          <p:nvPr>
            <p:custDataLst>
              <p:tags r:id="rId17"/>
            </p:custDataLst>
          </p:nvPr>
        </p:nvSpPr>
        <p:spPr bwMode="gray">
          <a:xfrm>
            <a:off x="5467350" y="2747963"/>
            <a:ext cx="461963" cy="136525"/>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r>
              <a:rPr lang="nl-NL" altLang="en-US" sz="1000" dirty="0">
                <a:solidFill>
                  <a:schemeClr val="bg1"/>
                </a:solidFill>
                <a:effectLst/>
              </a:rPr>
              <a:t>-10-15%</a:t>
            </a:r>
            <a:endParaRPr lang="nl-NL" sz="1000" noProof="0" dirty="0">
              <a:solidFill>
                <a:schemeClr val="bg1"/>
              </a:solidFill>
              <a:latin typeface="+mn-lt"/>
            </a:endParaRPr>
          </a:p>
        </p:txBody>
      </p:sp>
      <p:sp>
        <p:nvSpPr>
          <p:cNvPr id="350" name="Content 1">
            <a:extLst>
              <a:ext uri="{FF2B5EF4-FFF2-40B4-BE49-F238E27FC236}">
                <a16:creationId xmlns:a16="http://schemas.microsoft.com/office/drawing/2014/main" id="{4B9982FA-94CE-476E-98B9-AED20350F85D}"/>
              </a:ext>
            </a:extLst>
          </p:cNvPr>
          <p:cNvSpPr>
            <a:spLocks noGrp="1"/>
          </p:cNvSpPr>
          <p:nvPr>
            <p:custDataLst>
              <p:tags r:id="rId18"/>
            </p:custDataLst>
          </p:nvPr>
        </p:nvSpPr>
        <p:spPr bwMode="auto">
          <a:xfrm>
            <a:off x="4381499" y="5905501"/>
            <a:ext cx="8382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E19C7DB-3A11-4417-B0F0-6828B44AB6BD}" type="datetime'''H''''''''ui''d''''ige'' ''k''o''s''t''''e''''''n'''''''''''">
              <a:rPr lang="nl-NL" altLang="en-US" sz="1000" b="1" smtClean="0">
                <a:solidFill>
                  <a:schemeClr val="tx1"/>
                </a:solidFill>
              </a:rPr>
              <a:pPr/>
              <a:t>Huidige kosten</a:t>
            </a:fld>
            <a:endParaRPr lang="nl-NL" sz="1000" b="1" noProof="0" dirty="0">
              <a:solidFill>
                <a:schemeClr val="tx1"/>
              </a:solidFill>
              <a:latin typeface="+mn-lt"/>
            </a:endParaRPr>
          </a:p>
        </p:txBody>
      </p:sp>
      <p:sp>
        <p:nvSpPr>
          <p:cNvPr id="352" name="Content 1">
            <a:extLst>
              <a:ext uri="{FF2B5EF4-FFF2-40B4-BE49-F238E27FC236}">
                <a16:creationId xmlns:a16="http://schemas.microsoft.com/office/drawing/2014/main" id="{4B9982FA-94CE-476E-98B9-AED20350F85D}"/>
              </a:ext>
            </a:extLst>
          </p:cNvPr>
          <p:cNvSpPr>
            <a:spLocks noGrp="1"/>
          </p:cNvSpPr>
          <p:nvPr>
            <p:custDataLst>
              <p:tags r:id="rId19"/>
            </p:custDataLst>
          </p:nvPr>
        </p:nvSpPr>
        <p:spPr bwMode="auto">
          <a:xfrm>
            <a:off x="5400675" y="5905501"/>
            <a:ext cx="595313" cy="4095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1AFEF39-04D2-475F-BB53-093A51CDD4BE}" type="datetime'St''''ur''''''en'' o''''p ''re''chtm''a''t''ig ''g''ebru''ik'">
              <a:rPr lang="nl-NL" altLang="en-US" sz="1000" smtClean="0">
                <a:solidFill>
                  <a:schemeClr val="tx1"/>
                </a:solidFill>
              </a:rPr>
              <a:pPr/>
              <a:t>Sturen op rechtmatig gebruik</a:t>
            </a:fld>
            <a:endParaRPr lang="nl-NL" sz="1000" noProof="0" dirty="0">
              <a:solidFill>
                <a:schemeClr val="tx1"/>
              </a:solidFill>
              <a:latin typeface="+mn-lt"/>
            </a:endParaRPr>
          </a:p>
        </p:txBody>
      </p:sp>
      <p:sp>
        <p:nvSpPr>
          <p:cNvPr id="353" name="Content 1">
            <a:extLst>
              <a:ext uri="{FF2B5EF4-FFF2-40B4-BE49-F238E27FC236}">
                <a16:creationId xmlns:a16="http://schemas.microsoft.com/office/drawing/2014/main" id="{4B9982FA-94CE-476E-98B9-AED20350F85D}"/>
              </a:ext>
            </a:extLst>
          </p:cNvPr>
          <p:cNvSpPr>
            <a:spLocks noGrp="1"/>
          </p:cNvSpPr>
          <p:nvPr>
            <p:custDataLst>
              <p:tags r:id="rId20"/>
            </p:custDataLst>
          </p:nvPr>
        </p:nvSpPr>
        <p:spPr bwMode="auto">
          <a:xfrm>
            <a:off x="6273800" y="5905500"/>
            <a:ext cx="64452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353CCC2-2977-4A63-86CB-1A9F6E49F9F6}" type="datetime'''Inves''te''r''''e''n ''in'' OV'''' ''e''''''n ''''''AV'">
              <a:rPr lang="nl-NL" altLang="en-US" sz="1000" smtClean="0">
                <a:solidFill>
                  <a:schemeClr val="tx1"/>
                </a:solidFill>
              </a:rPr>
              <a:pPr/>
              <a:t>Investeren in OV en AV</a:t>
            </a:fld>
            <a:endParaRPr lang="nl-NL" sz="1000" noProof="0" dirty="0">
              <a:solidFill>
                <a:schemeClr val="tx1"/>
              </a:solidFill>
              <a:latin typeface="+mn-lt"/>
            </a:endParaRPr>
          </a:p>
        </p:txBody>
      </p:sp>
      <p:sp>
        <p:nvSpPr>
          <p:cNvPr id="53" name="Text Placeholder 5">
            <a:extLst>
              <a:ext uri="{FF2B5EF4-FFF2-40B4-BE49-F238E27FC236}">
                <a16:creationId xmlns:a16="http://schemas.microsoft.com/office/drawing/2014/main" id="{FF411E84-F64B-4AD0-A599-DD8018507A2A}"/>
              </a:ext>
            </a:extLst>
          </p:cNvPr>
          <p:cNvSpPr>
            <a:spLocks noGrp="1"/>
          </p:cNvSpPr>
          <p:nvPr>
            <p:custDataLst>
              <p:tags r:id="rId21"/>
            </p:custDataLst>
          </p:nvPr>
        </p:nvSpPr>
        <p:spPr bwMode="gray">
          <a:xfrm>
            <a:off x="7291388" y="3065463"/>
            <a:ext cx="404813" cy="136525"/>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r>
              <a:rPr lang="nl-NL" altLang="en-US" sz="1000" dirty="0">
                <a:solidFill>
                  <a:schemeClr val="bg1"/>
                </a:solidFill>
              </a:rPr>
              <a:t>-5-10%</a:t>
            </a:r>
            <a:endParaRPr lang="nl-NL" sz="1000" noProof="0" dirty="0">
              <a:solidFill>
                <a:schemeClr val="bg1"/>
              </a:solidFill>
              <a:latin typeface="+mn-lt"/>
            </a:endParaRPr>
          </a:p>
        </p:txBody>
      </p:sp>
      <p:sp>
        <p:nvSpPr>
          <p:cNvPr id="355" name="Content 1">
            <a:extLst>
              <a:ext uri="{FF2B5EF4-FFF2-40B4-BE49-F238E27FC236}">
                <a16:creationId xmlns:a16="http://schemas.microsoft.com/office/drawing/2014/main" id="{4B9982FA-94CE-476E-98B9-AED20350F85D}"/>
              </a:ext>
            </a:extLst>
          </p:cNvPr>
          <p:cNvSpPr>
            <a:spLocks noGrp="1"/>
          </p:cNvSpPr>
          <p:nvPr>
            <p:custDataLst>
              <p:tags r:id="rId22"/>
            </p:custDataLst>
          </p:nvPr>
        </p:nvSpPr>
        <p:spPr bwMode="auto">
          <a:xfrm>
            <a:off x="8129589" y="5905500"/>
            <a:ext cx="525463"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8AC8F33-6AEC-4858-9822-1B8E02C7C6D7}" type="datetime'''''''''''''''''''L''imi''''teren'' ''''''''g''eb''rui''''k'">
              <a:rPr lang="nl-NL" altLang="en-US" sz="1000" smtClean="0">
                <a:solidFill>
                  <a:schemeClr val="tx1"/>
                </a:solidFill>
                <a:effectLst/>
                <a:latin typeface="+mn-lt"/>
              </a:rPr>
              <a:pPr marL="0" indent="0" algn="ctr">
                <a:spcBef>
                  <a:spcPct val="0"/>
                </a:spcBef>
                <a:spcAft>
                  <a:spcPct val="0"/>
                </a:spcAft>
                <a:buNone/>
              </a:pPr>
              <a:t>Limiteren gebruik</a:t>
            </a:fld>
            <a:endParaRPr lang="nl-NL" sz="1000" noProof="0" dirty="0">
              <a:solidFill>
                <a:schemeClr val="tx1"/>
              </a:solidFill>
              <a:latin typeface="+mn-lt"/>
            </a:endParaRPr>
          </a:p>
        </p:txBody>
      </p:sp>
      <p:sp>
        <p:nvSpPr>
          <p:cNvPr id="356" name="Content 1">
            <a:extLst>
              <a:ext uri="{FF2B5EF4-FFF2-40B4-BE49-F238E27FC236}">
                <a16:creationId xmlns:a16="http://schemas.microsoft.com/office/drawing/2014/main" id="{4B9982FA-94CE-476E-98B9-AED20350F85D}"/>
              </a:ext>
            </a:extLst>
          </p:cNvPr>
          <p:cNvSpPr>
            <a:spLocks noGrp="1"/>
          </p:cNvSpPr>
          <p:nvPr>
            <p:custDataLst>
              <p:tags r:id="rId23"/>
            </p:custDataLst>
          </p:nvPr>
        </p:nvSpPr>
        <p:spPr bwMode="auto">
          <a:xfrm>
            <a:off x="8943975" y="5905500"/>
            <a:ext cx="68897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378D9A5-D014-40C5-B550-2DD527ECAC91}" type="datetime'Kost''''en'' ''na'' bes''''''pa''r''''''in''''ge''n'''">
              <a:rPr lang="nl-NL" altLang="en-US" sz="1000" b="1" smtClean="0">
                <a:solidFill>
                  <a:schemeClr val="tx1"/>
                </a:solidFill>
                <a:effectLst/>
                <a:latin typeface="+mn-lt"/>
              </a:rPr>
              <a:pPr marL="0" indent="0" algn="ctr">
                <a:spcBef>
                  <a:spcPct val="0"/>
                </a:spcBef>
                <a:spcAft>
                  <a:spcPct val="0"/>
                </a:spcAft>
                <a:buNone/>
              </a:pPr>
              <a:t>Kosten na besparingen</a:t>
            </a:fld>
            <a:endParaRPr lang="nl-NL" sz="1000" b="1" noProof="0" dirty="0">
              <a:solidFill>
                <a:schemeClr val="tx1"/>
              </a:solidFill>
              <a:latin typeface="+mn-lt"/>
            </a:endParaRPr>
          </a:p>
        </p:txBody>
      </p:sp>
      <p:sp>
        <p:nvSpPr>
          <p:cNvPr id="63" name="Text Placeholder 5">
            <a:extLst>
              <a:ext uri="{FF2B5EF4-FFF2-40B4-BE49-F238E27FC236}">
                <a16:creationId xmlns:a16="http://schemas.microsoft.com/office/drawing/2014/main" id="{A31D47F5-6BFB-4CD6-A8D4-764CED1E0CF4}"/>
              </a:ext>
            </a:extLst>
          </p:cNvPr>
          <p:cNvSpPr>
            <a:spLocks noGrp="1"/>
          </p:cNvSpPr>
          <p:nvPr>
            <p:custDataLst>
              <p:tags r:id="rId24"/>
            </p:custDataLst>
          </p:nvPr>
        </p:nvSpPr>
        <p:spPr bwMode="gray">
          <a:xfrm>
            <a:off x="9950450" y="4152900"/>
            <a:ext cx="469900" cy="136525"/>
          </a:xfrm>
          <a:prstGeom prst="rect">
            <a:avLst/>
          </a:prstGeom>
          <a:noFill/>
          <a:ln>
            <a:noFill/>
          </a:ln>
          <a:extLst>
            <a:ext uri="{909E8E84-426E-40DD-AFC4-6F175D3DCCD1}">
              <a14:hiddenFill xmlns:a14="http://schemas.microsoft.com/office/drawing/2010/main">
                <a:solidFill>
                  <a:schemeClr val="accent5"/>
                </a:solidFill>
              </a14:hiddenFill>
            </a:ext>
          </a:extLst>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r>
              <a:rPr lang="nl-NL" sz="1000" noProof="0" dirty="0">
                <a:solidFill>
                  <a:schemeClr val="bg1"/>
                </a:solidFill>
                <a:latin typeface="+mn-lt"/>
              </a:rPr>
              <a:t>-5 – 15%</a:t>
            </a:r>
          </a:p>
        </p:txBody>
      </p:sp>
      <p:sp>
        <p:nvSpPr>
          <p:cNvPr id="358" name="Content 1">
            <a:extLst>
              <a:ext uri="{FF2B5EF4-FFF2-40B4-BE49-F238E27FC236}">
                <a16:creationId xmlns:a16="http://schemas.microsoft.com/office/drawing/2014/main" id="{4B9982FA-94CE-476E-98B9-AED20350F85D}"/>
              </a:ext>
            </a:extLst>
          </p:cNvPr>
          <p:cNvSpPr>
            <a:spLocks noGrp="1"/>
          </p:cNvSpPr>
          <p:nvPr>
            <p:custDataLst>
              <p:tags r:id="rId25"/>
            </p:custDataLst>
          </p:nvPr>
        </p:nvSpPr>
        <p:spPr bwMode="auto">
          <a:xfrm>
            <a:off x="10683875" y="5905500"/>
            <a:ext cx="80010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6193194-20D3-4EC5-934E-D57DE6891952}" type="datetime'Ko''s''''ten'' ''''na ''s''ti''''mu''''l''''e''''ren'' ''''OV'">
              <a:rPr lang="nl-NL" altLang="en-US" sz="1000" b="1" smtClean="0">
                <a:solidFill>
                  <a:schemeClr val="tx1"/>
                </a:solidFill>
                <a:effectLst/>
                <a:latin typeface="+mn-lt"/>
              </a:rPr>
              <a:pPr marL="0" indent="0" algn="ctr">
                <a:spcBef>
                  <a:spcPct val="0"/>
                </a:spcBef>
                <a:spcAft>
                  <a:spcPct val="0"/>
                </a:spcAft>
                <a:buNone/>
              </a:pPr>
              <a:t>Kosten na stimuleren OV</a:t>
            </a:fld>
            <a:endParaRPr lang="nl-NL" sz="1000" b="1" noProof="0" dirty="0">
              <a:solidFill>
                <a:schemeClr val="tx1"/>
              </a:solidFill>
              <a:latin typeface="+mn-lt"/>
            </a:endParaRPr>
          </a:p>
        </p:txBody>
      </p:sp>
      <p:sp>
        <p:nvSpPr>
          <p:cNvPr id="357" name="Content 1">
            <a:extLst>
              <a:ext uri="{FF2B5EF4-FFF2-40B4-BE49-F238E27FC236}">
                <a16:creationId xmlns:a16="http://schemas.microsoft.com/office/drawing/2014/main" id="{4B9982FA-94CE-476E-98B9-AED20350F85D}"/>
              </a:ext>
            </a:extLst>
          </p:cNvPr>
          <p:cNvSpPr>
            <a:spLocks noGrp="1"/>
          </p:cNvSpPr>
          <p:nvPr>
            <p:custDataLst>
              <p:tags r:id="rId26"/>
            </p:custDataLst>
          </p:nvPr>
        </p:nvSpPr>
        <p:spPr bwMode="auto">
          <a:xfrm>
            <a:off x="9888538" y="5905500"/>
            <a:ext cx="59372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00508D0-2C7C-4074-BE89-CF4850B89589}" type="datetime'''''''S''tim''''''uler''''en na''''''''''''''ar'' ''''O''V'''">
              <a:rPr lang="nl-NL" altLang="en-US" sz="1000" smtClean="0">
                <a:solidFill>
                  <a:schemeClr val="tx1"/>
                </a:solidFill>
                <a:effectLst/>
                <a:latin typeface="+mn-lt"/>
              </a:rPr>
              <a:pPr marL="0" indent="0" algn="ctr">
                <a:spcBef>
                  <a:spcPct val="0"/>
                </a:spcBef>
                <a:spcAft>
                  <a:spcPct val="0"/>
                </a:spcAft>
                <a:buNone/>
              </a:pPr>
              <a:t>Stimuleren naar OV</a:t>
            </a:fld>
            <a:endParaRPr lang="nl-NL" sz="1000" noProof="0" dirty="0">
              <a:solidFill>
                <a:schemeClr val="tx1"/>
              </a:solidFill>
              <a:latin typeface="+mn-lt"/>
            </a:endParaRPr>
          </a:p>
        </p:txBody>
      </p:sp>
      <p:sp>
        <p:nvSpPr>
          <p:cNvPr id="273" name="Content 1">
            <a:extLst>
              <a:ext uri="{FF2B5EF4-FFF2-40B4-BE49-F238E27FC236}">
                <a16:creationId xmlns:a16="http://schemas.microsoft.com/office/drawing/2014/main" id="{4B9982FA-94CE-476E-98B9-AED20350F85D}"/>
              </a:ext>
            </a:extLst>
          </p:cNvPr>
          <p:cNvSpPr>
            <a:spLocks noGrp="1"/>
          </p:cNvSpPr>
          <p:nvPr>
            <p:custDataLst>
              <p:tags r:id="rId27"/>
            </p:custDataLst>
          </p:nvPr>
        </p:nvSpPr>
        <p:spPr bwMode="auto">
          <a:xfrm>
            <a:off x="7621588" y="2401888"/>
            <a:ext cx="642938" cy="193675"/>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en-GB" sz="1000" b="1" noProof="0" dirty="0">
                <a:solidFill>
                  <a:schemeClr val="tx1"/>
                </a:solidFill>
                <a:latin typeface="+mn-lt"/>
              </a:rPr>
              <a:t>-4</a:t>
            </a:r>
            <a:r>
              <a:rPr lang="nl-NL" sz="1000" b="1" noProof="0" dirty="0">
                <a:solidFill>
                  <a:schemeClr val="tx1"/>
                </a:solidFill>
                <a:latin typeface="+mn-lt"/>
              </a:rPr>
              <a:t>0-65%</a:t>
            </a:r>
          </a:p>
        </p:txBody>
      </p:sp>
      <p:sp>
        <p:nvSpPr>
          <p:cNvPr id="246" name="Content Placeholder 2">
            <a:extLst>
              <a:ext uri="{FF2B5EF4-FFF2-40B4-BE49-F238E27FC236}">
                <a16:creationId xmlns:a16="http://schemas.microsoft.com/office/drawing/2014/main" id="{77753647-26EA-4D23-A635-569DD49F887D}"/>
              </a:ext>
            </a:extLst>
          </p:cNvPr>
          <p:cNvSpPr txBox="1">
            <a:spLocks/>
          </p:cNvSpPr>
          <p:nvPr/>
        </p:nvSpPr>
        <p:spPr>
          <a:xfrm>
            <a:off x="4376333" y="1642988"/>
            <a:ext cx="7107642" cy="412826"/>
          </a:xfrm>
          <a:prstGeom prst="rect">
            <a:avLst/>
          </a:prstGeom>
          <a:noFill/>
          <a:ln w="19050">
            <a:noFill/>
          </a:ln>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b="1" dirty="0">
                <a:solidFill>
                  <a:srgbClr val="22777B"/>
                </a:solidFill>
              </a:rPr>
              <a:t>Indicatie van te behalen besparingen in Wmo-vervoer </a:t>
            </a:r>
          </a:p>
        </p:txBody>
      </p:sp>
      <p:sp>
        <p:nvSpPr>
          <p:cNvPr id="387" name="Rectangle 386">
            <a:extLst>
              <a:ext uri="{FF2B5EF4-FFF2-40B4-BE49-F238E27FC236}">
                <a16:creationId xmlns:a16="http://schemas.microsoft.com/office/drawing/2014/main" id="{83A18745-E26E-425A-88B8-F2E32D4E08E4}"/>
              </a:ext>
            </a:extLst>
          </p:cNvPr>
          <p:cNvSpPr/>
          <p:nvPr/>
        </p:nvSpPr>
        <p:spPr>
          <a:xfrm>
            <a:off x="6319359" y="2613025"/>
            <a:ext cx="593164" cy="417044"/>
          </a:xfrm>
          <a:prstGeom prst="rect">
            <a:avLst/>
          </a:prstGeom>
          <a:solidFill>
            <a:srgbClr val="6A6A6A"/>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lang="en-GB" sz="1000" dirty="0">
                <a:solidFill>
                  <a:srgbClr val="FFFFFF"/>
                </a:solidFill>
              </a:rPr>
              <a:t>+ x%</a:t>
            </a:r>
            <a:br>
              <a:rPr lang="en-GB" sz="1000" dirty="0">
                <a:solidFill>
                  <a:srgbClr val="FFFFFF"/>
                </a:solidFill>
              </a:rPr>
            </a:br>
            <a:r>
              <a:rPr lang="en-GB" sz="1000" i="1" dirty="0" err="1">
                <a:solidFill>
                  <a:srgbClr val="FFFFFF"/>
                </a:solidFill>
              </a:rPr>
              <a:t>Geen</a:t>
            </a:r>
            <a:r>
              <a:rPr lang="en-GB" sz="1000" i="1" dirty="0">
                <a:solidFill>
                  <a:srgbClr val="FFFFFF"/>
                </a:solidFill>
              </a:rPr>
              <a:t> data</a:t>
            </a:r>
            <a:endParaRPr kumimoji="0" lang="en-GB"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59" name="Rectangle 58">
            <a:extLst>
              <a:ext uri="{FF2B5EF4-FFF2-40B4-BE49-F238E27FC236}">
                <a16:creationId xmlns:a16="http://schemas.microsoft.com/office/drawing/2014/main" id="{1F24BBC0-2F5E-45D3-8A18-EBDC18896A90}"/>
              </a:ext>
            </a:extLst>
          </p:cNvPr>
          <p:cNvSpPr/>
          <p:nvPr/>
        </p:nvSpPr>
        <p:spPr>
          <a:xfrm>
            <a:off x="9709928" y="1267037"/>
            <a:ext cx="1820272" cy="252000"/>
          </a:xfrm>
          <a:prstGeom prst="rect">
            <a:avLst/>
          </a:prstGeom>
          <a:solidFill>
            <a:schemeClr val="bg1">
              <a:lumMod val="95000"/>
            </a:schemeClr>
          </a:solidFill>
          <a:ln>
            <a:solidFill>
              <a:schemeClr val="bg1">
                <a:lumMod val="50000"/>
              </a:schemeClr>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b="1" dirty="0"/>
              <a:t>INDICATIEF</a:t>
            </a:r>
            <a:endParaRPr kumimoji="0" lang="nl-NL" sz="10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Footer Placeholder 8">
            <a:extLst>
              <a:ext uri="{FF2B5EF4-FFF2-40B4-BE49-F238E27FC236}">
                <a16:creationId xmlns:a16="http://schemas.microsoft.com/office/drawing/2014/main" id="{2D462690-AF29-4B89-BA95-F8AB8AC12A4E}"/>
              </a:ext>
            </a:extLst>
          </p:cNvPr>
          <p:cNvSpPr txBox="1">
            <a:spLocks/>
          </p:cNvSpPr>
          <p:nvPr/>
        </p:nvSpPr>
        <p:spPr>
          <a:xfrm>
            <a:off x="661800" y="6624637"/>
            <a:ext cx="10868400" cy="122400"/>
          </a:xfrm>
          <a:prstGeom prst="rect">
            <a:avLst/>
          </a:prstGeom>
        </p:spPr>
        <p:txBody>
          <a:bodyPr vert="horz" lIns="36000" tIns="0" rIns="36000" bIns="0" rtlCol="0" anchor="b"/>
          <a:lstStyle>
            <a:defPPr>
              <a:defRPr lang="nl-NL"/>
            </a:defPPr>
            <a:lvl1pPr marL="0" indent="0">
              <a:buNone/>
              <a:defRPr sz="800">
                <a:latin typeface="+mn-lt"/>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Bron</a:t>
            </a:r>
            <a:r>
              <a:rPr lang="nl-NL"/>
              <a:t>: It's Public </a:t>
            </a:r>
            <a:r>
              <a:rPr lang="nl-NL" dirty="0"/>
              <a:t>analyse o.b.v. project bij betreffende gemeente </a:t>
            </a:r>
          </a:p>
        </p:txBody>
      </p:sp>
    </p:spTree>
    <p:extLst>
      <p:ext uri="{BB962C8B-B14F-4D97-AF65-F5344CB8AC3E}">
        <p14:creationId xmlns:p14="http://schemas.microsoft.com/office/powerpoint/2010/main" val="27089114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A7E2A55-853B-47A9-A999-76B509545684}"/>
              </a:ext>
            </a:extLst>
          </p:cNvPr>
          <p:cNvGraphicFramePr>
            <a:graphicFrameLocks noChangeAspect="1"/>
          </p:cNvGraphicFramePr>
          <p:nvPr>
            <p:custDataLst>
              <p:tags r:id="rId2"/>
            </p:custDataLst>
            <p:extLst>
              <p:ext uri="{D42A27DB-BD31-4B8C-83A1-F6EECF244321}">
                <p14:modId xmlns:p14="http://schemas.microsoft.com/office/powerpoint/2010/main" val="4076309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6" name="think-cell Slide" r:id="rId25" imgW="425" imgH="424" progId="TCLayout.ActiveDocument.1">
                  <p:embed/>
                </p:oleObj>
              </mc:Choice>
              <mc:Fallback>
                <p:oleObj name="think-cell Slide" r:id="rId25" imgW="425" imgH="424" progId="TCLayout.ActiveDocument.1">
                  <p:embed/>
                  <p:pic>
                    <p:nvPicPr>
                      <p:cNvPr id="10" name="Object 9" hidden="1">
                        <a:extLst>
                          <a:ext uri="{FF2B5EF4-FFF2-40B4-BE49-F238E27FC236}">
                            <a16:creationId xmlns:a16="http://schemas.microsoft.com/office/drawing/2014/main" id="{DA7E2A55-853B-47A9-A999-76B50954568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44" name="Title 7">
            <a:extLst>
              <a:ext uri="{FF2B5EF4-FFF2-40B4-BE49-F238E27FC236}">
                <a16:creationId xmlns:a16="http://schemas.microsoft.com/office/drawing/2014/main" id="{CBFD3BB9-1036-4C3D-8E0A-0A288E5A500E}"/>
              </a:ext>
            </a:extLst>
          </p:cNvPr>
          <p:cNvSpPr txBox="1">
            <a:spLocks/>
          </p:cNvSpPr>
          <p:nvPr/>
        </p:nvSpPr>
        <p:spPr>
          <a:xfrm>
            <a:off x="-1" y="265387"/>
            <a:ext cx="12192001" cy="942979"/>
          </a:xfrm>
          <a:prstGeom prst="rect">
            <a:avLst/>
          </a:prstGeom>
          <a:solidFill>
            <a:srgbClr val="22777B"/>
          </a:solidFill>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a:solidFill>
                  <a:schemeClr val="tx2"/>
                </a:solidFill>
                <a:latin typeface="Corbel" panose="020B0503020204020204" pitchFamily="34" charset="0"/>
                <a:ea typeface="+mj-ea"/>
                <a:cs typeface="+mj-cs"/>
              </a:defRPr>
            </a:lvl1pPr>
          </a:lstStyle>
          <a:p>
            <a:pPr marL="0" indent="0">
              <a:buClrTx/>
              <a:buFontTx/>
            </a:pPr>
            <a:r>
              <a:rPr lang="nl-NL" dirty="0">
                <a:solidFill>
                  <a:srgbClr val="FFFFFF"/>
                </a:solidFill>
              </a:rPr>
              <a:t>	</a:t>
            </a:r>
          </a:p>
        </p:txBody>
      </p:sp>
      <p:sp>
        <p:nvSpPr>
          <p:cNvPr id="6" name="Slide Number Placeholder 5">
            <a:extLst>
              <a:ext uri="{FF2B5EF4-FFF2-40B4-BE49-F238E27FC236}">
                <a16:creationId xmlns:a16="http://schemas.microsoft.com/office/drawing/2014/main" id="{EA5B4AF5-72CF-4819-8135-F522810EB50A}"/>
              </a:ext>
            </a:extLst>
          </p:cNvPr>
          <p:cNvSpPr>
            <a:spLocks noGrp="1"/>
          </p:cNvSpPr>
          <p:nvPr>
            <p:ph type="sldNum" sz="quarter" idx="12"/>
          </p:nvPr>
        </p:nvSpPr>
        <p:spPr/>
        <p:txBody>
          <a:bodyPr/>
          <a:lstStyle/>
          <a:p>
            <a:fld id="{992CD0B2-8AB2-4C6C-8876-E15753662C9B}" type="slidenum">
              <a:rPr lang="nl-NL" smtClean="0"/>
              <a:pPr/>
              <a:t>15</a:t>
            </a:fld>
            <a:endParaRPr lang="nl-NL" dirty="0"/>
          </a:p>
        </p:txBody>
      </p:sp>
      <p:sp>
        <p:nvSpPr>
          <p:cNvPr id="47" name="TextBox 46">
            <a:extLst>
              <a:ext uri="{FF2B5EF4-FFF2-40B4-BE49-F238E27FC236}">
                <a16:creationId xmlns:a16="http://schemas.microsoft.com/office/drawing/2014/main" id="{4716077D-F49C-442C-BDB1-5D321EBE6829}"/>
              </a:ext>
            </a:extLst>
          </p:cNvPr>
          <p:cNvSpPr txBox="1"/>
          <p:nvPr/>
        </p:nvSpPr>
        <p:spPr>
          <a:xfrm>
            <a:off x="658813" y="274425"/>
            <a:ext cx="6724448" cy="230832"/>
          </a:xfrm>
          <a:prstGeom prst="rect">
            <a:avLst/>
          </a:prstGeom>
          <a:noFill/>
        </p:spPr>
        <p:txBody>
          <a:bodyPr wrap="square">
            <a:spAutoFit/>
          </a:bodyPr>
          <a:lstStyle/>
          <a:p>
            <a:pPr marL="0" indent="0">
              <a:buNone/>
            </a:pPr>
            <a:r>
              <a:rPr lang="nl-NL" sz="1000" b="1">
                <a:solidFill>
                  <a:srgbClr val="FFFFFF"/>
                </a:solidFill>
              </a:rPr>
              <a:t>Limiteren </a:t>
            </a:r>
            <a:r>
              <a:rPr lang="nl-NL" sz="1000" b="1" dirty="0">
                <a:solidFill>
                  <a:srgbClr val="FFFFFF"/>
                </a:solidFill>
              </a:rPr>
              <a:t>van doelgroepen en gebruik</a:t>
            </a:r>
          </a:p>
        </p:txBody>
      </p:sp>
      <p:sp>
        <p:nvSpPr>
          <p:cNvPr id="48" name="TextBox 47">
            <a:extLst>
              <a:ext uri="{FF2B5EF4-FFF2-40B4-BE49-F238E27FC236}">
                <a16:creationId xmlns:a16="http://schemas.microsoft.com/office/drawing/2014/main" id="{4B8BE3FC-F351-4532-B8C6-69DA96834DD2}"/>
              </a:ext>
            </a:extLst>
          </p:cNvPr>
          <p:cNvSpPr txBox="1"/>
          <p:nvPr/>
        </p:nvSpPr>
        <p:spPr>
          <a:xfrm>
            <a:off x="658813" y="451367"/>
            <a:ext cx="10921582" cy="757130"/>
          </a:xfrm>
          <a:prstGeom prst="rect">
            <a:avLst/>
          </a:prstGeom>
          <a:noFill/>
        </p:spPr>
        <p:txBody>
          <a:bodyPr wrap="square" anchor="ctr">
            <a:spAutoFit/>
          </a:bodyPr>
          <a:lstStyle/>
          <a:p>
            <a:pPr marL="0" indent="0">
              <a:buNone/>
            </a:pPr>
            <a:r>
              <a:rPr lang="nl-NL" sz="2400" b="1" dirty="0">
                <a:solidFill>
                  <a:srgbClr val="FFFFFF"/>
                </a:solidFill>
              </a:rPr>
              <a:t>Limiteren kan veel opleveren: typisch is 10% van de gebruikers verantwoordelijk voor 50% van de kosten</a:t>
            </a:r>
          </a:p>
        </p:txBody>
      </p:sp>
      <p:grpSp>
        <p:nvGrpSpPr>
          <p:cNvPr id="3" name="Group 2">
            <a:extLst>
              <a:ext uri="{FF2B5EF4-FFF2-40B4-BE49-F238E27FC236}">
                <a16:creationId xmlns:a16="http://schemas.microsoft.com/office/drawing/2014/main" id="{830AF456-1FAD-4B39-9F9D-838F84B925D9}"/>
              </a:ext>
            </a:extLst>
          </p:cNvPr>
          <p:cNvGrpSpPr/>
          <p:nvPr/>
        </p:nvGrpSpPr>
        <p:grpSpPr>
          <a:xfrm>
            <a:off x="701659" y="55733"/>
            <a:ext cx="2040807" cy="176387"/>
            <a:chOff x="701659" y="55733"/>
            <a:chExt cx="2040807" cy="176387"/>
          </a:xfrm>
        </p:grpSpPr>
        <p:sp>
          <p:nvSpPr>
            <p:cNvPr id="22" name="Rectangle: Rounded Corners 21">
              <a:extLst>
                <a:ext uri="{FF2B5EF4-FFF2-40B4-BE49-F238E27FC236}">
                  <a16:creationId xmlns:a16="http://schemas.microsoft.com/office/drawing/2014/main" id="{5DDAF52E-6F1F-44A6-A15D-ACCAD4A508EF}"/>
                </a:ext>
              </a:extLst>
            </p:cNvPr>
            <p:cNvSpPr/>
            <p:nvPr/>
          </p:nvSpPr>
          <p:spPr>
            <a:xfrm>
              <a:off x="931253" y="55733"/>
              <a:ext cx="204053" cy="176387"/>
            </a:xfrm>
            <a:prstGeom prst="roundRect">
              <a:avLst/>
            </a:prstGeom>
            <a:solidFill>
              <a:srgbClr val="EC6224"/>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a:t>
              </a:r>
            </a:p>
          </p:txBody>
        </p:sp>
        <p:sp>
          <p:nvSpPr>
            <p:cNvPr id="23" name="Rectangle: Rounded Corners 22">
              <a:extLst>
                <a:ext uri="{FF2B5EF4-FFF2-40B4-BE49-F238E27FC236}">
                  <a16:creationId xmlns:a16="http://schemas.microsoft.com/office/drawing/2014/main" id="{0A598342-9F11-4EE6-9FDA-32696E25F8CC}"/>
                </a:ext>
              </a:extLst>
            </p:cNvPr>
            <p:cNvSpPr/>
            <p:nvPr/>
          </p:nvSpPr>
          <p:spPr>
            <a:xfrm>
              <a:off x="116084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2</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24" name="Rectangle: Rounded Corners 23">
              <a:extLst>
                <a:ext uri="{FF2B5EF4-FFF2-40B4-BE49-F238E27FC236}">
                  <a16:creationId xmlns:a16="http://schemas.microsoft.com/office/drawing/2014/main" id="{A34DA8EF-1A6B-42C3-9F34-46E0E053BFA5}"/>
                </a:ext>
              </a:extLst>
            </p:cNvPr>
            <p:cNvSpPr/>
            <p:nvPr/>
          </p:nvSpPr>
          <p:spPr>
            <a:xfrm>
              <a:off x="1390441"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3</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25" name="Rectangle: Rounded Corners 24">
              <a:extLst>
                <a:ext uri="{FF2B5EF4-FFF2-40B4-BE49-F238E27FC236}">
                  <a16:creationId xmlns:a16="http://schemas.microsoft.com/office/drawing/2014/main" id="{0974EDF3-0626-4DFD-B2D8-187F722C739D}"/>
                </a:ext>
              </a:extLst>
            </p:cNvPr>
            <p:cNvSpPr/>
            <p:nvPr/>
          </p:nvSpPr>
          <p:spPr>
            <a:xfrm>
              <a:off x="1620035"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4</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26" name="Rectangle: Rounded Corners 25">
              <a:extLst>
                <a:ext uri="{FF2B5EF4-FFF2-40B4-BE49-F238E27FC236}">
                  <a16:creationId xmlns:a16="http://schemas.microsoft.com/office/drawing/2014/main" id="{F4ACEF84-518A-4826-8244-D33B050B60CA}"/>
                </a:ext>
              </a:extLst>
            </p:cNvPr>
            <p:cNvSpPr/>
            <p:nvPr/>
          </p:nvSpPr>
          <p:spPr>
            <a:xfrm>
              <a:off x="184962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5</a:t>
              </a:r>
            </a:p>
          </p:txBody>
        </p:sp>
        <p:sp>
          <p:nvSpPr>
            <p:cNvPr id="28" name="Rectangle: Rounded Corners 27">
              <a:extLst>
                <a:ext uri="{FF2B5EF4-FFF2-40B4-BE49-F238E27FC236}">
                  <a16:creationId xmlns:a16="http://schemas.microsoft.com/office/drawing/2014/main" id="{9455E2AF-268E-40B0-B067-CB227CD4FBB2}"/>
                </a:ext>
              </a:extLst>
            </p:cNvPr>
            <p:cNvSpPr/>
            <p:nvPr/>
          </p:nvSpPr>
          <p:spPr>
            <a:xfrm>
              <a:off x="207922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6</a:t>
              </a:r>
            </a:p>
          </p:txBody>
        </p:sp>
        <p:sp>
          <p:nvSpPr>
            <p:cNvPr id="29" name="Rectangle: Rounded Corners 28">
              <a:extLst>
                <a:ext uri="{FF2B5EF4-FFF2-40B4-BE49-F238E27FC236}">
                  <a16:creationId xmlns:a16="http://schemas.microsoft.com/office/drawing/2014/main" id="{79259517-B0DA-4174-AE18-23D9F3022685}"/>
                </a:ext>
              </a:extLst>
            </p:cNvPr>
            <p:cNvSpPr/>
            <p:nvPr/>
          </p:nvSpPr>
          <p:spPr>
            <a:xfrm>
              <a:off x="230881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7</a:t>
              </a:r>
            </a:p>
          </p:txBody>
        </p:sp>
        <p:sp>
          <p:nvSpPr>
            <p:cNvPr id="30" name="Rectangle: Rounded Corners 29">
              <a:extLst>
                <a:ext uri="{FF2B5EF4-FFF2-40B4-BE49-F238E27FC236}">
                  <a16:creationId xmlns:a16="http://schemas.microsoft.com/office/drawing/2014/main" id="{428F81FF-BF8C-43A0-95F0-363D35E1CD35}"/>
                </a:ext>
              </a:extLst>
            </p:cNvPr>
            <p:cNvSpPr/>
            <p:nvPr/>
          </p:nvSpPr>
          <p:spPr>
            <a:xfrm>
              <a:off x="253841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8</a:t>
              </a:r>
            </a:p>
          </p:txBody>
        </p:sp>
        <p:grpSp>
          <p:nvGrpSpPr>
            <p:cNvPr id="31" name="Group 30">
              <a:extLst>
                <a:ext uri="{FF2B5EF4-FFF2-40B4-BE49-F238E27FC236}">
                  <a16:creationId xmlns:a16="http://schemas.microsoft.com/office/drawing/2014/main" id="{8EC52E4D-B592-45A1-AA4C-F198BA4E3006}"/>
                </a:ext>
              </a:extLst>
            </p:cNvPr>
            <p:cNvGrpSpPr/>
            <p:nvPr/>
          </p:nvGrpSpPr>
          <p:grpSpPr>
            <a:xfrm>
              <a:off x="701659" y="55733"/>
              <a:ext cx="204053" cy="176387"/>
              <a:chOff x="701659" y="55733"/>
              <a:chExt cx="204053" cy="176387"/>
            </a:xfrm>
          </p:grpSpPr>
          <p:sp>
            <p:nvSpPr>
              <p:cNvPr id="32" name="Rectangle: Rounded Corners 31">
                <a:extLst>
                  <a:ext uri="{FF2B5EF4-FFF2-40B4-BE49-F238E27FC236}">
                    <a16:creationId xmlns:a16="http://schemas.microsoft.com/office/drawing/2014/main" id="{3579C41D-7C81-4CA1-812D-1FC0F6EF2A18}"/>
                  </a:ext>
                </a:extLst>
              </p:cNvPr>
              <p:cNvSpPr/>
              <p:nvPr/>
            </p:nvSpPr>
            <p:spPr>
              <a:xfrm>
                <a:off x="70165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33" name="Graphic 32" descr="Home with solid fill">
                <a:hlinkClick r:id="rId27" action="ppaction://hlinksldjump"/>
                <a:extLst>
                  <a:ext uri="{FF2B5EF4-FFF2-40B4-BE49-F238E27FC236}">
                    <a16:creationId xmlns:a16="http://schemas.microsoft.com/office/drawing/2014/main" id="{AF5F0703-FA16-4590-BF5D-4A346480B6CB}"/>
                  </a:ext>
                </a:extLst>
              </p:cNvPr>
              <p:cNvPicPr>
                <a:picLocks noChangeAspect="1"/>
              </p:cNvPicPr>
              <p:nvPr/>
            </p:nvPicPr>
            <p:blipFill>
              <a:blip r:embed="rId28" cstate="print">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734263" y="63707"/>
                <a:ext cx="136149" cy="136149"/>
              </a:xfrm>
              <a:prstGeom prst="rect">
                <a:avLst/>
              </a:prstGeom>
            </p:spPr>
          </p:pic>
        </p:grpSp>
      </p:grpSp>
      <p:graphicFrame>
        <p:nvGraphicFramePr>
          <p:cNvPr id="113" name="Chart 112">
            <a:extLst>
              <a:ext uri="{FF2B5EF4-FFF2-40B4-BE49-F238E27FC236}">
                <a16:creationId xmlns:a16="http://schemas.microsoft.com/office/drawing/2014/main" id="{A3802D0D-FF87-48B8-BF6E-50C6312295AF}"/>
              </a:ext>
            </a:extLst>
          </p:cNvPr>
          <p:cNvGraphicFramePr/>
          <p:nvPr>
            <p:custDataLst>
              <p:tags r:id="rId3"/>
            </p:custDataLst>
            <p:extLst>
              <p:ext uri="{D42A27DB-BD31-4B8C-83A1-F6EECF244321}">
                <p14:modId xmlns:p14="http://schemas.microsoft.com/office/powerpoint/2010/main" val="316969185"/>
              </p:ext>
            </p:extLst>
          </p:nvPr>
        </p:nvGraphicFramePr>
        <p:xfrm>
          <a:off x="576263" y="2439988"/>
          <a:ext cx="10731500" cy="3300412"/>
        </p:xfrm>
        <a:graphic>
          <a:graphicData uri="http://schemas.openxmlformats.org/drawingml/2006/chart">
            <c:chart xmlns:c="http://schemas.openxmlformats.org/drawingml/2006/chart" xmlns:r="http://schemas.openxmlformats.org/officeDocument/2006/relationships" r:id="rId30"/>
          </a:graphicData>
        </a:graphic>
      </p:graphicFrame>
      <p:sp>
        <p:nvSpPr>
          <p:cNvPr id="54" name="Text Placeholder 5">
            <a:extLst>
              <a:ext uri="{FF2B5EF4-FFF2-40B4-BE49-F238E27FC236}">
                <a16:creationId xmlns:a16="http://schemas.microsoft.com/office/drawing/2014/main" id="{9046F8A0-F1CC-4F16-A54B-415653420409}"/>
              </a:ext>
            </a:extLst>
          </p:cNvPr>
          <p:cNvSpPr>
            <a:spLocks noGrp="1"/>
          </p:cNvSpPr>
          <p:nvPr>
            <p:custDataLst>
              <p:tags r:id="rId4"/>
            </p:custDataLst>
          </p:nvPr>
        </p:nvSpPr>
        <p:spPr bwMode="auto">
          <a:xfrm>
            <a:off x="9423400" y="5759449"/>
            <a:ext cx="4318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9B43DE55-DD33-4DB5-840C-D6DF0318CD68}" type="datetime'&lt;''''1.0''''''''''0''''''''''0'''''''''''''''''''''''''''''">
              <a:rPr lang="nl-NL" altLang="en-US" sz="1200" smtClean="0">
                <a:solidFill>
                  <a:schemeClr val="tx1"/>
                </a:solidFill>
              </a:rPr>
              <a:pPr/>
              <a:t>&lt;1.000</a:t>
            </a:fld>
            <a:endParaRPr lang="nl-NL" sz="1200" noProof="0" dirty="0">
              <a:solidFill>
                <a:schemeClr val="tx1"/>
              </a:solidFill>
              <a:latin typeface="+mn-lt"/>
            </a:endParaRPr>
          </a:p>
        </p:txBody>
      </p:sp>
      <p:sp>
        <p:nvSpPr>
          <p:cNvPr id="38" name="Text Placeholder 5">
            <a:extLst>
              <a:ext uri="{FF2B5EF4-FFF2-40B4-BE49-F238E27FC236}">
                <a16:creationId xmlns:a16="http://schemas.microsoft.com/office/drawing/2014/main" id="{6867565F-958B-4F0D-BE98-774864AE4F80}"/>
              </a:ext>
            </a:extLst>
          </p:cNvPr>
          <p:cNvSpPr>
            <a:spLocks noGrp="1"/>
          </p:cNvSpPr>
          <p:nvPr>
            <p:custDataLst>
              <p:tags r:id="rId5"/>
            </p:custDataLst>
          </p:nvPr>
        </p:nvSpPr>
        <p:spPr bwMode="auto">
          <a:xfrm>
            <a:off x="1066799" y="5759449"/>
            <a:ext cx="2428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D35AEEFD-AB3D-4280-95A2-E3F2112DDEEA}" type="datetime'''''&lt;2''''''''''''''''0'''''''''''''''''''''''">
              <a:rPr lang="nl-NL" altLang="en-US" sz="1200" smtClean="0">
                <a:solidFill>
                  <a:schemeClr val="tx1"/>
                </a:solidFill>
              </a:rPr>
              <a:pPr/>
              <a:t>&lt;20</a:t>
            </a:fld>
            <a:endParaRPr lang="nl-NL" sz="1200" noProof="0" dirty="0">
              <a:solidFill>
                <a:schemeClr val="tx1"/>
              </a:solidFill>
              <a:latin typeface="+mn-lt"/>
            </a:endParaRPr>
          </a:p>
        </p:txBody>
      </p:sp>
      <p:sp>
        <p:nvSpPr>
          <p:cNvPr id="42" name="Text Placeholder 5">
            <a:extLst>
              <a:ext uri="{FF2B5EF4-FFF2-40B4-BE49-F238E27FC236}">
                <a16:creationId xmlns:a16="http://schemas.microsoft.com/office/drawing/2014/main" id="{73505323-93A0-46C3-8F96-E9F5A36AD212}"/>
              </a:ext>
            </a:extLst>
          </p:cNvPr>
          <p:cNvSpPr>
            <a:spLocks noGrp="1"/>
          </p:cNvSpPr>
          <p:nvPr>
            <p:custDataLst>
              <p:tags r:id="rId6"/>
            </p:custDataLst>
          </p:nvPr>
        </p:nvSpPr>
        <p:spPr bwMode="auto">
          <a:xfrm>
            <a:off x="4232275" y="5759449"/>
            <a:ext cx="2476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3142E5ED-7E18-461F-84AA-1189A1CAB2BF}" type="datetime'''''''''''''''&lt;9''''''''''0'''''''''''''''''''''''">
              <a:rPr lang="nl-NL" altLang="en-US" sz="1200" smtClean="0">
                <a:solidFill>
                  <a:schemeClr val="tx1"/>
                </a:solidFill>
              </a:rPr>
              <a:pPr/>
              <a:t>&lt;90</a:t>
            </a:fld>
            <a:endParaRPr lang="nl-NL" sz="1200" noProof="0" dirty="0">
              <a:solidFill>
                <a:schemeClr val="tx1"/>
              </a:solidFill>
              <a:latin typeface="+mn-lt"/>
            </a:endParaRPr>
          </a:p>
        </p:txBody>
      </p:sp>
      <p:sp>
        <p:nvSpPr>
          <p:cNvPr id="40" name="Text Placeholder 5">
            <a:extLst>
              <a:ext uri="{FF2B5EF4-FFF2-40B4-BE49-F238E27FC236}">
                <a16:creationId xmlns:a16="http://schemas.microsoft.com/office/drawing/2014/main" id="{B2CBB251-2698-48ED-886F-49370FA05ACE}"/>
              </a:ext>
            </a:extLst>
          </p:cNvPr>
          <p:cNvSpPr>
            <a:spLocks noGrp="1"/>
          </p:cNvSpPr>
          <p:nvPr>
            <p:custDataLst>
              <p:tags r:id="rId7"/>
            </p:custDataLst>
          </p:nvPr>
        </p:nvSpPr>
        <p:spPr bwMode="auto">
          <a:xfrm>
            <a:off x="2119312" y="5759449"/>
            <a:ext cx="2476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D959260B-0627-44FF-A7BE-03E52C2619F8}" type="datetime'''''&lt;''''''''''''''''''''''''''''''''''''''''''40'">
              <a:rPr lang="nl-NL" altLang="en-US" sz="1200" smtClean="0">
                <a:solidFill>
                  <a:schemeClr val="tx1"/>
                </a:solidFill>
              </a:rPr>
              <a:pPr/>
              <a:t>&lt;40</a:t>
            </a:fld>
            <a:endParaRPr lang="nl-NL" sz="1200" noProof="0" dirty="0">
              <a:solidFill>
                <a:schemeClr val="tx1"/>
              </a:solidFill>
              <a:latin typeface="+mn-lt"/>
            </a:endParaRPr>
          </a:p>
        </p:txBody>
      </p:sp>
      <p:sp>
        <p:nvSpPr>
          <p:cNvPr id="41" name="Text Placeholder 5">
            <a:extLst>
              <a:ext uri="{FF2B5EF4-FFF2-40B4-BE49-F238E27FC236}">
                <a16:creationId xmlns:a16="http://schemas.microsoft.com/office/drawing/2014/main" id="{FD232E15-8AF1-40E3-9A34-83DB750A5688}"/>
              </a:ext>
            </a:extLst>
          </p:cNvPr>
          <p:cNvSpPr>
            <a:spLocks noGrp="1"/>
          </p:cNvSpPr>
          <p:nvPr>
            <p:custDataLst>
              <p:tags r:id="rId8"/>
            </p:custDataLst>
          </p:nvPr>
        </p:nvSpPr>
        <p:spPr bwMode="gray">
          <a:xfrm>
            <a:off x="3178175" y="5543549"/>
            <a:ext cx="244475" cy="165100"/>
          </a:xfrm>
          <a:prstGeom prst="rect">
            <a:avLst/>
          </a:prstGeom>
          <a:solidFill>
            <a:schemeClr val="accent3"/>
          </a:solidFill>
          <a:ln>
            <a:noFill/>
          </a:ln>
        </p:spPr>
        <p:txBody>
          <a:bodyPr vert="horz" wrap="none" lIns="22225" tIns="0" rIns="22225"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114422C7-D6EE-4E32-8112-807FD91A5DA2}" type="datetime'''''''''''''''''1''''''''''''''''''''%'">
              <a:rPr lang="nl-NL" altLang="en-US" sz="1200" b="1" smtClean="0">
                <a:solidFill>
                  <a:schemeClr val="bg1"/>
                </a:solidFill>
                <a:effectLst/>
              </a:rPr>
              <a:pPr/>
              <a:t>1%</a:t>
            </a:fld>
            <a:endParaRPr lang="nl-NL" sz="1200" b="1" noProof="0" dirty="0">
              <a:solidFill>
                <a:schemeClr val="bg1"/>
              </a:solidFill>
              <a:latin typeface="+mn-lt"/>
            </a:endParaRPr>
          </a:p>
        </p:txBody>
      </p:sp>
      <p:sp>
        <p:nvSpPr>
          <p:cNvPr id="39" name="Text Placeholder 5">
            <a:extLst>
              <a:ext uri="{FF2B5EF4-FFF2-40B4-BE49-F238E27FC236}">
                <a16:creationId xmlns:a16="http://schemas.microsoft.com/office/drawing/2014/main" id="{D9D5E75B-668C-4836-BE3E-B38AE554D3E6}"/>
              </a:ext>
            </a:extLst>
          </p:cNvPr>
          <p:cNvSpPr>
            <a:spLocks noGrp="1"/>
          </p:cNvSpPr>
          <p:nvPr>
            <p:custDataLst>
              <p:tags r:id="rId9"/>
            </p:custDataLst>
          </p:nvPr>
        </p:nvSpPr>
        <p:spPr bwMode="gray">
          <a:xfrm>
            <a:off x="2120900" y="5543549"/>
            <a:ext cx="244475" cy="165100"/>
          </a:xfrm>
          <a:prstGeom prst="rect">
            <a:avLst/>
          </a:prstGeom>
          <a:solidFill>
            <a:schemeClr val="accent3"/>
          </a:solidFill>
          <a:ln>
            <a:noFill/>
          </a:ln>
        </p:spPr>
        <p:txBody>
          <a:bodyPr vert="horz" wrap="none" lIns="22225" tIns="0" rIns="22225"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920DD364-FCBC-40F7-B866-71A1ADE370B7}" type="datetime'''''''1''''''''''''''''''''''''''''''''''''''''''''''''''%'''">
              <a:rPr lang="nl-NL" altLang="en-US" sz="1200" b="1" smtClean="0">
                <a:solidFill>
                  <a:schemeClr val="bg1"/>
                </a:solidFill>
                <a:effectLst/>
              </a:rPr>
              <a:pPr/>
              <a:t>1%</a:t>
            </a:fld>
            <a:endParaRPr lang="nl-NL" sz="1200" b="1" noProof="0" dirty="0">
              <a:solidFill>
                <a:schemeClr val="bg1"/>
              </a:solidFill>
              <a:latin typeface="+mn-lt"/>
            </a:endParaRPr>
          </a:p>
        </p:txBody>
      </p:sp>
      <p:sp>
        <p:nvSpPr>
          <p:cNvPr id="43" name="Text Placeholder 5">
            <a:extLst>
              <a:ext uri="{FF2B5EF4-FFF2-40B4-BE49-F238E27FC236}">
                <a16:creationId xmlns:a16="http://schemas.microsoft.com/office/drawing/2014/main" id="{56EF52CD-4A71-4DAA-A40E-02C3F2629C8C}"/>
              </a:ext>
            </a:extLst>
          </p:cNvPr>
          <p:cNvSpPr>
            <a:spLocks noGrp="1"/>
          </p:cNvSpPr>
          <p:nvPr>
            <p:custDataLst>
              <p:tags r:id="rId10"/>
            </p:custDataLst>
          </p:nvPr>
        </p:nvSpPr>
        <p:spPr bwMode="auto">
          <a:xfrm>
            <a:off x="3176588" y="5759449"/>
            <a:ext cx="2476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AFA0FF21-FB70-4B65-AD74-44BF182A46E6}" type="datetime'''''''''''''''''''''''''''''''&lt;6''''0'''''''''''">
              <a:rPr lang="nl-NL" altLang="en-US" sz="1200" smtClean="0">
                <a:solidFill>
                  <a:schemeClr val="tx1"/>
                </a:solidFill>
              </a:rPr>
              <a:pPr/>
              <a:t>&lt;60</a:t>
            </a:fld>
            <a:endParaRPr lang="nl-NL" sz="1200" noProof="0" dirty="0">
              <a:solidFill>
                <a:schemeClr val="tx1"/>
              </a:solidFill>
              <a:latin typeface="+mn-lt"/>
            </a:endParaRPr>
          </a:p>
        </p:txBody>
      </p:sp>
      <p:sp>
        <p:nvSpPr>
          <p:cNvPr id="37" name="Text Placeholder 5">
            <a:extLst>
              <a:ext uri="{FF2B5EF4-FFF2-40B4-BE49-F238E27FC236}">
                <a16:creationId xmlns:a16="http://schemas.microsoft.com/office/drawing/2014/main" id="{1505545B-C919-4F2B-82A1-460853078F87}"/>
              </a:ext>
            </a:extLst>
          </p:cNvPr>
          <p:cNvSpPr>
            <a:spLocks noGrp="1"/>
          </p:cNvSpPr>
          <p:nvPr>
            <p:custDataLst>
              <p:tags r:id="rId11"/>
            </p:custDataLst>
          </p:nvPr>
        </p:nvSpPr>
        <p:spPr bwMode="gray">
          <a:xfrm>
            <a:off x="4233863" y="5511799"/>
            <a:ext cx="246063" cy="165100"/>
          </a:xfrm>
          <a:prstGeom prst="rect">
            <a:avLst/>
          </a:prstGeom>
          <a:solidFill>
            <a:schemeClr val="accent3"/>
          </a:solidFill>
          <a:ln>
            <a:noFill/>
          </a:ln>
        </p:spPr>
        <p:txBody>
          <a:bodyPr vert="horz" wrap="none" lIns="22225" tIns="0" rIns="22225"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FDB57802-22F2-493C-96B4-19DD47DE0063}" type="datetime'2''''''''''''''''''''''''''''%'''''''''''''''''">
              <a:rPr lang="nl-NL" altLang="en-US" sz="1200" b="1" smtClean="0">
                <a:solidFill>
                  <a:schemeClr val="bg1"/>
                </a:solidFill>
              </a:rPr>
              <a:pPr/>
              <a:t>2%</a:t>
            </a:fld>
            <a:endParaRPr lang="nl-NL" sz="1200" b="1" noProof="0" dirty="0">
              <a:solidFill>
                <a:schemeClr val="bg1"/>
              </a:solidFill>
              <a:latin typeface="+mn-lt"/>
            </a:endParaRPr>
          </a:p>
        </p:txBody>
      </p:sp>
      <p:sp>
        <p:nvSpPr>
          <p:cNvPr id="36" name="Text Placeholder 5">
            <a:extLst>
              <a:ext uri="{FF2B5EF4-FFF2-40B4-BE49-F238E27FC236}">
                <a16:creationId xmlns:a16="http://schemas.microsoft.com/office/drawing/2014/main" id="{AEC06906-65C0-4E4E-8E71-AA3098E7BBD4}"/>
              </a:ext>
            </a:extLst>
          </p:cNvPr>
          <p:cNvSpPr>
            <a:spLocks noGrp="1"/>
          </p:cNvSpPr>
          <p:nvPr>
            <p:custDataLst>
              <p:tags r:id="rId12"/>
            </p:custDataLst>
          </p:nvPr>
        </p:nvSpPr>
        <p:spPr bwMode="gray">
          <a:xfrm>
            <a:off x="5291138" y="5481637"/>
            <a:ext cx="2444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A9A55C94-3E54-4580-A35E-C87EE57B550F}" type="datetime'''''''''''3''''''''''''''''%'''''''">
              <a:rPr lang="nl-NL" altLang="en-US" sz="1200" b="1" smtClean="0">
                <a:solidFill>
                  <a:schemeClr val="bg1"/>
                </a:solidFill>
              </a:rPr>
              <a:pPr/>
              <a:t>3%</a:t>
            </a:fld>
            <a:endParaRPr lang="nl-NL" sz="1200" b="1" noProof="0" dirty="0">
              <a:solidFill>
                <a:schemeClr val="bg1"/>
              </a:solidFill>
              <a:latin typeface="+mn-lt"/>
            </a:endParaRPr>
          </a:p>
        </p:txBody>
      </p:sp>
      <p:sp>
        <p:nvSpPr>
          <p:cNvPr id="44" name="Text Placeholder 5">
            <a:extLst>
              <a:ext uri="{FF2B5EF4-FFF2-40B4-BE49-F238E27FC236}">
                <a16:creationId xmlns:a16="http://schemas.microsoft.com/office/drawing/2014/main" id="{595A1EB9-C800-4894-8ADE-37E266930BCB}"/>
              </a:ext>
            </a:extLst>
          </p:cNvPr>
          <p:cNvSpPr>
            <a:spLocks noGrp="1"/>
          </p:cNvSpPr>
          <p:nvPr>
            <p:custDataLst>
              <p:tags r:id="rId13"/>
            </p:custDataLst>
          </p:nvPr>
        </p:nvSpPr>
        <p:spPr bwMode="auto">
          <a:xfrm>
            <a:off x="5260975" y="5759449"/>
            <a:ext cx="3063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8313131E-2634-4478-8F20-DDA8505F2229}" type="datetime'''''''''''&lt;''''1''''''''''''''''''50'''''''''''''''''">
              <a:rPr lang="nl-NL" altLang="en-US" sz="1200" smtClean="0">
                <a:solidFill>
                  <a:schemeClr val="tx1"/>
                </a:solidFill>
              </a:rPr>
              <a:pPr/>
              <a:t>&lt;150</a:t>
            </a:fld>
            <a:endParaRPr lang="nl-NL" sz="1200" noProof="0" dirty="0">
              <a:solidFill>
                <a:schemeClr val="tx1"/>
              </a:solidFill>
              <a:latin typeface="+mn-lt"/>
            </a:endParaRPr>
          </a:p>
        </p:txBody>
      </p:sp>
      <p:sp>
        <p:nvSpPr>
          <p:cNvPr id="45" name="Text Placeholder 5">
            <a:extLst>
              <a:ext uri="{FF2B5EF4-FFF2-40B4-BE49-F238E27FC236}">
                <a16:creationId xmlns:a16="http://schemas.microsoft.com/office/drawing/2014/main" id="{13518748-EEFD-4248-94EA-80C716133C98}"/>
              </a:ext>
            </a:extLst>
          </p:cNvPr>
          <p:cNvSpPr>
            <a:spLocks noGrp="1"/>
          </p:cNvSpPr>
          <p:nvPr>
            <p:custDataLst>
              <p:tags r:id="rId14"/>
            </p:custDataLst>
          </p:nvPr>
        </p:nvSpPr>
        <p:spPr bwMode="gray">
          <a:xfrm>
            <a:off x="6348413" y="5418137"/>
            <a:ext cx="2444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370F4E69-969F-4F96-B1BA-887BF121644D}" type="datetime'5''''''''''''''''%'''">
              <a:rPr lang="nl-NL" altLang="en-US" sz="1200" b="1" smtClean="0">
                <a:solidFill>
                  <a:schemeClr val="bg1"/>
                </a:solidFill>
              </a:rPr>
              <a:pPr/>
              <a:t>5%</a:t>
            </a:fld>
            <a:endParaRPr lang="nl-NL" sz="1200" b="1" noProof="0" dirty="0">
              <a:solidFill>
                <a:schemeClr val="bg1"/>
              </a:solidFill>
              <a:latin typeface="+mn-lt"/>
            </a:endParaRPr>
          </a:p>
        </p:txBody>
      </p:sp>
      <p:sp>
        <p:nvSpPr>
          <p:cNvPr id="46" name="Text Placeholder 5">
            <a:extLst>
              <a:ext uri="{FF2B5EF4-FFF2-40B4-BE49-F238E27FC236}">
                <a16:creationId xmlns:a16="http://schemas.microsoft.com/office/drawing/2014/main" id="{22FF99E6-B2F9-4CA8-859A-DC0274D19D66}"/>
              </a:ext>
            </a:extLst>
          </p:cNvPr>
          <p:cNvSpPr>
            <a:spLocks noGrp="1"/>
          </p:cNvSpPr>
          <p:nvPr>
            <p:custDataLst>
              <p:tags r:id="rId15"/>
            </p:custDataLst>
          </p:nvPr>
        </p:nvSpPr>
        <p:spPr bwMode="auto">
          <a:xfrm>
            <a:off x="6310313" y="5759449"/>
            <a:ext cx="3206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F34172D1-2C75-4B02-A5F8-0BFBA63F08FD}" type="datetime'''''''''''''&lt;''''''''2''''0''''''''''''0'''''">
              <a:rPr lang="nl-NL" altLang="en-US" sz="1200" smtClean="0">
                <a:solidFill>
                  <a:schemeClr val="tx1"/>
                </a:solidFill>
              </a:rPr>
              <a:pPr/>
              <a:t>&lt;200</a:t>
            </a:fld>
            <a:endParaRPr lang="nl-NL" sz="1200" noProof="0" dirty="0">
              <a:solidFill>
                <a:schemeClr val="tx1"/>
              </a:solidFill>
              <a:latin typeface="+mn-lt"/>
            </a:endParaRPr>
          </a:p>
        </p:txBody>
      </p:sp>
      <p:sp>
        <p:nvSpPr>
          <p:cNvPr id="49" name="Text Placeholder 5">
            <a:extLst>
              <a:ext uri="{FF2B5EF4-FFF2-40B4-BE49-F238E27FC236}">
                <a16:creationId xmlns:a16="http://schemas.microsoft.com/office/drawing/2014/main" id="{D325805F-F24B-4017-AEF8-823694F15D53}"/>
              </a:ext>
            </a:extLst>
          </p:cNvPr>
          <p:cNvSpPr>
            <a:spLocks noGrp="1"/>
          </p:cNvSpPr>
          <p:nvPr>
            <p:custDataLst>
              <p:tags r:id="rId16"/>
            </p:custDataLst>
          </p:nvPr>
        </p:nvSpPr>
        <p:spPr bwMode="gray">
          <a:xfrm>
            <a:off x="7399337" y="5340349"/>
            <a:ext cx="2540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DB2CC815-8E94-492A-A951-E0E516808E6A}" type="datetime'''''''''''8%'''''''''''''''''''''''">
              <a:rPr lang="nl-NL" altLang="en-US" sz="1200" b="1" smtClean="0">
                <a:solidFill>
                  <a:schemeClr val="bg1"/>
                </a:solidFill>
              </a:rPr>
              <a:pPr/>
              <a:t>8%</a:t>
            </a:fld>
            <a:endParaRPr lang="nl-NL" sz="1200" b="1" noProof="0" dirty="0">
              <a:solidFill>
                <a:schemeClr val="bg1"/>
              </a:solidFill>
              <a:latin typeface="+mn-lt"/>
            </a:endParaRPr>
          </a:p>
        </p:txBody>
      </p:sp>
      <p:sp>
        <p:nvSpPr>
          <p:cNvPr id="50" name="Text Placeholder 5">
            <a:extLst>
              <a:ext uri="{FF2B5EF4-FFF2-40B4-BE49-F238E27FC236}">
                <a16:creationId xmlns:a16="http://schemas.microsoft.com/office/drawing/2014/main" id="{CECAFB70-A5C1-4467-8106-898AEAA35090}"/>
              </a:ext>
            </a:extLst>
          </p:cNvPr>
          <p:cNvSpPr>
            <a:spLocks noGrp="1"/>
          </p:cNvSpPr>
          <p:nvPr>
            <p:custDataLst>
              <p:tags r:id="rId17"/>
            </p:custDataLst>
          </p:nvPr>
        </p:nvSpPr>
        <p:spPr bwMode="auto">
          <a:xfrm>
            <a:off x="7369175" y="5759449"/>
            <a:ext cx="3159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64179EFC-64C9-44C3-B58A-B87D8A56749B}" type="datetime'''''''''''''''''''''''''''''''''''''''''''''''&lt;3''0''0'''">
              <a:rPr lang="nl-NL" altLang="en-US" sz="1200" smtClean="0">
                <a:solidFill>
                  <a:schemeClr val="tx1"/>
                </a:solidFill>
              </a:rPr>
              <a:pPr/>
              <a:t>&lt;300</a:t>
            </a:fld>
            <a:endParaRPr lang="nl-NL" sz="1200" noProof="0" dirty="0">
              <a:solidFill>
                <a:schemeClr val="tx1"/>
              </a:solidFill>
              <a:latin typeface="+mn-lt"/>
            </a:endParaRPr>
          </a:p>
        </p:txBody>
      </p:sp>
      <p:sp>
        <p:nvSpPr>
          <p:cNvPr id="52" name="Text Placeholder 5">
            <a:extLst>
              <a:ext uri="{FF2B5EF4-FFF2-40B4-BE49-F238E27FC236}">
                <a16:creationId xmlns:a16="http://schemas.microsoft.com/office/drawing/2014/main" id="{CD6F8A98-AB29-40B3-933C-4B06ACC706D9}"/>
              </a:ext>
            </a:extLst>
          </p:cNvPr>
          <p:cNvSpPr>
            <a:spLocks noGrp="1"/>
          </p:cNvSpPr>
          <p:nvPr>
            <p:custDataLst>
              <p:tags r:id="rId18"/>
            </p:custDataLst>
          </p:nvPr>
        </p:nvSpPr>
        <p:spPr bwMode="gray">
          <a:xfrm>
            <a:off x="8423275" y="5260974"/>
            <a:ext cx="3222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3B332ACF-C53D-451C-B4B8-9CC31353FBBE}" type="datetime'''''''1''''''''''''''''''''''''''''''''''''''''0''%'''''''''">
              <a:rPr lang="nl-NL" altLang="en-US" sz="1200" b="1" smtClean="0">
                <a:solidFill>
                  <a:schemeClr val="bg1"/>
                </a:solidFill>
              </a:rPr>
              <a:pPr/>
              <a:t>10%</a:t>
            </a:fld>
            <a:endParaRPr lang="nl-NL" sz="1200" b="1" noProof="0" dirty="0">
              <a:solidFill>
                <a:schemeClr val="bg1"/>
              </a:solidFill>
              <a:latin typeface="+mn-lt"/>
            </a:endParaRPr>
          </a:p>
        </p:txBody>
      </p:sp>
      <p:sp>
        <p:nvSpPr>
          <p:cNvPr id="51" name="Text Placeholder 5">
            <a:extLst>
              <a:ext uri="{FF2B5EF4-FFF2-40B4-BE49-F238E27FC236}">
                <a16:creationId xmlns:a16="http://schemas.microsoft.com/office/drawing/2014/main" id="{85C3156A-1270-4209-A14A-1BA801AF160D}"/>
              </a:ext>
            </a:extLst>
          </p:cNvPr>
          <p:cNvSpPr>
            <a:spLocks noGrp="1"/>
          </p:cNvSpPr>
          <p:nvPr>
            <p:custDataLst>
              <p:tags r:id="rId19"/>
            </p:custDataLst>
          </p:nvPr>
        </p:nvSpPr>
        <p:spPr bwMode="auto">
          <a:xfrm>
            <a:off x="8426450" y="5759449"/>
            <a:ext cx="3159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33F9B7A8-E2BB-40BF-8F82-4FD676DB019A}" type="datetime'''''''''''''''''''''''&lt;''''''''''''''''''50''''0'''''''''''">
              <a:rPr lang="nl-NL" altLang="en-US" sz="1200" smtClean="0">
                <a:solidFill>
                  <a:schemeClr val="tx1"/>
                </a:solidFill>
              </a:rPr>
              <a:pPr/>
              <a:t>&lt;500</a:t>
            </a:fld>
            <a:endParaRPr lang="nl-NL" sz="1200" noProof="0" dirty="0">
              <a:solidFill>
                <a:schemeClr val="tx1"/>
              </a:solidFill>
              <a:latin typeface="+mn-lt"/>
            </a:endParaRPr>
          </a:p>
        </p:txBody>
      </p:sp>
      <p:sp>
        <p:nvSpPr>
          <p:cNvPr id="53" name="Text Placeholder 5">
            <a:extLst>
              <a:ext uri="{FF2B5EF4-FFF2-40B4-BE49-F238E27FC236}">
                <a16:creationId xmlns:a16="http://schemas.microsoft.com/office/drawing/2014/main" id="{6EFB0EB3-93D5-443E-B3DC-F0C91D1EB1C1}"/>
              </a:ext>
            </a:extLst>
          </p:cNvPr>
          <p:cNvSpPr>
            <a:spLocks noGrp="1"/>
          </p:cNvSpPr>
          <p:nvPr>
            <p:custDataLst>
              <p:tags r:id="rId20"/>
            </p:custDataLst>
          </p:nvPr>
        </p:nvSpPr>
        <p:spPr bwMode="gray">
          <a:xfrm>
            <a:off x="9478963" y="4948237"/>
            <a:ext cx="3206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13F8252D-37C5-4C86-B30C-DEE71ED8E50F}" type="datetime'''2''''0''''''''''''''''''''''''''''%'''''''''''''''''">
              <a:rPr lang="nl-NL" altLang="en-US" sz="1200" b="1" smtClean="0">
                <a:solidFill>
                  <a:schemeClr val="bg1"/>
                </a:solidFill>
              </a:rPr>
              <a:pPr/>
              <a:t>20%</a:t>
            </a:fld>
            <a:endParaRPr lang="nl-NL" sz="1200" b="1" noProof="0" dirty="0">
              <a:solidFill>
                <a:schemeClr val="bg1"/>
              </a:solidFill>
              <a:latin typeface="+mn-lt"/>
            </a:endParaRPr>
          </a:p>
        </p:txBody>
      </p:sp>
      <p:sp>
        <p:nvSpPr>
          <p:cNvPr id="35" name="Text Placeholder 5">
            <a:extLst>
              <a:ext uri="{FF2B5EF4-FFF2-40B4-BE49-F238E27FC236}">
                <a16:creationId xmlns:a16="http://schemas.microsoft.com/office/drawing/2014/main" id="{524C8C61-6D3B-4632-B9E6-6300C4F1FC00}"/>
              </a:ext>
            </a:extLst>
          </p:cNvPr>
          <p:cNvSpPr>
            <a:spLocks noGrp="1"/>
          </p:cNvSpPr>
          <p:nvPr>
            <p:custDataLst>
              <p:tags r:id="rId21"/>
            </p:custDataLst>
          </p:nvPr>
        </p:nvSpPr>
        <p:spPr bwMode="gray">
          <a:xfrm>
            <a:off x="10537824" y="4006849"/>
            <a:ext cx="3190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E862D7E1-198E-4457-88EA-F214831A1279}" type="datetime'''5''''0''''''''''''''%'''''''''''''''''">
              <a:rPr lang="nl-NL" altLang="en-US" sz="1200" b="1" smtClean="0">
                <a:solidFill>
                  <a:schemeClr val="bg1"/>
                </a:solidFill>
              </a:rPr>
              <a:pPr/>
              <a:t>50%</a:t>
            </a:fld>
            <a:endParaRPr lang="nl-NL" sz="1200" b="1" noProof="0" dirty="0">
              <a:solidFill>
                <a:schemeClr val="bg1"/>
              </a:solidFill>
              <a:latin typeface="+mn-lt"/>
            </a:endParaRPr>
          </a:p>
        </p:txBody>
      </p:sp>
      <p:sp>
        <p:nvSpPr>
          <p:cNvPr id="55" name="Text Placeholder 5">
            <a:extLst>
              <a:ext uri="{FF2B5EF4-FFF2-40B4-BE49-F238E27FC236}">
                <a16:creationId xmlns:a16="http://schemas.microsoft.com/office/drawing/2014/main" id="{DC87C23B-1660-4A0E-A80B-F44BE4388EB4}"/>
              </a:ext>
            </a:extLst>
          </p:cNvPr>
          <p:cNvSpPr>
            <a:spLocks noGrp="1"/>
          </p:cNvSpPr>
          <p:nvPr>
            <p:custDataLst>
              <p:tags r:id="rId22"/>
            </p:custDataLst>
          </p:nvPr>
        </p:nvSpPr>
        <p:spPr bwMode="auto">
          <a:xfrm>
            <a:off x="10444163" y="5759449"/>
            <a:ext cx="5048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418D84E5-3377-4B96-A42F-C412A09E1F15}" type="datetime'''&lt;''''''''''''''''''1''''''''5''''''.''''0''''''''0''0'''">
              <a:rPr lang="nl-NL" altLang="en-US" sz="1200" smtClean="0">
                <a:solidFill>
                  <a:schemeClr val="tx1"/>
                </a:solidFill>
              </a:rPr>
              <a:pPr/>
              <a:t>&lt;15.000</a:t>
            </a:fld>
            <a:endParaRPr lang="nl-NL" sz="1200" noProof="0" dirty="0">
              <a:solidFill>
                <a:schemeClr val="tx1"/>
              </a:solidFill>
              <a:latin typeface="+mn-lt"/>
            </a:endParaRPr>
          </a:p>
        </p:txBody>
      </p:sp>
      <p:cxnSp>
        <p:nvCxnSpPr>
          <p:cNvPr id="64" name="Straight Arrow Connector 63">
            <a:extLst>
              <a:ext uri="{FF2B5EF4-FFF2-40B4-BE49-F238E27FC236}">
                <a16:creationId xmlns:a16="http://schemas.microsoft.com/office/drawing/2014/main" id="{3A3A1967-C10C-4EFA-ADDF-6E4915528BFD}"/>
              </a:ext>
            </a:extLst>
          </p:cNvPr>
          <p:cNvCxnSpPr>
            <a:cxnSpLocks/>
          </p:cNvCxnSpPr>
          <p:nvPr/>
        </p:nvCxnSpPr>
        <p:spPr>
          <a:xfrm>
            <a:off x="658813" y="6007134"/>
            <a:ext cx="183673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4FCCBD6C-3C24-4071-A98A-AF322D0C2BC9}"/>
              </a:ext>
            </a:extLst>
          </p:cNvPr>
          <p:cNvSpPr/>
          <p:nvPr/>
        </p:nvSpPr>
        <p:spPr>
          <a:xfrm>
            <a:off x="658813" y="6059178"/>
            <a:ext cx="4799013" cy="215445"/>
          </a:xfrm>
          <a:prstGeom prst="rect">
            <a:avLst/>
          </a:prstGeom>
          <a:noFill/>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685800" rtl="0" eaLnBrk="1" fontAlgn="auto" latinLnBrk="0" hangingPunct="1">
              <a:lnSpc>
                <a:spcPct val="90000"/>
              </a:lnSpc>
              <a:spcBef>
                <a:spcPts val="750"/>
              </a:spcBef>
              <a:spcAft>
                <a:spcPts val="0"/>
              </a:spcAft>
              <a:buClr>
                <a:srgbClr val="FF0000"/>
              </a:buClr>
              <a:buSzTx/>
              <a:buFontTx/>
              <a:buNone/>
              <a:tabLst/>
            </a:pPr>
            <a:r>
              <a:rPr kumimoji="0" lang="nl-NL" sz="1200" b="0" u="none" strike="noStrike" kern="1200" cap="none" spc="0" normalizeH="0" baseline="0" noProof="0" dirty="0">
                <a:ln>
                  <a:noFill/>
                </a:ln>
                <a:solidFill>
                  <a:srgbClr val="000000"/>
                </a:solidFill>
                <a:effectLst/>
                <a:uLnTx/>
                <a:uFillTx/>
                <a:latin typeface="Corbel" panose="020B0503020204020204" pitchFamily="34" charset="0"/>
              </a:rPr>
              <a:t>Max. aantal kms per percentiel</a:t>
            </a:r>
          </a:p>
        </p:txBody>
      </p:sp>
      <p:sp>
        <p:nvSpPr>
          <p:cNvPr id="66" name="Rectangle 65">
            <a:extLst>
              <a:ext uri="{FF2B5EF4-FFF2-40B4-BE49-F238E27FC236}">
                <a16:creationId xmlns:a16="http://schemas.microsoft.com/office/drawing/2014/main" id="{27DD1AFE-8011-4255-9F17-5E67FAD881B4}"/>
              </a:ext>
            </a:extLst>
          </p:cNvPr>
          <p:cNvSpPr/>
          <p:nvPr/>
        </p:nvSpPr>
        <p:spPr>
          <a:xfrm>
            <a:off x="931383" y="2108068"/>
            <a:ext cx="576000" cy="165600"/>
          </a:xfrm>
          <a:prstGeom prst="rect">
            <a:avLst/>
          </a:prstGeom>
          <a:noFill/>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0%</a:t>
            </a:r>
          </a:p>
        </p:txBody>
      </p:sp>
      <p:sp>
        <p:nvSpPr>
          <p:cNvPr id="67" name="Rectangle 66">
            <a:extLst>
              <a:ext uri="{FF2B5EF4-FFF2-40B4-BE49-F238E27FC236}">
                <a16:creationId xmlns:a16="http://schemas.microsoft.com/office/drawing/2014/main" id="{8BBE5C9F-0D64-4B01-A0FE-B28230B5D259}"/>
              </a:ext>
            </a:extLst>
          </p:cNvPr>
          <p:cNvSpPr/>
          <p:nvPr/>
        </p:nvSpPr>
        <p:spPr>
          <a:xfrm>
            <a:off x="1984303" y="2108068"/>
            <a:ext cx="576000" cy="165600"/>
          </a:xfrm>
          <a:prstGeom prst="rect">
            <a:avLst/>
          </a:prstGeom>
          <a:noFill/>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0%</a:t>
            </a:r>
          </a:p>
        </p:txBody>
      </p:sp>
      <p:sp>
        <p:nvSpPr>
          <p:cNvPr id="68" name="Rectangle 67">
            <a:extLst>
              <a:ext uri="{FF2B5EF4-FFF2-40B4-BE49-F238E27FC236}">
                <a16:creationId xmlns:a16="http://schemas.microsoft.com/office/drawing/2014/main" id="{E52A3693-A47B-49E9-B215-0ECD833BC739}"/>
              </a:ext>
            </a:extLst>
          </p:cNvPr>
          <p:cNvSpPr/>
          <p:nvPr/>
        </p:nvSpPr>
        <p:spPr>
          <a:xfrm>
            <a:off x="3037223" y="2108068"/>
            <a:ext cx="576000" cy="165600"/>
          </a:xfrm>
          <a:prstGeom prst="rect">
            <a:avLst/>
          </a:prstGeom>
          <a:noFill/>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0%</a:t>
            </a:r>
          </a:p>
        </p:txBody>
      </p:sp>
      <p:sp>
        <p:nvSpPr>
          <p:cNvPr id="69" name="Rectangle 68">
            <a:extLst>
              <a:ext uri="{FF2B5EF4-FFF2-40B4-BE49-F238E27FC236}">
                <a16:creationId xmlns:a16="http://schemas.microsoft.com/office/drawing/2014/main" id="{BBC8AE50-D010-49E6-A601-032D870242D7}"/>
              </a:ext>
            </a:extLst>
          </p:cNvPr>
          <p:cNvSpPr/>
          <p:nvPr/>
        </p:nvSpPr>
        <p:spPr>
          <a:xfrm>
            <a:off x="5143063" y="2108068"/>
            <a:ext cx="576000" cy="165600"/>
          </a:xfrm>
          <a:prstGeom prst="rect">
            <a:avLst/>
          </a:prstGeom>
          <a:noFill/>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0%</a:t>
            </a:r>
          </a:p>
        </p:txBody>
      </p:sp>
      <p:sp>
        <p:nvSpPr>
          <p:cNvPr id="70" name="Rectangle 69">
            <a:extLst>
              <a:ext uri="{FF2B5EF4-FFF2-40B4-BE49-F238E27FC236}">
                <a16:creationId xmlns:a16="http://schemas.microsoft.com/office/drawing/2014/main" id="{5F171292-035F-48CA-9415-4AA7CA7B864F}"/>
              </a:ext>
            </a:extLst>
          </p:cNvPr>
          <p:cNvSpPr/>
          <p:nvPr/>
        </p:nvSpPr>
        <p:spPr>
          <a:xfrm>
            <a:off x="4090143" y="2108068"/>
            <a:ext cx="576000" cy="165600"/>
          </a:xfrm>
          <a:prstGeom prst="rect">
            <a:avLst/>
          </a:prstGeom>
          <a:noFill/>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0%</a:t>
            </a:r>
          </a:p>
        </p:txBody>
      </p:sp>
      <p:sp>
        <p:nvSpPr>
          <p:cNvPr id="71" name="Rectangle 70">
            <a:extLst>
              <a:ext uri="{FF2B5EF4-FFF2-40B4-BE49-F238E27FC236}">
                <a16:creationId xmlns:a16="http://schemas.microsoft.com/office/drawing/2014/main" id="{D4EFB711-16C6-48D2-9A35-325F95410B01}"/>
              </a:ext>
            </a:extLst>
          </p:cNvPr>
          <p:cNvSpPr/>
          <p:nvPr/>
        </p:nvSpPr>
        <p:spPr>
          <a:xfrm>
            <a:off x="6195983" y="2108068"/>
            <a:ext cx="576000" cy="165600"/>
          </a:xfrm>
          <a:prstGeom prst="rect">
            <a:avLst/>
          </a:prstGeom>
          <a:noFill/>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0%</a:t>
            </a:r>
          </a:p>
        </p:txBody>
      </p:sp>
      <p:sp>
        <p:nvSpPr>
          <p:cNvPr id="72" name="Rectangle 71">
            <a:extLst>
              <a:ext uri="{FF2B5EF4-FFF2-40B4-BE49-F238E27FC236}">
                <a16:creationId xmlns:a16="http://schemas.microsoft.com/office/drawing/2014/main" id="{5101045B-B53E-44B6-8597-DD45F2784F8F}"/>
              </a:ext>
            </a:extLst>
          </p:cNvPr>
          <p:cNvSpPr/>
          <p:nvPr/>
        </p:nvSpPr>
        <p:spPr>
          <a:xfrm>
            <a:off x="7248903" y="2108068"/>
            <a:ext cx="576000" cy="165600"/>
          </a:xfrm>
          <a:prstGeom prst="rect">
            <a:avLst/>
          </a:prstGeom>
          <a:noFill/>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0%</a:t>
            </a:r>
          </a:p>
        </p:txBody>
      </p:sp>
      <p:sp>
        <p:nvSpPr>
          <p:cNvPr id="73" name="Rectangle 72">
            <a:extLst>
              <a:ext uri="{FF2B5EF4-FFF2-40B4-BE49-F238E27FC236}">
                <a16:creationId xmlns:a16="http://schemas.microsoft.com/office/drawing/2014/main" id="{B09CA0F9-3967-4B70-89B7-3A0A0FC9E842}"/>
              </a:ext>
            </a:extLst>
          </p:cNvPr>
          <p:cNvSpPr/>
          <p:nvPr/>
        </p:nvSpPr>
        <p:spPr>
          <a:xfrm>
            <a:off x="8301823" y="2108068"/>
            <a:ext cx="576000" cy="165600"/>
          </a:xfrm>
          <a:prstGeom prst="rect">
            <a:avLst/>
          </a:prstGeom>
          <a:noFill/>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0%</a:t>
            </a:r>
          </a:p>
        </p:txBody>
      </p:sp>
      <p:sp>
        <p:nvSpPr>
          <p:cNvPr id="74" name="Rectangle 73">
            <a:extLst>
              <a:ext uri="{FF2B5EF4-FFF2-40B4-BE49-F238E27FC236}">
                <a16:creationId xmlns:a16="http://schemas.microsoft.com/office/drawing/2014/main" id="{82D8D243-2FA0-41A9-9245-D605D9E9C97C}"/>
              </a:ext>
            </a:extLst>
          </p:cNvPr>
          <p:cNvSpPr/>
          <p:nvPr/>
        </p:nvSpPr>
        <p:spPr>
          <a:xfrm>
            <a:off x="10407659" y="2108068"/>
            <a:ext cx="576000" cy="165100"/>
          </a:xfrm>
          <a:prstGeom prst="rect">
            <a:avLst/>
          </a:prstGeom>
          <a:noFill/>
          <a:extLst>
            <a:ext uri="{909E8E84-426E-40DD-AFC4-6F175D3DCCD1}">
              <a14:hiddenFill xmlns:a14="http://schemas.microsoft.com/office/drawing/2010/main">
                <a:solidFill>
                  <a:srgbClr val="95C5C9"/>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rgbClr val="000000"/>
                </a:solidFill>
                <a:latin typeface="Corbel" panose="020B0503020204020204" pitchFamily="34" charset="0"/>
              </a:rPr>
              <a:t>1</a:t>
            </a: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rPr>
              <a:t>0%</a:t>
            </a:r>
          </a:p>
        </p:txBody>
      </p:sp>
      <p:sp>
        <p:nvSpPr>
          <p:cNvPr id="75" name="Rectangle 74">
            <a:extLst>
              <a:ext uri="{FF2B5EF4-FFF2-40B4-BE49-F238E27FC236}">
                <a16:creationId xmlns:a16="http://schemas.microsoft.com/office/drawing/2014/main" id="{12044ACE-6703-4A3C-9853-D5BC8CFB505B}"/>
              </a:ext>
            </a:extLst>
          </p:cNvPr>
          <p:cNvSpPr/>
          <p:nvPr/>
        </p:nvSpPr>
        <p:spPr>
          <a:xfrm>
            <a:off x="9354743" y="2108068"/>
            <a:ext cx="576000" cy="165600"/>
          </a:xfrm>
          <a:prstGeom prst="rect">
            <a:avLst/>
          </a:prstGeom>
          <a:noFill/>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rgbClr val="000000"/>
                </a:solidFill>
                <a:latin typeface="Corbel" panose="020B0503020204020204" pitchFamily="34" charset="0"/>
              </a:rPr>
              <a:t>1</a:t>
            </a: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rPr>
              <a:t>0%</a:t>
            </a:r>
          </a:p>
        </p:txBody>
      </p:sp>
      <p:cxnSp>
        <p:nvCxnSpPr>
          <p:cNvPr id="76" name="Straight Connector 75">
            <a:extLst>
              <a:ext uri="{FF2B5EF4-FFF2-40B4-BE49-F238E27FC236}">
                <a16:creationId xmlns:a16="http://schemas.microsoft.com/office/drawing/2014/main" id="{68FC859D-B986-47FE-8B53-7A59B5495EEE}"/>
              </a:ext>
            </a:extLst>
          </p:cNvPr>
          <p:cNvCxnSpPr>
            <a:cxnSpLocks/>
          </p:cNvCxnSpPr>
          <p:nvPr/>
        </p:nvCxnSpPr>
        <p:spPr>
          <a:xfrm>
            <a:off x="1745843" y="2108068"/>
            <a:ext cx="0" cy="3564000"/>
          </a:xfrm>
          <a:prstGeom prst="line">
            <a:avLst/>
          </a:prstGeom>
          <a:ln>
            <a:solidFill>
              <a:srgbClr val="A5A5A5"/>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7A88F78-6DBA-4989-823E-179B023F67B6}"/>
              </a:ext>
            </a:extLst>
          </p:cNvPr>
          <p:cNvCxnSpPr>
            <a:cxnSpLocks/>
          </p:cNvCxnSpPr>
          <p:nvPr/>
        </p:nvCxnSpPr>
        <p:spPr>
          <a:xfrm>
            <a:off x="2798763" y="2108068"/>
            <a:ext cx="0" cy="3564000"/>
          </a:xfrm>
          <a:prstGeom prst="line">
            <a:avLst/>
          </a:prstGeom>
          <a:ln>
            <a:solidFill>
              <a:srgbClr val="A5A5A5"/>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D5D83528-6D1A-498E-B9CD-4C947D879EF4}"/>
              </a:ext>
            </a:extLst>
          </p:cNvPr>
          <p:cNvCxnSpPr>
            <a:cxnSpLocks/>
          </p:cNvCxnSpPr>
          <p:nvPr/>
        </p:nvCxnSpPr>
        <p:spPr>
          <a:xfrm>
            <a:off x="3851683" y="2108068"/>
            <a:ext cx="0" cy="3564000"/>
          </a:xfrm>
          <a:prstGeom prst="line">
            <a:avLst/>
          </a:prstGeom>
          <a:ln>
            <a:solidFill>
              <a:srgbClr val="A5A5A5"/>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B9CAE31D-F057-47F6-8449-FB505E376BBC}"/>
              </a:ext>
            </a:extLst>
          </p:cNvPr>
          <p:cNvCxnSpPr>
            <a:cxnSpLocks/>
          </p:cNvCxnSpPr>
          <p:nvPr/>
        </p:nvCxnSpPr>
        <p:spPr>
          <a:xfrm>
            <a:off x="5957523" y="2108068"/>
            <a:ext cx="0" cy="3564000"/>
          </a:xfrm>
          <a:prstGeom prst="line">
            <a:avLst/>
          </a:prstGeom>
          <a:ln>
            <a:solidFill>
              <a:srgbClr val="A5A5A5"/>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7ED23F7-122C-437D-9FDB-AA2C8A1AC9B3}"/>
              </a:ext>
            </a:extLst>
          </p:cNvPr>
          <p:cNvCxnSpPr>
            <a:cxnSpLocks/>
          </p:cNvCxnSpPr>
          <p:nvPr/>
        </p:nvCxnSpPr>
        <p:spPr>
          <a:xfrm>
            <a:off x="4904603" y="2108068"/>
            <a:ext cx="0" cy="3564000"/>
          </a:xfrm>
          <a:prstGeom prst="line">
            <a:avLst/>
          </a:prstGeom>
          <a:ln>
            <a:solidFill>
              <a:srgbClr val="A5A5A5"/>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5DF289E4-6CD9-4C2C-8B8A-B3763BA36A8F}"/>
              </a:ext>
            </a:extLst>
          </p:cNvPr>
          <p:cNvCxnSpPr>
            <a:cxnSpLocks/>
          </p:cNvCxnSpPr>
          <p:nvPr/>
        </p:nvCxnSpPr>
        <p:spPr>
          <a:xfrm>
            <a:off x="7010443" y="2108068"/>
            <a:ext cx="0" cy="3564000"/>
          </a:xfrm>
          <a:prstGeom prst="line">
            <a:avLst/>
          </a:prstGeom>
          <a:ln>
            <a:solidFill>
              <a:srgbClr val="A5A5A5"/>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50D8E329-751D-4FFD-814D-E371899E123F}"/>
              </a:ext>
            </a:extLst>
          </p:cNvPr>
          <p:cNvCxnSpPr>
            <a:cxnSpLocks/>
          </p:cNvCxnSpPr>
          <p:nvPr/>
        </p:nvCxnSpPr>
        <p:spPr>
          <a:xfrm>
            <a:off x="8063363" y="2108068"/>
            <a:ext cx="0" cy="3564000"/>
          </a:xfrm>
          <a:prstGeom prst="line">
            <a:avLst/>
          </a:prstGeom>
          <a:ln>
            <a:solidFill>
              <a:srgbClr val="A5A5A5"/>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3ED2786-A087-4A6C-9061-2838E4D53CB7}"/>
              </a:ext>
            </a:extLst>
          </p:cNvPr>
          <p:cNvCxnSpPr>
            <a:cxnSpLocks/>
          </p:cNvCxnSpPr>
          <p:nvPr/>
        </p:nvCxnSpPr>
        <p:spPr>
          <a:xfrm>
            <a:off x="9116283" y="2108068"/>
            <a:ext cx="0" cy="3564000"/>
          </a:xfrm>
          <a:prstGeom prst="line">
            <a:avLst/>
          </a:prstGeom>
          <a:ln>
            <a:solidFill>
              <a:srgbClr val="A5A5A5"/>
            </a:solidFill>
            <a:prstDash val="dash"/>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FC13FAD-7496-48AC-8F58-9BC4587DAD4F}"/>
              </a:ext>
            </a:extLst>
          </p:cNvPr>
          <p:cNvCxnSpPr>
            <a:cxnSpLocks/>
          </p:cNvCxnSpPr>
          <p:nvPr/>
        </p:nvCxnSpPr>
        <p:spPr>
          <a:xfrm>
            <a:off x="10169201" y="2108068"/>
            <a:ext cx="0" cy="3564000"/>
          </a:xfrm>
          <a:prstGeom prst="line">
            <a:avLst/>
          </a:prstGeom>
          <a:ln>
            <a:solidFill>
              <a:srgbClr val="A5A5A5"/>
            </a:solidFill>
            <a:prstDash val="dash"/>
          </a:ln>
        </p:spPr>
        <p:style>
          <a:lnRef idx="1">
            <a:schemeClr val="accent1"/>
          </a:lnRef>
          <a:fillRef idx="0">
            <a:schemeClr val="accent1"/>
          </a:fillRef>
          <a:effectRef idx="0">
            <a:schemeClr val="accent1"/>
          </a:effectRef>
          <a:fontRef idx="minor">
            <a:schemeClr val="tx1"/>
          </a:fontRef>
        </p:style>
      </p:cxnSp>
      <p:sp>
        <p:nvSpPr>
          <p:cNvPr id="94" name="Content Placeholder 2">
            <a:extLst>
              <a:ext uri="{FF2B5EF4-FFF2-40B4-BE49-F238E27FC236}">
                <a16:creationId xmlns:a16="http://schemas.microsoft.com/office/drawing/2014/main" id="{76ED6881-C92D-46BD-9217-F2C26B398B11}"/>
              </a:ext>
            </a:extLst>
          </p:cNvPr>
          <p:cNvSpPr txBox="1">
            <a:spLocks/>
          </p:cNvSpPr>
          <p:nvPr/>
        </p:nvSpPr>
        <p:spPr>
          <a:xfrm>
            <a:off x="658813" y="1642988"/>
            <a:ext cx="7107238" cy="412826"/>
          </a:xfrm>
          <a:prstGeom prst="rect">
            <a:avLst/>
          </a:prstGeom>
          <a:noFill/>
          <a:ln w="19050">
            <a:noFill/>
          </a:ln>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b="1" dirty="0">
                <a:solidFill>
                  <a:srgbClr val="22777B"/>
                </a:solidFill>
              </a:rPr>
              <a:t>Indicatie van % kosten per percentiel gebruikers Wmo-vervoer</a:t>
            </a:r>
          </a:p>
        </p:txBody>
      </p:sp>
      <p:sp>
        <p:nvSpPr>
          <p:cNvPr id="104" name="Speech Bubble: Rectangle 103">
            <a:extLst>
              <a:ext uri="{FF2B5EF4-FFF2-40B4-BE49-F238E27FC236}">
                <a16:creationId xmlns:a16="http://schemas.microsoft.com/office/drawing/2014/main" id="{604EB288-7801-4676-AD69-7714FB8B21C4}"/>
              </a:ext>
            </a:extLst>
          </p:cNvPr>
          <p:cNvSpPr/>
          <p:nvPr/>
        </p:nvSpPr>
        <p:spPr>
          <a:xfrm rot="21437192">
            <a:off x="7202871" y="2603234"/>
            <a:ext cx="2831089" cy="1242866"/>
          </a:xfrm>
          <a:prstGeom prst="wedgeRectCallout">
            <a:avLst>
              <a:gd name="adj1" fmla="val 59973"/>
              <a:gd name="adj2" fmla="val 74774"/>
            </a:avLst>
          </a:prstGeom>
          <a:solidFill>
            <a:schemeClr val="bg1">
              <a:lumMod val="95000"/>
            </a:schemeClr>
          </a:solidFill>
          <a:ln w="9525">
            <a:noFill/>
          </a:ln>
          <a:extLst>
            <a:ext uri="{91240B29-F687-4F45-9708-019B960494DF}">
              <a14:hiddenLine xmlns:a14="http://schemas.microsoft.com/office/drawing/2010/main" w="9525">
                <a:solidFill>
                  <a:schemeClr val="accent6">
                    <a:lumMod val="65000"/>
                  </a:schemeClr>
                </a:solidFill>
              </a14:hiddenLine>
            </a:ext>
          </a:ex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indent="0">
              <a:buClr>
                <a:schemeClr val="tx2"/>
              </a:buClr>
              <a:buNone/>
            </a:pPr>
            <a:r>
              <a:rPr kumimoji="0" lang="nl-NL" sz="1200" i="0" u="none" strike="noStrike" kern="1200" cap="none" spc="0" normalizeH="0" baseline="0" noProof="0" dirty="0">
                <a:ln>
                  <a:noFill/>
                </a:ln>
                <a:effectLst/>
                <a:uLnTx/>
                <a:uFillTx/>
              </a:rPr>
              <a:t>Typisch is </a:t>
            </a:r>
            <a:r>
              <a:rPr kumimoji="0" lang="nl-NL" sz="1200" b="1" i="0" u="none" strike="noStrike" kern="1200" cap="none" spc="0" normalizeH="0" baseline="0" noProof="0" dirty="0">
                <a:ln>
                  <a:noFill/>
                </a:ln>
                <a:effectLst/>
                <a:uLnTx/>
                <a:uFillTx/>
              </a:rPr>
              <a:t>~10% van de gebruikers </a:t>
            </a:r>
            <a:r>
              <a:rPr kumimoji="0" lang="nl-NL" sz="1200" i="0" u="none" strike="noStrike" kern="1200" cap="none" spc="0" normalizeH="0" baseline="0" noProof="0" dirty="0">
                <a:ln>
                  <a:noFill/>
                </a:ln>
                <a:effectLst/>
                <a:uLnTx/>
                <a:uFillTx/>
              </a:rPr>
              <a:t>verantwoordelijk voor </a:t>
            </a:r>
            <a:r>
              <a:rPr kumimoji="0" lang="nl-NL" sz="1200" b="1" i="0" u="none" strike="noStrike" kern="1200" cap="none" spc="0" normalizeH="0" baseline="0" noProof="0" dirty="0">
                <a:ln>
                  <a:noFill/>
                </a:ln>
                <a:effectLst/>
                <a:uLnTx/>
                <a:uFillTx/>
              </a:rPr>
              <a:t>50%</a:t>
            </a:r>
            <a:r>
              <a:rPr kumimoji="0" lang="nl-NL" sz="1200" i="0" u="none" strike="noStrike" kern="1200" cap="none" spc="0" normalizeH="0" baseline="0" noProof="0" dirty="0">
                <a:ln>
                  <a:noFill/>
                </a:ln>
                <a:effectLst/>
                <a:uLnTx/>
                <a:uFillTx/>
              </a:rPr>
              <a:t> </a:t>
            </a:r>
            <a:r>
              <a:rPr kumimoji="0" lang="nl-NL" sz="1200" b="1" i="0" u="none" strike="noStrike" kern="1200" cap="none" spc="0" normalizeH="0" baseline="0" noProof="0" dirty="0">
                <a:ln>
                  <a:noFill/>
                </a:ln>
                <a:effectLst/>
                <a:uLnTx/>
                <a:uFillTx/>
              </a:rPr>
              <a:t>van de kosten</a:t>
            </a:r>
            <a:r>
              <a:rPr kumimoji="0" lang="nl-NL" sz="1200" i="0" u="none" strike="noStrike" kern="1200" cap="none" spc="0" normalizeH="0" baseline="0" noProof="0">
                <a:ln>
                  <a:noFill/>
                </a:ln>
                <a:effectLst/>
                <a:uLnTx/>
                <a:uFillTx/>
              </a:rPr>
              <a:t>. </a:t>
            </a:r>
            <a:r>
              <a:rPr lang="en-NL" sz="1200"/>
              <a:t>Waarschijnlijk zijn (e</a:t>
            </a:r>
            <a:r>
              <a:rPr kumimoji="0" lang="en-NL" sz="1200" i="0" u="none" strike="noStrike" kern="1200" cap="none" spc="0" normalizeH="0" baseline="0" noProof="0">
                <a:ln>
                  <a:noFill/>
                </a:ln>
                <a:effectLst/>
                <a:uLnTx/>
                <a:uFillTx/>
              </a:rPr>
              <a:t>en d</a:t>
            </a:r>
            <a:r>
              <a:rPr kumimoji="0" lang="nl-NL" sz="1200" i="0" u="none" strike="noStrike" kern="1200" cap="none" spc="0" normalizeH="0" baseline="0" noProof="0">
                <a:ln>
                  <a:noFill/>
                </a:ln>
                <a:effectLst/>
                <a:uLnTx/>
                <a:uFillTx/>
              </a:rPr>
              <a:t>eel van</a:t>
            </a:r>
            <a:r>
              <a:rPr kumimoji="0" lang="en-NL" sz="1200" i="0" u="none" strike="noStrike" kern="1200" cap="none" spc="0" normalizeH="0" baseline="0" noProof="0">
                <a:ln>
                  <a:noFill/>
                </a:ln>
                <a:effectLst/>
                <a:uLnTx/>
                <a:uFillTx/>
              </a:rPr>
              <a:t>)</a:t>
            </a:r>
            <a:r>
              <a:rPr kumimoji="0" lang="nl-NL" sz="1200" i="0" u="none" strike="noStrike" kern="1200" cap="none" spc="0" normalizeH="0" baseline="0" noProof="0">
                <a:ln>
                  <a:noFill/>
                </a:ln>
                <a:effectLst/>
                <a:uLnTx/>
                <a:uFillTx/>
              </a:rPr>
              <a:t> de</a:t>
            </a:r>
            <a:r>
              <a:rPr kumimoji="0" lang="en-NL" sz="1200" i="0" u="none" strike="noStrike" kern="1200" cap="none" spc="0" normalizeH="0" baseline="0" noProof="0">
                <a:ln>
                  <a:noFill/>
                </a:ln>
                <a:effectLst/>
                <a:uLnTx/>
                <a:uFillTx/>
              </a:rPr>
              <a:t>ze veel</a:t>
            </a:r>
            <a:r>
              <a:rPr kumimoji="0" lang="nl-NL" sz="1200" i="0" u="none" strike="noStrike" kern="1200" cap="none" spc="0" normalizeH="0" baseline="0" noProof="0">
                <a:ln>
                  <a:noFill/>
                </a:ln>
                <a:effectLst/>
                <a:uLnTx/>
                <a:uFillTx/>
              </a:rPr>
              <a:t>gebruikers</a:t>
            </a:r>
            <a:r>
              <a:rPr kumimoji="0" lang="en-NL" sz="1200" i="0" u="none" strike="noStrike" kern="1200" cap="none" spc="0" normalizeH="0" baseline="0" noProof="0">
                <a:ln>
                  <a:noFill/>
                </a:ln>
                <a:effectLst/>
                <a:uLnTx/>
                <a:uFillTx/>
              </a:rPr>
              <a:t> geheel </a:t>
            </a:r>
            <a:r>
              <a:rPr kumimoji="0" lang="nl-NL" sz="1200" i="0" u="none" strike="noStrike" kern="1200" cap="none" spc="0" normalizeH="0" baseline="0" noProof="0">
                <a:ln>
                  <a:noFill/>
                </a:ln>
                <a:effectLst/>
                <a:uLnTx/>
                <a:uFillTx/>
              </a:rPr>
              <a:t>afhankelijk </a:t>
            </a:r>
            <a:r>
              <a:rPr kumimoji="0" lang="nl-NL" sz="1200" i="0" u="none" strike="noStrike" kern="1200" cap="none" spc="0" normalizeH="0" baseline="0" noProof="0" dirty="0">
                <a:ln>
                  <a:noFill/>
                </a:ln>
                <a:effectLst/>
                <a:uLnTx/>
                <a:uFillTx/>
              </a:rPr>
              <a:t>van het Wmo-vervoer. Zorg dus dat </a:t>
            </a:r>
            <a:r>
              <a:rPr kumimoji="0" lang="nl-NL" sz="1200" i="0" u="none" strike="noStrike" kern="1200" cap="none" spc="0" normalizeH="0" baseline="0" noProof="0">
                <a:ln>
                  <a:noFill/>
                </a:ln>
                <a:effectLst/>
                <a:uLnTx/>
                <a:uFillTx/>
              </a:rPr>
              <a:t>je d</a:t>
            </a:r>
            <a:r>
              <a:rPr kumimoji="0" lang="en-NL" sz="1200" i="0" u="none" strike="noStrike" kern="1200" cap="none" spc="0" normalizeH="0" baseline="0" noProof="0">
                <a:ln>
                  <a:noFill/>
                </a:ln>
                <a:effectLst/>
                <a:uLnTx/>
                <a:uFillTx/>
              </a:rPr>
              <a:t>e situatie in jouw gemeente</a:t>
            </a:r>
            <a:r>
              <a:rPr kumimoji="0" lang="nl-NL" sz="1200" i="0" u="none" strike="noStrike" kern="1200" cap="none" spc="0" normalizeH="0" baseline="0" noProof="0">
                <a:ln>
                  <a:noFill/>
                </a:ln>
                <a:effectLst/>
                <a:uLnTx/>
                <a:uFillTx/>
              </a:rPr>
              <a:t> </a:t>
            </a:r>
            <a:r>
              <a:rPr kumimoji="0" lang="nl-NL" sz="1200" i="0" u="none" strike="noStrike" kern="1200" cap="none" spc="0" normalizeH="0" baseline="0" noProof="0" dirty="0">
                <a:ln>
                  <a:noFill/>
                </a:ln>
                <a:effectLst/>
                <a:uLnTx/>
                <a:uFillTx/>
              </a:rPr>
              <a:t>eerst goed onderzoekt en een </a:t>
            </a:r>
            <a:r>
              <a:rPr kumimoji="0" lang="nl-NL" sz="1200" b="1" i="0" u="none" strike="noStrike" kern="1200" cap="none" spc="0" normalizeH="0" baseline="0" noProof="0" dirty="0">
                <a:ln>
                  <a:noFill/>
                </a:ln>
                <a:effectLst/>
                <a:uLnTx/>
                <a:uFillTx/>
              </a:rPr>
              <a:t>hardheidsclausule</a:t>
            </a:r>
            <a:r>
              <a:rPr kumimoji="0" lang="nl-NL" sz="1200" i="0" u="none" strike="noStrike" kern="1200" cap="none" spc="0" normalizeH="0" baseline="0" noProof="0" dirty="0">
                <a:ln>
                  <a:noFill/>
                </a:ln>
                <a:effectLst/>
                <a:uLnTx/>
                <a:uFillTx/>
              </a:rPr>
              <a:t> aanhoudt.</a:t>
            </a:r>
          </a:p>
        </p:txBody>
      </p:sp>
      <p:sp>
        <p:nvSpPr>
          <p:cNvPr id="90" name="Rectangle 89">
            <a:extLst>
              <a:ext uri="{FF2B5EF4-FFF2-40B4-BE49-F238E27FC236}">
                <a16:creationId xmlns:a16="http://schemas.microsoft.com/office/drawing/2014/main" id="{7EF0E27E-E9A6-42C3-A5C8-8A29513A8488}"/>
              </a:ext>
            </a:extLst>
          </p:cNvPr>
          <p:cNvSpPr/>
          <p:nvPr/>
        </p:nvSpPr>
        <p:spPr>
          <a:xfrm>
            <a:off x="9709928" y="1267037"/>
            <a:ext cx="1820272" cy="252000"/>
          </a:xfrm>
          <a:prstGeom prst="rect">
            <a:avLst/>
          </a:prstGeom>
          <a:solidFill>
            <a:schemeClr val="bg1">
              <a:lumMod val="95000"/>
            </a:schemeClr>
          </a:solidFill>
          <a:ln>
            <a:solidFill>
              <a:schemeClr val="bg1">
                <a:lumMod val="50000"/>
              </a:schemeClr>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b="1" dirty="0"/>
              <a:t>INDICATIEF</a:t>
            </a:r>
            <a:endParaRPr kumimoji="0" lang="nl-NL" sz="10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 name="Rectangle 6" hidden="1">
            <a:extLst>
              <a:ext uri="{FF2B5EF4-FFF2-40B4-BE49-F238E27FC236}">
                <a16:creationId xmlns:a16="http://schemas.microsoft.com/office/drawing/2014/main" id="{612BB649-51BD-4194-9CC5-012DBF9734E9}"/>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200" b="1" strike="noStrike" kern="1200" spc="0" normalizeH="0" noProof="0" dirty="0">
              <a:ln>
                <a:noFill/>
              </a:ln>
              <a:effectLst/>
              <a:uLnTx/>
              <a:uFillTx/>
            </a:endParaRPr>
          </a:p>
        </p:txBody>
      </p:sp>
      <p:sp>
        <p:nvSpPr>
          <p:cNvPr id="85" name="Footer Placeholder 8">
            <a:extLst>
              <a:ext uri="{FF2B5EF4-FFF2-40B4-BE49-F238E27FC236}">
                <a16:creationId xmlns:a16="http://schemas.microsoft.com/office/drawing/2014/main" id="{4609AA55-18C5-4E48-B46D-08BEE134F32E}"/>
              </a:ext>
            </a:extLst>
          </p:cNvPr>
          <p:cNvSpPr txBox="1">
            <a:spLocks/>
          </p:cNvSpPr>
          <p:nvPr/>
        </p:nvSpPr>
        <p:spPr>
          <a:xfrm>
            <a:off x="661800" y="6624637"/>
            <a:ext cx="10868400" cy="122400"/>
          </a:xfrm>
          <a:prstGeom prst="rect">
            <a:avLst/>
          </a:prstGeom>
        </p:spPr>
        <p:txBody>
          <a:bodyPr vert="horz" lIns="36000" tIns="0" rIns="36000" bIns="0" rtlCol="0" anchor="b"/>
          <a:lstStyle>
            <a:defPPr>
              <a:defRPr lang="nl-NL"/>
            </a:defPPr>
            <a:lvl1pPr marL="0" indent="0">
              <a:buNone/>
              <a:defRPr sz="800">
                <a:latin typeface="+mn-lt"/>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Bron</a:t>
            </a:r>
            <a:r>
              <a:rPr lang="nl-NL"/>
              <a:t>: It's Public </a:t>
            </a:r>
            <a:r>
              <a:rPr lang="nl-NL" dirty="0"/>
              <a:t>analyse o.b.v. project bij betreffende gemeente </a:t>
            </a:r>
          </a:p>
        </p:txBody>
      </p:sp>
    </p:spTree>
    <p:extLst>
      <p:ext uri="{BB962C8B-B14F-4D97-AF65-F5344CB8AC3E}">
        <p14:creationId xmlns:p14="http://schemas.microsoft.com/office/powerpoint/2010/main" val="15188627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A7E2A55-853B-47A9-A999-76B509545684}"/>
              </a:ext>
            </a:extLst>
          </p:cNvPr>
          <p:cNvGraphicFramePr>
            <a:graphicFrameLocks noChangeAspect="1"/>
          </p:cNvGraphicFramePr>
          <p:nvPr>
            <p:custDataLst>
              <p:tags r:id="rId2"/>
            </p:custDataLst>
            <p:extLst>
              <p:ext uri="{D42A27DB-BD31-4B8C-83A1-F6EECF244321}">
                <p14:modId xmlns:p14="http://schemas.microsoft.com/office/powerpoint/2010/main" val="469930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0"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DA7E2A55-853B-47A9-A999-76B5095456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Content Placeholder 2">
            <a:extLst>
              <a:ext uri="{FF2B5EF4-FFF2-40B4-BE49-F238E27FC236}">
                <a16:creationId xmlns:a16="http://schemas.microsoft.com/office/drawing/2014/main" id="{87AA9D59-216F-4AED-BF19-4479EF4150D1}"/>
              </a:ext>
            </a:extLst>
          </p:cNvPr>
          <p:cNvSpPr txBox="1">
            <a:spLocks/>
          </p:cNvSpPr>
          <p:nvPr/>
        </p:nvSpPr>
        <p:spPr>
          <a:xfrm>
            <a:off x="6750751" y="1592263"/>
            <a:ext cx="4778470" cy="4716509"/>
          </a:xfrm>
          <a:prstGeom prst="rect">
            <a:avLst/>
          </a:prstGeom>
          <a:noFill/>
          <a:ln w="19050">
            <a:noFill/>
          </a:ln>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endParaRPr lang="nl-NL" b="1" dirty="0">
              <a:solidFill>
                <a:srgbClr val="68ABB0"/>
              </a:solidFill>
            </a:endParaRPr>
          </a:p>
        </p:txBody>
      </p:sp>
      <p:sp>
        <p:nvSpPr>
          <p:cNvPr id="5" name="Footer Placeholder 4">
            <a:extLst>
              <a:ext uri="{FF2B5EF4-FFF2-40B4-BE49-F238E27FC236}">
                <a16:creationId xmlns:a16="http://schemas.microsoft.com/office/drawing/2014/main" id="{6450BDB4-A43E-402D-996C-55C79B926CE4}"/>
              </a:ext>
            </a:extLst>
          </p:cNvPr>
          <p:cNvSpPr>
            <a:spLocks noGrp="1"/>
          </p:cNvSpPr>
          <p:nvPr>
            <p:ph type="ftr" sz="quarter" idx="3"/>
          </p:nvPr>
        </p:nvSpPr>
        <p:spPr/>
        <p:txBody>
          <a:bodyPr/>
          <a:lstStyle/>
          <a:p>
            <a:r>
              <a:rPr lang="nl-NL" dirty="0"/>
              <a:t>Bron: Min VWS, ‘Voortgangsrapportage 2020: </a:t>
            </a:r>
            <a:r>
              <a:rPr lang="nl-NL" i="1" dirty="0"/>
              <a:t>Onbeperkt meedoen!</a:t>
            </a:r>
            <a:r>
              <a:rPr lang="nl-NL" dirty="0"/>
              <a:t>’ (nov. 2020); Min IenW, ‘Ontwikkelagenda: Toekomstbeeld OV’ (jan. 2021); Min VWS, Min IenW, ‘Iedereen Onderweg: Vernieuwingsagenda doelgroepenvervoer en openbaar vervoer’ (maart 2019); KpVV CROW, ‘Inclusieve mobiliteit: Praktijkvoorbeelden’ (juni 2020); website NS; website 9292</a:t>
            </a:r>
          </a:p>
        </p:txBody>
      </p:sp>
      <p:sp>
        <p:nvSpPr>
          <p:cNvPr id="6" name="Slide Number Placeholder 5">
            <a:extLst>
              <a:ext uri="{FF2B5EF4-FFF2-40B4-BE49-F238E27FC236}">
                <a16:creationId xmlns:a16="http://schemas.microsoft.com/office/drawing/2014/main" id="{EA5B4AF5-72CF-4819-8135-F522810EB50A}"/>
              </a:ext>
            </a:extLst>
          </p:cNvPr>
          <p:cNvSpPr>
            <a:spLocks noGrp="1"/>
          </p:cNvSpPr>
          <p:nvPr>
            <p:ph type="sldNum" sz="quarter" idx="12"/>
          </p:nvPr>
        </p:nvSpPr>
        <p:spPr/>
        <p:txBody>
          <a:bodyPr/>
          <a:lstStyle/>
          <a:p>
            <a:fld id="{992CD0B2-8AB2-4C6C-8876-E15753662C9B}" type="slidenum">
              <a:rPr lang="nl-NL" smtClean="0"/>
              <a:pPr/>
              <a:t>16</a:t>
            </a:fld>
            <a:endParaRPr lang="nl-NL" dirty="0"/>
          </a:p>
        </p:txBody>
      </p:sp>
      <p:sp>
        <p:nvSpPr>
          <p:cNvPr id="8" name="Title 7">
            <a:extLst>
              <a:ext uri="{FF2B5EF4-FFF2-40B4-BE49-F238E27FC236}">
                <a16:creationId xmlns:a16="http://schemas.microsoft.com/office/drawing/2014/main" id="{4CF772DC-DC31-4B79-9450-0687029A3727}"/>
              </a:ext>
            </a:extLst>
          </p:cNvPr>
          <p:cNvSpPr>
            <a:spLocks noGrp="1"/>
          </p:cNvSpPr>
          <p:nvPr>
            <p:ph type="title"/>
          </p:nvPr>
        </p:nvSpPr>
        <p:spPr>
          <a:xfrm>
            <a:off x="-1" y="265387"/>
            <a:ext cx="12192001" cy="942979"/>
          </a:xfrm>
          <a:solidFill>
            <a:srgbClr val="22777B"/>
          </a:solidFill>
        </p:spPr>
        <p:txBody>
          <a:bodyPr vert="horz" anchor="ctr"/>
          <a:lstStyle/>
          <a:p>
            <a:r>
              <a:rPr lang="nl-NL" dirty="0">
                <a:solidFill>
                  <a:srgbClr val="FFFFFF"/>
                </a:solidFill>
              </a:rPr>
              <a:t>	</a:t>
            </a:r>
          </a:p>
        </p:txBody>
      </p:sp>
      <p:sp>
        <p:nvSpPr>
          <p:cNvPr id="47" name="TextBox 46">
            <a:extLst>
              <a:ext uri="{FF2B5EF4-FFF2-40B4-BE49-F238E27FC236}">
                <a16:creationId xmlns:a16="http://schemas.microsoft.com/office/drawing/2014/main" id="{4716077D-F49C-442C-BDB1-5D321EBE6829}"/>
              </a:ext>
            </a:extLst>
          </p:cNvPr>
          <p:cNvSpPr txBox="1"/>
          <p:nvPr/>
        </p:nvSpPr>
        <p:spPr>
          <a:xfrm>
            <a:off x="658813" y="274425"/>
            <a:ext cx="6724448" cy="230832"/>
          </a:xfrm>
          <a:prstGeom prst="rect">
            <a:avLst/>
          </a:prstGeom>
          <a:noFill/>
        </p:spPr>
        <p:txBody>
          <a:bodyPr wrap="square">
            <a:spAutoFit/>
          </a:bodyPr>
          <a:lstStyle/>
          <a:p>
            <a:pPr marL="0" indent="0">
              <a:buNone/>
            </a:pPr>
            <a:r>
              <a:rPr lang="nl-NL" sz="1000" b="1" dirty="0">
                <a:solidFill>
                  <a:srgbClr val="FFFFFF"/>
                </a:solidFill>
              </a:rPr>
              <a:t>Stimuleren OV-gebruik</a:t>
            </a:r>
          </a:p>
        </p:txBody>
      </p:sp>
      <p:sp>
        <p:nvSpPr>
          <p:cNvPr id="48" name="TextBox 47">
            <a:extLst>
              <a:ext uri="{FF2B5EF4-FFF2-40B4-BE49-F238E27FC236}">
                <a16:creationId xmlns:a16="http://schemas.microsoft.com/office/drawing/2014/main" id="{4B8BE3FC-F351-4532-B8C6-69DA96834DD2}"/>
              </a:ext>
            </a:extLst>
          </p:cNvPr>
          <p:cNvSpPr txBox="1"/>
          <p:nvPr/>
        </p:nvSpPr>
        <p:spPr>
          <a:xfrm>
            <a:off x="658813" y="617566"/>
            <a:ext cx="10921582" cy="424732"/>
          </a:xfrm>
          <a:prstGeom prst="rect">
            <a:avLst/>
          </a:prstGeom>
          <a:noFill/>
        </p:spPr>
        <p:txBody>
          <a:bodyPr wrap="square" anchor="ctr">
            <a:spAutoFit/>
          </a:bodyPr>
          <a:lstStyle/>
          <a:p>
            <a:pPr marL="0" indent="0">
              <a:buNone/>
            </a:pPr>
            <a:r>
              <a:rPr lang="nl-NL" sz="2400" b="1" dirty="0">
                <a:solidFill>
                  <a:srgbClr val="FFFFFF"/>
                </a:solidFill>
              </a:rPr>
              <a:t>Het OV wordt steeds toegankelijker voor kwetsbare reizigers</a:t>
            </a:r>
          </a:p>
        </p:txBody>
      </p:sp>
      <p:sp>
        <p:nvSpPr>
          <p:cNvPr id="71" name="Content Placeholder 11">
            <a:extLst>
              <a:ext uri="{FF2B5EF4-FFF2-40B4-BE49-F238E27FC236}">
                <a16:creationId xmlns:a16="http://schemas.microsoft.com/office/drawing/2014/main" id="{B1E52F15-BCD8-4D26-812F-559F7FAB21DC}"/>
              </a:ext>
            </a:extLst>
          </p:cNvPr>
          <p:cNvSpPr txBox="1">
            <a:spLocks/>
          </p:cNvSpPr>
          <p:nvPr/>
        </p:nvSpPr>
        <p:spPr>
          <a:xfrm>
            <a:off x="4381829" y="1906774"/>
            <a:ext cx="2200915" cy="1367315"/>
          </a:xfrm>
          <a:prstGeom prst="rect">
            <a:avLst/>
          </a:prstGeom>
          <a:noFill/>
          <a:ln w="19050">
            <a:noFill/>
          </a:ln>
          <a:extLst>
            <a:ext uri="{909E8E84-426E-40DD-AFC4-6F175D3DCCD1}">
              <a14:hiddenFill xmlns:a14="http://schemas.microsoft.com/office/drawing/2010/main">
                <a:solidFill>
                  <a:schemeClr val="accent6">
                    <a:lumMod val="95000"/>
                  </a:schemeClr>
                </a:solidFill>
              </a14:hiddenFill>
            </a:ext>
          </a:extLst>
        </p:spPr>
        <p:txBody>
          <a:bodyPr vert="horz" lIns="72000" tIns="72000" rIns="72000" bIns="72000" rtlCol="0" anchor="ctr">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sz="1000" dirty="0"/>
              <a:t>In </a:t>
            </a:r>
            <a:r>
              <a:rPr lang="nl-NL" sz="1000" b="1" dirty="0"/>
              <a:t>Onbeperkt Meedoen! </a:t>
            </a:r>
            <a:r>
              <a:rPr lang="nl-NL" sz="1000" dirty="0"/>
              <a:t>En </a:t>
            </a:r>
            <a:r>
              <a:rPr lang="nl-NL" sz="1000" b="1" dirty="0"/>
              <a:t>Iedereen Onderweg  </a:t>
            </a:r>
            <a:r>
              <a:rPr lang="nl-NL" sz="1000" dirty="0"/>
              <a:t>zijn door het Rijk ambities gesteld voor inclusief vervoer op de korte termijn, in </a:t>
            </a:r>
            <a:r>
              <a:rPr lang="nl-NL" sz="1000" b="1" dirty="0"/>
              <a:t>2018-2021</a:t>
            </a:r>
            <a:r>
              <a:rPr lang="nl-NL" sz="1000" dirty="0"/>
              <a:t>. Ontwikkellijnen zijn: het toegankelijk  maken van haltes en stations, verbeteren reisinformatie en een betere aansluiting tussen doelgroepenvervoer en OV</a:t>
            </a:r>
          </a:p>
        </p:txBody>
      </p:sp>
      <p:sp>
        <p:nvSpPr>
          <p:cNvPr id="80" name="Content Placeholder 11">
            <a:extLst>
              <a:ext uri="{FF2B5EF4-FFF2-40B4-BE49-F238E27FC236}">
                <a16:creationId xmlns:a16="http://schemas.microsoft.com/office/drawing/2014/main" id="{A3E71A56-FD4F-46DE-911E-E1D94A42D5E2}"/>
              </a:ext>
            </a:extLst>
          </p:cNvPr>
          <p:cNvSpPr txBox="1">
            <a:spLocks/>
          </p:cNvSpPr>
          <p:nvPr/>
        </p:nvSpPr>
        <p:spPr>
          <a:xfrm>
            <a:off x="4381829" y="4938124"/>
            <a:ext cx="2101782" cy="1368000"/>
          </a:xfrm>
          <a:prstGeom prst="rect">
            <a:avLst/>
          </a:prstGeom>
          <a:noFill/>
          <a:ln w="19050">
            <a:noFill/>
          </a:ln>
          <a:extLst>
            <a:ext uri="{909E8E84-426E-40DD-AFC4-6F175D3DCCD1}">
              <a14:hiddenFill xmlns:a14="http://schemas.microsoft.com/office/drawing/2010/main">
                <a:solidFill>
                  <a:schemeClr val="accent6">
                    <a:lumMod val="95000"/>
                  </a:schemeClr>
                </a:solidFill>
              </a14:hiddenFill>
            </a:ext>
          </a:extLst>
        </p:spPr>
        <p:txBody>
          <a:bodyPr vert="horz" lIns="72000" tIns="72000" rIns="72000" bIns="72000" rtlCol="0" anchor="ctr">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sz="1000" b="1" dirty="0"/>
              <a:t>Vervoerregio Amsterdam </a:t>
            </a:r>
            <a:r>
              <a:rPr lang="nl-NL" sz="1000" dirty="0"/>
              <a:t>werkt nu het beleidskader </a:t>
            </a:r>
            <a:r>
              <a:rPr lang="nl-NL" sz="1000" b="1" dirty="0"/>
              <a:t>Inclusieve Mobiliteit </a:t>
            </a:r>
            <a:r>
              <a:rPr lang="nl-NL" sz="1000" dirty="0"/>
              <a:t>uit om in de periode </a:t>
            </a:r>
            <a:r>
              <a:rPr lang="nl-NL" sz="1000" b="1" dirty="0"/>
              <a:t>2020 – 2025 </a:t>
            </a:r>
            <a:r>
              <a:rPr lang="nl-NL" sz="1000" dirty="0"/>
              <a:t>de fysieke en mentale toegankelijkheid van het openbaar vervoer te verbeteren en het OV beter te laten aansluiten op doelgroepenvervoer.</a:t>
            </a:r>
          </a:p>
        </p:txBody>
      </p:sp>
      <p:pic>
        <p:nvPicPr>
          <p:cNvPr id="14" name="Picture 13">
            <a:extLst>
              <a:ext uri="{FF2B5EF4-FFF2-40B4-BE49-F238E27FC236}">
                <a16:creationId xmlns:a16="http://schemas.microsoft.com/office/drawing/2014/main" id="{50E4F59E-B987-4A7A-9563-5908DFF979F0}"/>
              </a:ext>
            </a:extLst>
          </p:cNvPr>
          <p:cNvPicPr>
            <a:picLocks/>
          </p:cNvPicPr>
          <p:nvPr/>
        </p:nvPicPr>
        <p:blipFill>
          <a:blip r:embed="rId7" cstate="print">
            <a:extLst>
              <a:ext uri="{28A0092B-C50C-407E-A947-70E740481C1C}">
                <a14:useLocalDpi xmlns:a14="http://schemas.microsoft.com/office/drawing/2010/main"/>
              </a:ext>
            </a:extLst>
          </a:blip>
          <a:stretch>
            <a:fillRect/>
          </a:stretch>
        </p:blipFill>
        <p:spPr>
          <a:xfrm>
            <a:off x="3421503" y="5117756"/>
            <a:ext cx="978949" cy="1008737"/>
          </a:xfrm>
          <a:prstGeom prst="rect">
            <a:avLst/>
          </a:prstGeom>
          <a:ln>
            <a:solidFill>
              <a:schemeClr val="bg1">
                <a:lumMod val="75000"/>
              </a:schemeClr>
            </a:solidFill>
          </a:ln>
        </p:spPr>
      </p:pic>
      <p:sp>
        <p:nvSpPr>
          <p:cNvPr id="29" name="Content Placeholder 11">
            <a:extLst>
              <a:ext uri="{FF2B5EF4-FFF2-40B4-BE49-F238E27FC236}">
                <a16:creationId xmlns:a16="http://schemas.microsoft.com/office/drawing/2014/main" id="{71A90A65-CD83-44BC-AA13-B6BF8E24518F}"/>
              </a:ext>
            </a:extLst>
          </p:cNvPr>
          <p:cNvSpPr txBox="1">
            <a:spLocks/>
          </p:cNvSpPr>
          <p:nvPr/>
        </p:nvSpPr>
        <p:spPr>
          <a:xfrm>
            <a:off x="4381829" y="3422106"/>
            <a:ext cx="2180176" cy="1368000"/>
          </a:xfrm>
          <a:prstGeom prst="rect">
            <a:avLst/>
          </a:prstGeom>
          <a:noFill/>
          <a:ln w="19050">
            <a:noFill/>
          </a:ln>
          <a:extLst>
            <a:ext uri="{909E8E84-426E-40DD-AFC4-6F175D3DCCD1}">
              <a14:hiddenFill xmlns:a14="http://schemas.microsoft.com/office/drawing/2010/main">
                <a:solidFill>
                  <a:schemeClr val="accent6">
                    <a:lumMod val="95000"/>
                  </a:schemeClr>
                </a:solidFill>
              </a14:hiddenFill>
            </a:ext>
          </a:extLst>
        </p:spPr>
        <p:txBody>
          <a:bodyPr vert="horz" lIns="72000" tIns="72000" rIns="72000" bIns="72000" rtlCol="0" anchor="ctr">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endParaRPr lang="nl-NL" sz="1000" dirty="0"/>
          </a:p>
          <a:p>
            <a:pPr marL="0" indent="0">
              <a:buNone/>
            </a:pPr>
            <a:r>
              <a:rPr lang="nl-NL" sz="1000" dirty="0"/>
              <a:t>In </a:t>
            </a:r>
            <a:r>
              <a:rPr lang="nl-NL" sz="1000" b="1" dirty="0"/>
              <a:t>Ontwikkelagenda Toekomstbeeld OV </a:t>
            </a:r>
            <a:r>
              <a:rPr lang="nl-NL" sz="1000" dirty="0"/>
              <a:t>stippelt de rijksoverheid een bredere lange termijnvisie tot </a:t>
            </a:r>
            <a:r>
              <a:rPr lang="nl-NL" sz="1000" b="1" dirty="0"/>
              <a:t>2040</a:t>
            </a:r>
            <a:r>
              <a:rPr lang="nl-NL" sz="1000" dirty="0"/>
              <a:t> voor een duurzaam en efficiënt OV-systeem.</a:t>
            </a:r>
          </a:p>
          <a:p>
            <a:pPr marL="0" indent="0">
              <a:buFont typeface="Wingdings" panose="05000000000000000000" pitchFamily="2" charset="2"/>
              <a:buNone/>
            </a:pPr>
            <a:endParaRPr lang="nl-NL" sz="1000" b="1" dirty="0"/>
          </a:p>
        </p:txBody>
      </p:sp>
      <p:pic>
        <p:nvPicPr>
          <p:cNvPr id="38" name="Picture 37">
            <a:extLst>
              <a:ext uri="{FF2B5EF4-FFF2-40B4-BE49-F238E27FC236}">
                <a16:creationId xmlns:a16="http://schemas.microsoft.com/office/drawing/2014/main" id="{57796F8E-FD18-4A61-92B7-F6F9EC80F81F}"/>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428907" y="1964526"/>
            <a:ext cx="926578" cy="1251811"/>
          </a:xfrm>
          <a:prstGeom prst="rect">
            <a:avLst/>
          </a:prstGeom>
          <a:ln>
            <a:solidFill>
              <a:schemeClr val="bg1">
                <a:lumMod val="75000"/>
              </a:schemeClr>
            </a:solidFill>
          </a:ln>
        </p:spPr>
      </p:pic>
      <p:sp>
        <p:nvSpPr>
          <p:cNvPr id="56" name="Content Placeholder 22">
            <a:extLst>
              <a:ext uri="{FF2B5EF4-FFF2-40B4-BE49-F238E27FC236}">
                <a16:creationId xmlns:a16="http://schemas.microsoft.com/office/drawing/2014/main" id="{C64AF694-232D-4C91-B5B3-09E1B6198E36}"/>
              </a:ext>
            </a:extLst>
          </p:cNvPr>
          <p:cNvSpPr txBox="1">
            <a:spLocks/>
          </p:cNvSpPr>
          <p:nvPr/>
        </p:nvSpPr>
        <p:spPr>
          <a:xfrm>
            <a:off x="6748730" y="4140922"/>
            <a:ext cx="4784458" cy="2160000"/>
          </a:xfrm>
          <a:prstGeom prst="rect">
            <a:avLst/>
          </a:prstGeom>
          <a:solidFill>
            <a:schemeClr val="accent6">
              <a:lumMod val="95000"/>
            </a:schemeClr>
          </a:solidFill>
        </p:spPr>
        <p:txBody>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endParaRPr lang="nl-NL" dirty="0"/>
          </a:p>
        </p:txBody>
      </p:sp>
      <p:sp>
        <p:nvSpPr>
          <p:cNvPr id="57" name="Rectangle 56">
            <a:extLst>
              <a:ext uri="{FF2B5EF4-FFF2-40B4-BE49-F238E27FC236}">
                <a16:creationId xmlns:a16="http://schemas.microsoft.com/office/drawing/2014/main" id="{21577E1A-8482-4A19-8081-19536B936055}"/>
              </a:ext>
            </a:extLst>
          </p:cNvPr>
          <p:cNvSpPr/>
          <p:nvPr/>
        </p:nvSpPr>
        <p:spPr>
          <a:xfrm>
            <a:off x="7049396" y="4186036"/>
            <a:ext cx="3496458" cy="310407"/>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lang="nl-NL" sz="1000" b="1" dirty="0"/>
              <a:t>Benutten s</a:t>
            </a:r>
            <a:r>
              <a:rPr kumimoji="0" lang="nl-NL" sz="1000" b="1" i="0" u="none" strike="noStrike" kern="1200" cap="none" spc="0" normalizeH="0" baseline="0" noProof="0" dirty="0">
                <a:ln>
                  <a:noFill/>
                </a:ln>
                <a:effectLst/>
                <a:uLnTx/>
                <a:uFillTx/>
              </a:rPr>
              <a:t>ynergie doelgroepenvervoer en OV</a:t>
            </a:r>
          </a:p>
        </p:txBody>
      </p:sp>
      <p:pic>
        <p:nvPicPr>
          <p:cNvPr id="7" name="Graphic 6" descr="Handshake with solid fill">
            <a:extLst>
              <a:ext uri="{FF2B5EF4-FFF2-40B4-BE49-F238E27FC236}">
                <a16:creationId xmlns:a16="http://schemas.microsoft.com/office/drawing/2014/main" id="{D48985DC-05B5-4691-AC39-BB64CF4684A2}"/>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792282" y="4168596"/>
            <a:ext cx="257114" cy="286001"/>
          </a:xfrm>
          <a:prstGeom prst="rect">
            <a:avLst/>
          </a:prstGeom>
        </p:spPr>
      </p:pic>
      <p:sp>
        <p:nvSpPr>
          <p:cNvPr id="33" name="Google Shape;1562;p12">
            <a:extLst>
              <a:ext uri="{FF2B5EF4-FFF2-40B4-BE49-F238E27FC236}">
                <a16:creationId xmlns:a16="http://schemas.microsoft.com/office/drawing/2014/main" id="{E96F5332-2E91-42A7-B764-38CC65E0AB0B}"/>
              </a:ext>
            </a:extLst>
          </p:cNvPr>
          <p:cNvSpPr/>
          <p:nvPr/>
        </p:nvSpPr>
        <p:spPr>
          <a:xfrm>
            <a:off x="675614" y="1592264"/>
            <a:ext cx="2664000" cy="288000"/>
          </a:xfrm>
          <a:prstGeom prst="homePlate">
            <a:avLst>
              <a:gd name="adj" fmla="val 50000"/>
            </a:avLst>
          </a:prstGeom>
          <a:solidFill>
            <a:srgbClr val="22777B"/>
          </a:solidFill>
          <a:ln w="9525">
            <a:solidFill>
              <a:srgbClr val="22777B"/>
            </a:solidFill>
          </a:ln>
        </p:spPr>
        <p:txBody>
          <a:bodyPr vert="horz" lIns="72000" tIns="72000" rIns="72000" bIns="72000" rtlCol="0" anchor="ctr">
            <a:noAutofit/>
          </a:bodyPr>
          <a:lstStyle/>
          <a:p>
            <a:pPr marL="0" indent="0" algn="ctr">
              <a:buNone/>
            </a:pPr>
            <a:r>
              <a:rPr lang="nl-NL" sz="1000" b="1" dirty="0">
                <a:solidFill>
                  <a:srgbClr val="FFFFFF"/>
                </a:solidFill>
                <a:sym typeface="Corbel"/>
              </a:rPr>
              <a:t>Het huidige OV is al redelijk toegankelijk…</a:t>
            </a:r>
            <a:endParaRPr lang="nl-NL" sz="1000" b="1" dirty="0">
              <a:solidFill>
                <a:srgbClr val="FFFFFF"/>
              </a:solidFill>
            </a:endParaRPr>
          </a:p>
        </p:txBody>
      </p:sp>
      <p:sp>
        <p:nvSpPr>
          <p:cNvPr id="35" name="Google Shape;1563;p12">
            <a:extLst>
              <a:ext uri="{FF2B5EF4-FFF2-40B4-BE49-F238E27FC236}">
                <a16:creationId xmlns:a16="http://schemas.microsoft.com/office/drawing/2014/main" id="{9C9A6EAB-56E9-4C10-9163-6F6E9BDE017F}"/>
              </a:ext>
            </a:extLst>
          </p:cNvPr>
          <p:cNvSpPr/>
          <p:nvPr/>
        </p:nvSpPr>
        <p:spPr>
          <a:xfrm>
            <a:off x="3415030" y="1592264"/>
            <a:ext cx="3204000" cy="288000"/>
          </a:xfrm>
          <a:prstGeom prst="chevron">
            <a:avLst>
              <a:gd name="adj" fmla="val 50000"/>
            </a:avLst>
          </a:prstGeom>
          <a:solidFill>
            <a:srgbClr val="22777B"/>
          </a:solidFill>
          <a:ln w="9525">
            <a:solidFill>
              <a:srgbClr val="22777B"/>
            </a:solidFill>
          </a:ln>
        </p:spPr>
        <p:txBody>
          <a:bodyPr vert="horz" lIns="72000" tIns="72000" rIns="72000" bIns="72000" rtlCol="0" anchor="ctr">
            <a:noAutofit/>
          </a:bodyPr>
          <a:lstStyle/>
          <a:p>
            <a:pPr marL="0" indent="0" algn="ctr">
              <a:buNone/>
            </a:pPr>
            <a:r>
              <a:rPr lang="nl-NL" sz="1000" b="1">
                <a:solidFill>
                  <a:srgbClr val="FFFFFF"/>
                </a:solidFill>
                <a:sym typeface="Corbel"/>
              </a:rPr>
              <a:t>Er zijn hoge ambities voor op de korte termijn…</a:t>
            </a:r>
            <a:endParaRPr lang="nl-NL" sz="1000" b="1" dirty="0">
              <a:solidFill>
                <a:srgbClr val="FFFFFF"/>
              </a:solidFill>
              <a:sym typeface="Corbel"/>
            </a:endParaRPr>
          </a:p>
        </p:txBody>
      </p:sp>
      <p:sp>
        <p:nvSpPr>
          <p:cNvPr id="39" name="Google Shape;1563;p12">
            <a:extLst>
              <a:ext uri="{FF2B5EF4-FFF2-40B4-BE49-F238E27FC236}">
                <a16:creationId xmlns:a16="http://schemas.microsoft.com/office/drawing/2014/main" id="{9AEF149B-4232-49CE-AA4E-FC18D507C095}"/>
              </a:ext>
            </a:extLst>
          </p:cNvPr>
          <p:cNvSpPr/>
          <p:nvPr/>
        </p:nvSpPr>
        <p:spPr>
          <a:xfrm>
            <a:off x="6698660" y="1592264"/>
            <a:ext cx="4824000" cy="288000"/>
          </a:xfrm>
          <a:prstGeom prst="chevron">
            <a:avLst>
              <a:gd name="adj" fmla="val 50000"/>
            </a:avLst>
          </a:prstGeom>
          <a:solidFill>
            <a:srgbClr val="22777B"/>
          </a:solidFill>
          <a:ln w="9525">
            <a:solidFill>
              <a:srgbClr val="22777B"/>
            </a:solidFill>
          </a:ln>
        </p:spPr>
        <p:txBody>
          <a:bodyPr vert="horz" lIns="72000" tIns="72000" rIns="72000" bIns="72000" rtlCol="0" anchor="ctr">
            <a:noAutofit/>
          </a:bodyPr>
          <a:lstStyle/>
          <a:p>
            <a:pPr marL="0" indent="0" algn="ctr">
              <a:buNone/>
            </a:pPr>
            <a:r>
              <a:rPr lang="nl-NL" sz="1000" b="1" dirty="0">
                <a:solidFill>
                  <a:srgbClr val="FFFFFF"/>
                </a:solidFill>
                <a:sym typeface="Corbel"/>
              </a:rPr>
              <a:t>Er liggen kansen voor het doelgroepenvervoer in een toegankelijker OV-systeem</a:t>
            </a:r>
          </a:p>
        </p:txBody>
      </p:sp>
      <p:sp>
        <p:nvSpPr>
          <p:cNvPr id="43" name="Content Placeholder 11">
            <a:extLst>
              <a:ext uri="{FF2B5EF4-FFF2-40B4-BE49-F238E27FC236}">
                <a16:creationId xmlns:a16="http://schemas.microsoft.com/office/drawing/2014/main" id="{E519002F-8D04-458A-A00C-08B87D7B51F2}"/>
              </a:ext>
            </a:extLst>
          </p:cNvPr>
          <p:cNvSpPr txBox="1">
            <a:spLocks/>
          </p:cNvSpPr>
          <p:nvPr/>
        </p:nvSpPr>
        <p:spPr>
          <a:xfrm>
            <a:off x="6814251" y="4427813"/>
            <a:ext cx="4685203" cy="1873109"/>
          </a:xfrm>
          <a:prstGeom prst="rect">
            <a:avLst/>
          </a:prstGeom>
          <a:noFill/>
          <a:ln w="19050">
            <a:noFill/>
          </a:ln>
          <a:extLst>
            <a:ext uri="{909E8E84-426E-40DD-AFC4-6F175D3DCCD1}">
              <a14:hiddenFill xmlns:a14="http://schemas.microsoft.com/office/drawing/2010/main">
                <a:solidFill>
                  <a:schemeClr val="accent6">
                    <a:lumMod val="95000"/>
                  </a:schemeClr>
                </a:solidFill>
              </a14:hiddenFill>
            </a:ext>
          </a:extLst>
        </p:spPr>
        <p:txBody>
          <a:bodyPr vert="horz" lIns="72000" tIns="72000" rIns="72000" bIns="72000" rtlCol="0" anchor="t">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sz="1000" dirty="0"/>
              <a:t>Doelgroepenvervoer en OV zijn nu twee aparte mobiliteitssytemen. Om het gebruik van het OV en de combinatie van OV en doelgroepenvervoer gemakkelijk te maken, moet er gewerkt worden naar </a:t>
            </a:r>
            <a:r>
              <a:rPr lang="nl-NL" sz="1000" b="1" dirty="0"/>
              <a:t>een inclusief mobiliteitssysteem </a:t>
            </a:r>
            <a:r>
              <a:rPr lang="nl-NL" sz="1000" dirty="0"/>
              <a:t>waarbij gebruikers kunnen kiezen voor een reis die op dat moment voor hen de beste optie is. </a:t>
            </a:r>
          </a:p>
          <a:p>
            <a:pPr marL="0" indent="0">
              <a:buNone/>
            </a:pPr>
            <a:r>
              <a:rPr lang="nl-NL" sz="1000" dirty="0"/>
              <a:t>Deze trend is al deels in gang gezet: verschillende regio’s/gemeenten onderzoeken de potentiële voordelen van het </a:t>
            </a:r>
            <a:r>
              <a:rPr lang="nl-NL" sz="1000" b="1" dirty="0"/>
              <a:t>integreren van het boekingsproces en planning </a:t>
            </a:r>
            <a:r>
              <a:rPr lang="nl-NL" sz="1000" dirty="0"/>
              <a:t>van verschillende vervoersvormen (waaronder het OV) via een regiecentrale (zie innovatie nr. 6) en/of het </a:t>
            </a:r>
            <a:r>
              <a:rPr lang="nl-NL" sz="1000" b="1" dirty="0"/>
              <a:t>bieden van geïntegreerde reisinformatie </a:t>
            </a:r>
            <a:r>
              <a:rPr lang="nl-NL" sz="1000" dirty="0"/>
              <a:t>voor doelgroepenvervoer, OV en alternatief vervoer op een MaaS-platform (zie innovatie nr. 7).</a:t>
            </a:r>
          </a:p>
        </p:txBody>
      </p:sp>
      <p:pic>
        <p:nvPicPr>
          <p:cNvPr id="11" name="Picture 10">
            <a:extLst>
              <a:ext uri="{FF2B5EF4-FFF2-40B4-BE49-F238E27FC236}">
                <a16:creationId xmlns:a16="http://schemas.microsoft.com/office/drawing/2014/main" id="{AA43B3B0-A0E8-418E-B67E-D243C8EE807A}"/>
              </a:ext>
            </a:extLst>
          </p:cNvPr>
          <p:cNvPicPr>
            <a:picLocks/>
          </p:cNvPicPr>
          <p:nvPr/>
        </p:nvPicPr>
        <p:blipFill>
          <a:blip r:embed="rId11" cstate="print">
            <a:extLst>
              <a:ext uri="{28A0092B-C50C-407E-A947-70E740481C1C}">
                <a14:useLocalDpi xmlns:a14="http://schemas.microsoft.com/office/drawing/2010/main"/>
              </a:ext>
            </a:extLst>
          </a:blip>
          <a:stretch>
            <a:fillRect/>
          </a:stretch>
        </p:blipFill>
        <p:spPr>
          <a:xfrm>
            <a:off x="3428907" y="3480201"/>
            <a:ext cx="925200" cy="1252800"/>
          </a:xfrm>
          <a:prstGeom prst="rect">
            <a:avLst/>
          </a:prstGeom>
          <a:ln>
            <a:solidFill>
              <a:schemeClr val="bg1">
                <a:lumMod val="75000"/>
              </a:schemeClr>
            </a:solidFill>
          </a:ln>
        </p:spPr>
      </p:pic>
      <p:sp>
        <p:nvSpPr>
          <p:cNvPr id="41" name="Content Placeholder 22">
            <a:extLst>
              <a:ext uri="{FF2B5EF4-FFF2-40B4-BE49-F238E27FC236}">
                <a16:creationId xmlns:a16="http://schemas.microsoft.com/office/drawing/2014/main" id="{0386FC56-8CA6-4E5C-BBA2-A7CF3D214495}"/>
              </a:ext>
            </a:extLst>
          </p:cNvPr>
          <p:cNvSpPr txBox="1">
            <a:spLocks/>
          </p:cNvSpPr>
          <p:nvPr/>
        </p:nvSpPr>
        <p:spPr>
          <a:xfrm>
            <a:off x="6748730" y="1944098"/>
            <a:ext cx="4784458" cy="2160000"/>
          </a:xfrm>
          <a:prstGeom prst="rect">
            <a:avLst/>
          </a:prstGeom>
          <a:solidFill>
            <a:schemeClr val="accent6">
              <a:lumMod val="95000"/>
            </a:schemeClr>
          </a:solidFill>
        </p:spPr>
        <p:txBody>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endParaRPr lang="nl-NL" dirty="0"/>
          </a:p>
        </p:txBody>
      </p:sp>
      <p:sp>
        <p:nvSpPr>
          <p:cNvPr id="53" name="Rectangle 52">
            <a:extLst>
              <a:ext uri="{FF2B5EF4-FFF2-40B4-BE49-F238E27FC236}">
                <a16:creationId xmlns:a16="http://schemas.microsoft.com/office/drawing/2014/main" id="{FCD72E58-E3E7-4BFB-891E-C8377282C66B}"/>
              </a:ext>
            </a:extLst>
          </p:cNvPr>
          <p:cNvSpPr/>
          <p:nvPr/>
        </p:nvSpPr>
        <p:spPr>
          <a:xfrm>
            <a:off x="6995398" y="1956080"/>
            <a:ext cx="3716145" cy="279055"/>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kumimoji="0" lang="nl-NL" sz="1000" b="1" i="0" u="none" strike="noStrike" kern="1200" cap="none" spc="0" normalizeH="0" baseline="0" noProof="0" dirty="0">
                <a:ln>
                  <a:noFill/>
                </a:ln>
                <a:effectLst/>
                <a:uLnTx/>
                <a:uFillTx/>
                <a:latin typeface="Corbel" panose="020B0503020204020204" pitchFamily="34" charset="0"/>
                <a:ea typeface="+mn-ea"/>
                <a:cs typeface="+mn-cs"/>
              </a:rPr>
              <a:t>Gebruik van OV door reizigers met een beperking</a:t>
            </a:r>
          </a:p>
        </p:txBody>
      </p:sp>
      <p:pic>
        <p:nvPicPr>
          <p:cNvPr id="54" name="Graphic 53" descr="Shuffle with solid fill">
            <a:extLst>
              <a:ext uri="{FF2B5EF4-FFF2-40B4-BE49-F238E27FC236}">
                <a16:creationId xmlns:a16="http://schemas.microsoft.com/office/drawing/2014/main" id="{6A6877F2-7E45-41A0-9BC3-60D6D0A77D62}"/>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792282" y="1984654"/>
            <a:ext cx="203116" cy="199805"/>
          </a:xfrm>
          <a:prstGeom prst="rect">
            <a:avLst/>
          </a:prstGeom>
        </p:spPr>
      </p:pic>
      <p:sp>
        <p:nvSpPr>
          <p:cNvPr id="45" name="Content Placeholder 11">
            <a:extLst>
              <a:ext uri="{FF2B5EF4-FFF2-40B4-BE49-F238E27FC236}">
                <a16:creationId xmlns:a16="http://schemas.microsoft.com/office/drawing/2014/main" id="{400EDDB9-A5B7-4063-A371-9C7EA4687480}"/>
              </a:ext>
            </a:extLst>
          </p:cNvPr>
          <p:cNvSpPr txBox="1">
            <a:spLocks/>
          </p:cNvSpPr>
          <p:nvPr/>
        </p:nvSpPr>
        <p:spPr>
          <a:xfrm>
            <a:off x="6814251" y="2184459"/>
            <a:ext cx="4718937" cy="1844320"/>
          </a:xfrm>
          <a:prstGeom prst="rect">
            <a:avLst/>
          </a:prstGeom>
          <a:noFill/>
          <a:ln w="19050">
            <a:noFill/>
          </a:ln>
          <a:extLst>
            <a:ext uri="{909E8E84-426E-40DD-AFC4-6F175D3DCCD1}">
              <a14:hiddenFill xmlns:a14="http://schemas.microsoft.com/office/drawing/2010/main">
                <a:solidFill>
                  <a:schemeClr val="accent6">
                    <a:lumMod val="95000"/>
                  </a:schemeClr>
                </a:solidFill>
              </a14:hiddenFill>
            </a:ext>
          </a:extLst>
        </p:spPr>
        <p:txBody>
          <a:bodyPr vert="horz" lIns="72000" tIns="72000" rIns="72000" bIns="72000" rtlCol="0" anchor="t">
            <a:normAutofit lnSpcReduction="10000"/>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sz="1000" dirty="0"/>
              <a:t>Er zijn meerdere manieren om kwetsbare reizigers bewust te maken van alternatieven voor het doelgroepenvervoer en te stimuleren om hier gebruik van te maken:</a:t>
            </a:r>
          </a:p>
          <a:p>
            <a:r>
              <a:rPr lang="nl-NL" sz="1000" dirty="0"/>
              <a:t>‘</a:t>
            </a:r>
            <a:r>
              <a:rPr lang="nl-NL" sz="1000" b="1" dirty="0"/>
              <a:t>Push’ – maatregelen: </a:t>
            </a:r>
            <a:r>
              <a:rPr lang="nl-NL" sz="1000" dirty="0"/>
              <a:t>gemeenten kunnen een</a:t>
            </a:r>
            <a:r>
              <a:rPr lang="nl-NL" sz="1000" b="1" dirty="0"/>
              <a:t> </a:t>
            </a:r>
            <a:r>
              <a:rPr lang="nl-NL" sz="1000" dirty="0"/>
              <a:t>limiet stelllen op het aantal gebruikers en/of gebruik van doelgroepenvervoer (zie ook vorige pagina). Hierdoor zullen reizigers noodgedwongen gebruik moeten maken van het OV</a:t>
            </a:r>
          </a:p>
          <a:p>
            <a:r>
              <a:rPr lang="nl-NL" sz="1000" b="1" dirty="0"/>
              <a:t>‘Pull’- maatregelen: </a:t>
            </a:r>
            <a:r>
              <a:rPr lang="nl-NL" sz="1000" dirty="0"/>
              <a:t>gemeenten kunnen kwetsbare reizigers verleiden en helpen om gebruik te maken van het OV:</a:t>
            </a:r>
          </a:p>
          <a:p>
            <a:pPr lvl="1"/>
            <a:r>
              <a:rPr lang="nl-NL" sz="1000" dirty="0"/>
              <a:t>Op apps/ websites (gepersonaliseerde) informatie verschaffen over toegankelijkheid haltes en voertuigen</a:t>
            </a:r>
          </a:p>
          <a:p>
            <a:pPr lvl="1"/>
            <a:r>
              <a:rPr lang="nl-NL" sz="1000" dirty="0"/>
              <a:t>‘Buddy’s’ die kwetsbare reizigers wegwijs maken in het OV</a:t>
            </a:r>
          </a:p>
          <a:p>
            <a:pPr lvl="1"/>
            <a:r>
              <a:rPr lang="nl-NL" sz="1000" dirty="0"/>
              <a:t>Korting aanbieden voor Wmo-pashouders voor het OV</a:t>
            </a:r>
          </a:p>
        </p:txBody>
      </p:sp>
      <p:sp>
        <p:nvSpPr>
          <p:cNvPr id="49" name="Content Placeholder 11">
            <a:extLst>
              <a:ext uri="{FF2B5EF4-FFF2-40B4-BE49-F238E27FC236}">
                <a16:creationId xmlns:a16="http://schemas.microsoft.com/office/drawing/2014/main" id="{AFDAA887-ECBD-41DF-8669-DB54CC1AB60A}"/>
              </a:ext>
            </a:extLst>
          </p:cNvPr>
          <p:cNvSpPr txBox="1">
            <a:spLocks/>
          </p:cNvSpPr>
          <p:nvPr/>
        </p:nvSpPr>
        <p:spPr>
          <a:xfrm>
            <a:off x="666905" y="1944098"/>
            <a:ext cx="2664000" cy="2160000"/>
          </a:xfrm>
          <a:prstGeom prst="rect">
            <a:avLst/>
          </a:prstGeom>
          <a:solidFill>
            <a:schemeClr val="accent6">
              <a:lumMod val="95000"/>
            </a:schemeClr>
          </a:solid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endParaRPr lang="nl-NL" sz="1000" b="1" dirty="0"/>
          </a:p>
        </p:txBody>
      </p:sp>
      <p:sp>
        <p:nvSpPr>
          <p:cNvPr id="50" name="Rectangle 49">
            <a:extLst>
              <a:ext uri="{FF2B5EF4-FFF2-40B4-BE49-F238E27FC236}">
                <a16:creationId xmlns:a16="http://schemas.microsoft.com/office/drawing/2014/main" id="{111484C4-6FBB-413B-898B-EE5D72394CBA}"/>
              </a:ext>
            </a:extLst>
          </p:cNvPr>
          <p:cNvSpPr/>
          <p:nvPr/>
        </p:nvSpPr>
        <p:spPr>
          <a:xfrm>
            <a:off x="870412" y="1950376"/>
            <a:ext cx="2000222" cy="218100"/>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kumimoji="0" lang="nl-NL" sz="1000" b="1" i="0" u="none" strike="noStrike" kern="1200" cap="none" spc="0" normalizeH="0" baseline="0" noProof="0" dirty="0">
                <a:ln>
                  <a:noFill/>
                </a:ln>
                <a:effectLst/>
                <a:uLnTx/>
                <a:uFillTx/>
                <a:latin typeface="Corbel" panose="020B0503020204020204" pitchFamily="34" charset="0"/>
                <a:ea typeface="+mn-ea"/>
                <a:cs typeface="+mn-cs"/>
              </a:rPr>
              <a:t>Fysieke toegankelijkheid</a:t>
            </a:r>
          </a:p>
        </p:txBody>
      </p:sp>
      <p:sp>
        <p:nvSpPr>
          <p:cNvPr id="52" name="TextBox 51">
            <a:extLst>
              <a:ext uri="{FF2B5EF4-FFF2-40B4-BE49-F238E27FC236}">
                <a16:creationId xmlns:a16="http://schemas.microsoft.com/office/drawing/2014/main" id="{A102ADDB-33C5-4739-888B-3F788324B511}"/>
              </a:ext>
            </a:extLst>
          </p:cNvPr>
          <p:cNvSpPr txBox="1"/>
          <p:nvPr/>
        </p:nvSpPr>
        <p:spPr>
          <a:xfrm>
            <a:off x="719237" y="2221283"/>
            <a:ext cx="2576894" cy="1764586"/>
          </a:xfrm>
          <a:prstGeom prst="rect">
            <a:avLst/>
          </a:prstGeom>
          <a:noFill/>
        </p:spPr>
        <p:txBody>
          <a:bodyPr wrap="square" lIns="0" tIns="0" rIns="0" bIns="0">
            <a:spAutoFit/>
          </a:bodyPr>
          <a:lstStyle/>
          <a:p>
            <a:r>
              <a:rPr lang="nl-NL" sz="1000" b="1" dirty="0"/>
              <a:t>Materieel - </a:t>
            </a:r>
            <a:r>
              <a:rPr lang="nl-NL" sz="1000" dirty="0"/>
              <a:t>volgens landelijke richtlijnen zijn  voertuigen al 100% toegankelijk. In de praktijk zijn er echter problemen</a:t>
            </a:r>
          </a:p>
          <a:p>
            <a:r>
              <a:rPr lang="nl-NL" sz="1000" dirty="0"/>
              <a:t> </a:t>
            </a:r>
            <a:r>
              <a:rPr lang="nl-NL" sz="1000" b="1" dirty="0"/>
              <a:t>Haltes – </a:t>
            </a:r>
            <a:r>
              <a:rPr lang="nl-NL" sz="1000" dirty="0"/>
              <a:t>de meeste treinstations zijn toegankelijk maar het aantal toegankelijke tram- en bushaltes loopt uiteen per stad</a:t>
            </a:r>
          </a:p>
          <a:p>
            <a:r>
              <a:rPr lang="nl-NL" sz="1000" b="1" dirty="0"/>
              <a:t>Reisinformatie</a:t>
            </a:r>
            <a:r>
              <a:rPr lang="nl-NL" sz="1000" dirty="0"/>
              <a:t> - op 9292 en NS is informatie over toegankelijkheid van haltes en voertuigen. Informatie is soms niet volledig/realtime. Website ikwilvervoer.nl geeft zelfs reisinformatie voor OV én doelgroepenvervoer in vier provincies.</a:t>
            </a:r>
          </a:p>
        </p:txBody>
      </p:sp>
      <p:pic>
        <p:nvPicPr>
          <p:cNvPr id="58" name="Graphic 57" descr="Wheelchair with solid fill">
            <a:extLst>
              <a:ext uri="{FF2B5EF4-FFF2-40B4-BE49-F238E27FC236}">
                <a16:creationId xmlns:a16="http://schemas.microsoft.com/office/drawing/2014/main" id="{FBC910A0-6878-40A8-BEFD-9FBE521801D2}"/>
              </a:ext>
            </a:extLst>
          </p:cNvPr>
          <p:cNvPicPr>
            <a:picLocks noChangeAspect="1"/>
          </p:cNvPicPr>
          <p:nvPr/>
        </p:nvPicPr>
        <p:blipFill>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80596" y="1955639"/>
            <a:ext cx="211618" cy="211618"/>
          </a:xfrm>
          <a:prstGeom prst="rect">
            <a:avLst/>
          </a:prstGeom>
        </p:spPr>
      </p:pic>
      <p:sp>
        <p:nvSpPr>
          <p:cNvPr id="67" name="Content Placeholder 11">
            <a:extLst>
              <a:ext uri="{FF2B5EF4-FFF2-40B4-BE49-F238E27FC236}">
                <a16:creationId xmlns:a16="http://schemas.microsoft.com/office/drawing/2014/main" id="{3E52B178-6248-4A6E-BA3D-F2C354AADCCF}"/>
              </a:ext>
            </a:extLst>
          </p:cNvPr>
          <p:cNvSpPr txBox="1">
            <a:spLocks/>
          </p:cNvSpPr>
          <p:nvPr/>
        </p:nvSpPr>
        <p:spPr>
          <a:xfrm>
            <a:off x="666905" y="4174569"/>
            <a:ext cx="2664000" cy="2126353"/>
          </a:xfrm>
          <a:prstGeom prst="rect">
            <a:avLst/>
          </a:prstGeom>
          <a:solidFill>
            <a:schemeClr val="accent6">
              <a:lumMod val="95000"/>
            </a:schemeClr>
          </a:solid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endParaRPr lang="nl-NL" sz="1000" b="1" dirty="0"/>
          </a:p>
        </p:txBody>
      </p:sp>
      <p:sp>
        <p:nvSpPr>
          <p:cNvPr id="72" name="Rectangle 71">
            <a:extLst>
              <a:ext uri="{FF2B5EF4-FFF2-40B4-BE49-F238E27FC236}">
                <a16:creationId xmlns:a16="http://schemas.microsoft.com/office/drawing/2014/main" id="{85EF6D78-4134-4652-B435-40A660366D28}"/>
              </a:ext>
            </a:extLst>
          </p:cNvPr>
          <p:cNvSpPr/>
          <p:nvPr/>
        </p:nvSpPr>
        <p:spPr>
          <a:xfrm>
            <a:off x="936738" y="4182233"/>
            <a:ext cx="1895796" cy="330998"/>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kumimoji="0" lang="nl-NL" sz="1000" b="1" i="0" u="none" strike="noStrike" kern="1200" cap="none" spc="0" normalizeH="0" baseline="0" noProof="0" dirty="0">
                <a:ln>
                  <a:noFill/>
                </a:ln>
                <a:effectLst/>
                <a:uLnTx/>
                <a:uFillTx/>
                <a:latin typeface="Corbel" panose="020B0503020204020204" pitchFamily="34" charset="0"/>
                <a:ea typeface="+mn-ea"/>
                <a:cs typeface="+mn-cs"/>
              </a:rPr>
              <a:t>Mentale toegankelijkheid</a:t>
            </a:r>
          </a:p>
        </p:txBody>
      </p:sp>
      <p:sp>
        <p:nvSpPr>
          <p:cNvPr id="73" name="TextBox 72">
            <a:extLst>
              <a:ext uri="{FF2B5EF4-FFF2-40B4-BE49-F238E27FC236}">
                <a16:creationId xmlns:a16="http://schemas.microsoft.com/office/drawing/2014/main" id="{29F8EDB8-EAB5-4C46-870E-21C6B41CBCD2}"/>
              </a:ext>
            </a:extLst>
          </p:cNvPr>
          <p:cNvSpPr txBox="1"/>
          <p:nvPr/>
        </p:nvSpPr>
        <p:spPr>
          <a:xfrm>
            <a:off x="718531" y="4513232"/>
            <a:ext cx="2577600" cy="1764586"/>
          </a:xfrm>
          <a:prstGeom prst="rect">
            <a:avLst/>
          </a:prstGeom>
          <a:noFill/>
        </p:spPr>
        <p:txBody>
          <a:bodyPr wrap="square" lIns="0" tIns="0" rIns="0" bIns="0">
            <a:spAutoFit/>
          </a:bodyPr>
          <a:lstStyle>
            <a:defPPr>
              <a:defRPr lang="nl-NL"/>
            </a:defPPr>
            <a:lvl1pPr>
              <a:defRPr sz="1000" b="1"/>
            </a:lvl1pPr>
          </a:lstStyle>
          <a:p>
            <a:pPr marL="0" indent="0">
              <a:buNone/>
            </a:pPr>
            <a:r>
              <a:rPr lang="nl-NL" b="0" dirty="0"/>
              <a:t>Vervoerders en gemeenten verschaffen al verschillende vormen van mobiliteitsassistentie. Vaak zijn deze echter nog niet onderdeel van een ‘vast’ aanbod maar in de pilot-fase:</a:t>
            </a:r>
          </a:p>
          <a:p>
            <a:r>
              <a:rPr lang="nl-NL" b="0" dirty="0"/>
              <a:t>Sommige gemeenten bieden aan kwetsbare reizigers fysieke begeleiding bij het reizen met OV of trainingen. </a:t>
            </a:r>
          </a:p>
          <a:p>
            <a:r>
              <a:rPr lang="nl-NL" b="0" dirty="0"/>
              <a:t>Ook zijn er apps en digitale platforms die reizigers adviseren en begeleiden tijdens hun reis (bijv. GoOV-app) of helpen met het online plannen en boeken (bijv. VITA Mobiliteit).</a:t>
            </a:r>
          </a:p>
        </p:txBody>
      </p:sp>
      <p:grpSp>
        <p:nvGrpSpPr>
          <p:cNvPr id="60" name="Group 59">
            <a:extLst>
              <a:ext uri="{FF2B5EF4-FFF2-40B4-BE49-F238E27FC236}">
                <a16:creationId xmlns:a16="http://schemas.microsoft.com/office/drawing/2014/main" id="{2D538B1B-64D1-4662-A25C-3CD2FCEA6BEF}"/>
              </a:ext>
            </a:extLst>
          </p:cNvPr>
          <p:cNvGrpSpPr/>
          <p:nvPr/>
        </p:nvGrpSpPr>
        <p:grpSpPr>
          <a:xfrm>
            <a:off x="701659" y="55733"/>
            <a:ext cx="2040807" cy="176387"/>
            <a:chOff x="701659" y="55733"/>
            <a:chExt cx="2040807" cy="176387"/>
          </a:xfrm>
        </p:grpSpPr>
        <p:sp>
          <p:nvSpPr>
            <p:cNvPr id="61" name="Rectangle: Rounded Corners 60">
              <a:extLst>
                <a:ext uri="{FF2B5EF4-FFF2-40B4-BE49-F238E27FC236}">
                  <a16:creationId xmlns:a16="http://schemas.microsoft.com/office/drawing/2014/main" id="{1D037DBE-E506-452F-B275-15F340B7D823}"/>
                </a:ext>
              </a:extLst>
            </p:cNvPr>
            <p:cNvSpPr/>
            <p:nvPr/>
          </p:nvSpPr>
          <p:spPr>
            <a:xfrm>
              <a:off x="93125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a:t>
              </a:r>
            </a:p>
          </p:txBody>
        </p:sp>
        <p:sp>
          <p:nvSpPr>
            <p:cNvPr id="62" name="Rectangle: Rounded Corners 61">
              <a:extLst>
                <a:ext uri="{FF2B5EF4-FFF2-40B4-BE49-F238E27FC236}">
                  <a16:creationId xmlns:a16="http://schemas.microsoft.com/office/drawing/2014/main" id="{DC1ED94F-699C-4DEF-9AE7-0D7D4FCB706C}"/>
                </a:ext>
              </a:extLst>
            </p:cNvPr>
            <p:cNvSpPr/>
            <p:nvPr/>
          </p:nvSpPr>
          <p:spPr>
            <a:xfrm>
              <a:off x="1160847" y="55733"/>
              <a:ext cx="204053" cy="176387"/>
            </a:xfrm>
            <a:prstGeom prst="roundRect">
              <a:avLst/>
            </a:prstGeom>
            <a:solidFill>
              <a:srgbClr val="EC6224"/>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2</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63" name="Rectangle: Rounded Corners 62">
              <a:extLst>
                <a:ext uri="{FF2B5EF4-FFF2-40B4-BE49-F238E27FC236}">
                  <a16:creationId xmlns:a16="http://schemas.microsoft.com/office/drawing/2014/main" id="{DA5FA895-C76E-459B-AC1E-B4A0415050F3}"/>
                </a:ext>
              </a:extLst>
            </p:cNvPr>
            <p:cNvSpPr/>
            <p:nvPr/>
          </p:nvSpPr>
          <p:spPr>
            <a:xfrm>
              <a:off x="1390441"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3</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64" name="Rectangle: Rounded Corners 63">
              <a:extLst>
                <a:ext uri="{FF2B5EF4-FFF2-40B4-BE49-F238E27FC236}">
                  <a16:creationId xmlns:a16="http://schemas.microsoft.com/office/drawing/2014/main" id="{D31176E9-C77A-4C8D-AAA1-93C23A90D1C2}"/>
                </a:ext>
              </a:extLst>
            </p:cNvPr>
            <p:cNvSpPr/>
            <p:nvPr/>
          </p:nvSpPr>
          <p:spPr>
            <a:xfrm>
              <a:off x="1620035"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4</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65" name="Rectangle: Rounded Corners 64">
              <a:extLst>
                <a:ext uri="{FF2B5EF4-FFF2-40B4-BE49-F238E27FC236}">
                  <a16:creationId xmlns:a16="http://schemas.microsoft.com/office/drawing/2014/main" id="{C20F159A-912E-49E8-8A22-2C70AB0D6384}"/>
                </a:ext>
              </a:extLst>
            </p:cNvPr>
            <p:cNvSpPr/>
            <p:nvPr/>
          </p:nvSpPr>
          <p:spPr>
            <a:xfrm>
              <a:off x="184962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5</a:t>
              </a:r>
            </a:p>
          </p:txBody>
        </p:sp>
        <p:sp>
          <p:nvSpPr>
            <p:cNvPr id="77" name="Rectangle: Rounded Corners 76">
              <a:extLst>
                <a:ext uri="{FF2B5EF4-FFF2-40B4-BE49-F238E27FC236}">
                  <a16:creationId xmlns:a16="http://schemas.microsoft.com/office/drawing/2014/main" id="{EACFEAC5-D73E-4656-84D7-F11BA2390E39}"/>
                </a:ext>
              </a:extLst>
            </p:cNvPr>
            <p:cNvSpPr/>
            <p:nvPr/>
          </p:nvSpPr>
          <p:spPr>
            <a:xfrm>
              <a:off x="207922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6</a:t>
              </a:r>
            </a:p>
          </p:txBody>
        </p:sp>
        <p:sp>
          <p:nvSpPr>
            <p:cNvPr id="78" name="Rectangle: Rounded Corners 77">
              <a:extLst>
                <a:ext uri="{FF2B5EF4-FFF2-40B4-BE49-F238E27FC236}">
                  <a16:creationId xmlns:a16="http://schemas.microsoft.com/office/drawing/2014/main" id="{35D77200-3B6A-4C0E-8027-2D225999C18F}"/>
                </a:ext>
              </a:extLst>
            </p:cNvPr>
            <p:cNvSpPr/>
            <p:nvPr/>
          </p:nvSpPr>
          <p:spPr>
            <a:xfrm>
              <a:off x="230881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7</a:t>
              </a:r>
            </a:p>
          </p:txBody>
        </p:sp>
        <p:sp>
          <p:nvSpPr>
            <p:cNvPr id="79" name="Rectangle: Rounded Corners 78">
              <a:extLst>
                <a:ext uri="{FF2B5EF4-FFF2-40B4-BE49-F238E27FC236}">
                  <a16:creationId xmlns:a16="http://schemas.microsoft.com/office/drawing/2014/main" id="{1E7C4A12-BAB5-4F59-8116-F0298C551706}"/>
                </a:ext>
              </a:extLst>
            </p:cNvPr>
            <p:cNvSpPr/>
            <p:nvPr/>
          </p:nvSpPr>
          <p:spPr>
            <a:xfrm>
              <a:off x="253841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8</a:t>
              </a:r>
            </a:p>
          </p:txBody>
        </p:sp>
        <p:grpSp>
          <p:nvGrpSpPr>
            <p:cNvPr id="81" name="Group 80">
              <a:extLst>
                <a:ext uri="{FF2B5EF4-FFF2-40B4-BE49-F238E27FC236}">
                  <a16:creationId xmlns:a16="http://schemas.microsoft.com/office/drawing/2014/main" id="{499819BE-070E-44E0-932E-D0C53DE40E94}"/>
                </a:ext>
              </a:extLst>
            </p:cNvPr>
            <p:cNvGrpSpPr/>
            <p:nvPr/>
          </p:nvGrpSpPr>
          <p:grpSpPr>
            <a:xfrm>
              <a:off x="701659" y="55733"/>
              <a:ext cx="204053" cy="176387"/>
              <a:chOff x="701659" y="55733"/>
              <a:chExt cx="204053" cy="176387"/>
            </a:xfrm>
          </p:grpSpPr>
          <p:sp>
            <p:nvSpPr>
              <p:cNvPr id="82" name="Rectangle: Rounded Corners 81">
                <a:extLst>
                  <a:ext uri="{FF2B5EF4-FFF2-40B4-BE49-F238E27FC236}">
                    <a16:creationId xmlns:a16="http://schemas.microsoft.com/office/drawing/2014/main" id="{90CF29B3-D4D1-4111-9755-573A9C46CA26}"/>
                  </a:ext>
                </a:extLst>
              </p:cNvPr>
              <p:cNvSpPr/>
              <p:nvPr/>
            </p:nvSpPr>
            <p:spPr>
              <a:xfrm>
                <a:off x="70165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83" name="Graphic 82" descr="Home with solid fill">
                <a:hlinkClick r:id="rId16" action="ppaction://hlinksldjump"/>
                <a:extLst>
                  <a:ext uri="{FF2B5EF4-FFF2-40B4-BE49-F238E27FC236}">
                    <a16:creationId xmlns:a16="http://schemas.microsoft.com/office/drawing/2014/main" id="{52614A8C-01BB-4243-8531-0024077257BE}"/>
                  </a:ext>
                </a:extLst>
              </p:cNvPr>
              <p:cNvPicPr>
                <a:picLocks noChangeAspect="1"/>
              </p:cNvPicPr>
              <p:nvPr/>
            </p:nvPicPr>
            <p:blipFill>
              <a:blip r:embed="rId17" cstate="print">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734263" y="63707"/>
                <a:ext cx="136149" cy="136149"/>
              </a:xfrm>
              <a:prstGeom prst="rect">
                <a:avLst/>
              </a:prstGeom>
            </p:spPr>
          </p:pic>
        </p:grpSp>
      </p:grpSp>
      <p:pic>
        <p:nvPicPr>
          <p:cNvPr id="3" name="Graphic 2" descr="Brain in head with solid fill">
            <a:extLst>
              <a:ext uri="{FF2B5EF4-FFF2-40B4-BE49-F238E27FC236}">
                <a16:creationId xmlns:a16="http://schemas.microsoft.com/office/drawing/2014/main" id="{21B7B6FE-720E-4F7E-8C5E-5A419AFBE983}"/>
              </a:ext>
            </a:extLst>
          </p:cNvPr>
          <p:cNvPicPr>
            <a:picLocks noChangeAspect="1"/>
          </p:cNvPicPr>
          <p:nvPr/>
        </p:nvPicPr>
        <p:blipFill>
          <a:blip r:embed="rId19" cstate="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694010" y="4229633"/>
            <a:ext cx="229573" cy="229573"/>
          </a:xfrm>
          <a:prstGeom prst="rect">
            <a:avLst/>
          </a:prstGeom>
        </p:spPr>
      </p:pic>
      <p:grpSp>
        <p:nvGrpSpPr>
          <p:cNvPr id="2" name="Group 1">
            <a:extLst>
              <a:ext uri="{FF2B5EF4-FFF2-40B4-BE49-F238E27FC236}">
                <a16:creationId xmlns:a16="http://schemas.microsoft.com/office/drawing/2014/main" id="{C91EDE74-4FF2-4B16-BB44-AB8941FFD707}"/>
              </a:ext>
            </a:extLst>
          </p:cNvPr>
          <p:cNvGrpSpPr/>
          <p:nvPr/>
        </p:nvGrpSpPr>
        <p:grpSpPr>
          <a:xfrm>
            <a:off x="9318171" y="1231811"/>
            <a:ext cx="2223360" cy="369332"/>
            <a:chOff x="9318171" y="1231811"/>
            <a:chExt cx="2223360" cy="369332"/>
          </a:xfrm>
        </p:grpSpPr>
        <p:sp>
          <p:nvSpPr>
            <p:cNvPr id="55" name="Rectangle 54">
              <a:extLst>
                <a:ext uri="{FF2B5EF4-FFF2-40B4-BE49-F238E27FC236}">
                  <a16:creationId xmlns:a16="http://schemas.microsoft.com/office/drawing/2014/main" id="{23255C84-6D6A-4397-8D42-154470C94EED}"/>
                </a:ext>
              </a:extLst>
            </p:cNvPr>
            <p:cNvSpPr/>
            <p:nvPr/>
          </p:nvSpPr>
          <p:spPr>
            <a:xfrm>
              <a:off x="9318171" y="1231811"/>
              <a:ext cx="2223359" cy="324000"/>
            </a:xfrm>
            <a:prstGeom prst="rect">
              <a:avLst/>
            </a:prstGeom>
            <a:solidFill>
              <a:schemeClr val="bg1">
                <a:lumMod val="95000"/>
              </a:schemeClr>
            </a:solidFill>
            <a:ln>
              <a:solidFill>
                <a:schemeClr val="bg1">
                  <a:lumMod val="50000"/>
                </a:schemeClr>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endParaRPr kumimoji="0" lang="nl-NL" sz="10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9" name="TextBox 58">
              <a:hlinkClick r:id="rId21" action="ppaction://hlinksldjump"/>
              <a:extLst>
                <a:ext uri="{FF2B5EF4-FFF2-40B4-BE49-F238E27FC236}">
                  <a16:creationId xmlns:a16="http://schemas.microsoft.com/office/drawing/2014/main" id="{7C1DC138-DDF3-46BF-97CB-E123AB849B0A}"/>
                </a:ext>
              </a:extLst>
            </p:cNvPr>
            <p:cNvSpPr txBox="1"/>
            <p:nvPr/>
          </p:nvSpPr>
          <p:spPr>
            <a:xfrm>
              <a:off x="9552231" y="1231811"/>
              <a:ext cx="1989300" cy="369332"/>
            </a:xfrm>
            <a:prstGeom prst="rect">
              <a:avLst/>
            </a:prstGeom>
            <a:noFill/>
          </p:spPr>
          <p:txBody>
            <a:bodyPr wrap="square">
              <a:spAutoFit/>
            </a:bodyPr>
            <a:lstStyle/>
            <a:p>
              <a:pPr marL="0" indent="0">
                <a:buClr>
                  <a:schemeClr val="tx2"/>
                </a:buClr>
                <a:buNone/>
              </a:pPr>
              <a:r>
                <a:rPr lang="en-NL" sz="1000" dirty="0" err="1"/>
                <a:t>Zie</a:t>
              </a:r>
              <a:r>
                <a:rPr lang="en-NL" sz="1000" dirty="0"/>
                <a:t> </a:t>
              </a:r>
              <a:r>
                <a:rPr lang="en-NL" sz="1000" dirty="0" err="1"/>
                <a:t>bijlage</a:t>
              </a:r>
              <a:r>
                <a:rPr lang="en-NL" sz="1000" dirty="0"/>
                <a:t> v</a:t>
              </a:r>
              <a:r>
                <a:rPr kumimoji="0" lang="nl-NL" sz="1000" i="0" u="none" strike="noStrike" kern="1200" cap="none" spc="0" normalizeH="0" baseline="0" noProof="0" dirty="0">
                  <a:ln>
                    <a:noFill/>
                  </a:ln>
                  <a:effectLst/>
                  <a:uLnTx/>
                  <a:uFillTx/>
                  <a:latin typeface="Corbel" panose="020B0503020204020204" pitchFamily="34" charset="0"/>
                  <a:ea typeface="+mn-ea"/>
                  <a:cs typeface="+mn-cs"/>
                </a:rPr>
                <a:t>oor </a:t>
              </a:r>
              <a:r>
                <a:rPr kumimoji="0" lang="en-NL" sz="1000" i="0" u="none" strike="noStrike" kern="1200" cap="none" spc="0" normalizeH="0" baseline="0" noProof="0" dirty="0" err="1">
                  <a:ln>
                    <a:noFill/>
                  </a:ln>
                  <a:effectLst/>
                  <a:uLnTx/>
                  <a:uFillTx/>
                  <a:latin typeface="Corbel" panose="020B0503020204020204" pitchFamily="34" charset="0"/>
                  <a:ea typeface="+mn-ea"/>
                  <a:cs typeface="+mn-cs"/>
                </a:rPr>
                <a:t>ideeën</a:t>
              </a:r>
              <a:r>
                <a:rPr lang="nl-NL" sz="1000" dirty="0"/>
                <a:t> om OV-gebruik te stimuleren</a:t>
              </a:r>
              <a:endParaRPr kumimoji="0" lang="nl-NL" sz="1000" i="0" u="none" strike="noStrike" kern="1200" cap="none" spc="0" normalizeH="0" baseline="0" noProof="0" dirty="0">
                <a:ln>
                  <a:noFill/>
                </a:ln>
                <a:effectLst/>
                <a:uLnTx/>
                <a:uFillTx/>
                <a:latin typeface="Corbel" panose="020B0503020204020204" pitchFamily="34" charset="0"/>
                <a:ea typeface="+mn-ea"/>
                <a:cs typeface="+mn-cs"/>
              </a:endParaRPr>
            </a:p>
          </p:txBody>
        </p:sp>
        <p:grpSp>
          <p:nvGrpSpPr>
            <p:cNvPr id="66" name="Group 65">
              <a:extLst>
                <a:ext uri="{FF2B5EF4-FFF2-40B4-BE49-F238E27FC236}">
                  <a16:creationId xmlns:a16="http://schemas.microsoft.com/office/drawing/2014/main" id="{F1A27ED4-A398-4DFD-96D2-6435F3BF8F3A}"/>
                </a:ext>
              </a:extLst>
            </p:cNvPr>
            <p:cNvGrpSpPr/>
            <p:nvPr/>
          </p:nvGrpSpPr>
          <p:grpSpPr>
            <a:xfrm rot="397024">
              <a:off x="9331534" y="1279534"/>
              <a:ext cx="238474" cy="245716"/>
              <a:chOff x="8511607" y="5943020"/>
              <a:chExt cx="320191" cy="329914"/>
            </a:xfrm>
          </p:grpSpPr>
          <p:sp>
            <p:nvSpPr>
              <p:cNvPr id="68" name="Oval 67">
                <a:extLst>
                  <a:ext uri="{FF2B5EF4-FFF2-40B4-BE49-F238E27FC236}">
                    <a16:creationId xmlns:a16="http://schemas.microsoft.com/office/drawing/2014/main" id="{3A04CDEB-67AA-4814-BF4E-8E747FE506B1}"/>
                  </a:ext>
                </a:extLst>
              </p:cNvPr>
              <p:cNvSpPr/>
              <p:nvPr/>
            </p:nvSpPr>
            <p:spPr>
              <a:xfrm>
                <a:off x="8599696" y="5943020"/>
                <a:ext cx="72000" cy="72000"/>
              </a:xfrm>
              <a:prstGeom prst="ellipse">
                <a:avLst/>
              </a:prstGeom>
              <a:solidFill>
                <a:schemeClr val="bg1"/>
              </a:solidFill>
              <a:ln w="6350">
                <a:solidFill>
                  <a:schemeClr val="tx1"/>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69" name="Graphic 68" descr="Right pointing backhand index with solid fill">
                <a:hlinkClick r:id="rId21" action="ppaction://hlinksldjump"/>
                <a:extLst>
                  <a:ext uri="{FF2B5EF4-FFF2-40B4-BE49-F238E27FC236}">
                    <a16:creationId xmlns:a16="http://schemas.microsoft.com/office/drawing/2014/main" id="{F67FD46C-404E-4EE9-A03A-1C1DED02B31E}"/>
                  </a:ext>
                </a:extLst>
              </p:cNvPr>
              <p:cNvPicPr>
                <a:picLocks noChangeAspect="1"/>
              </p:cNvPicPr>
              <p:nvPr/>
            </p:nvPicPr>
            <p:blipFill>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rot="16200000">
                <a:off x="8511607" y="5952743"/>
                <a:ext cx="320191" cy="320191"/>
              </a:xfrm>
              <a:prstGeom prst="rect">
                <a:avLst/>
              </a:prstGeom>
            </p:spPr>
          </p:pic>
        </p:grpSp>
      </p:grpSp>
    </p:spTree>
    <p:extLst>
      <p:ext uri="{BB962C8B-B14F-4D97-AF65-F5344CB8AC3E}">
        <p14:creationId xmlns:p14="http://schemas.microsoft.com/office/powerpoint/2010/main" val="7517305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A7E2A55-853B-47A9-A999-76B509545684}"/>
              </a:ext>
            </a:extLst>
          </p:cNvPr>
          <p:cNvGraphicFramePr>
            <a:graphicFrameLocks noChangeAspect="1"/>
          </p:cNvGraphicFramePr>
          <p:nvPr>
            <p:custDataLst>
              <p:tags r:id="rId2"/>
            </p:custDataLst>
            <p:extLst>
              <p:ext uri="{D42A27DB-BD31-4B8C-83A1-F6EECF244321}">
                <p14:modId xmlns:p14="http://schemas.microsoft.com/office/powerpoint/2010/main" val="2413649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4"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DA7E2A55-853B-47A9-A999-76B5095456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Content Placeholder 2">
            <a:extLst>
              <a:ext uri="{FF2B5EF4-FFF2-40B4-BE49-F238E27FC236}">
                <a16:creationId xmlns:a16="http://schemas.microsoft.com/office/drawing/2014/main" id="{B69DA695-1407-4A42-882D-156AD5F0028B}"/>
              </a:ext>
            </a:extLst>
          </p:cNvPr>
          <p:cNvSpPr txBox="1">
            <a:spLocks/>
          </p:cNvSpPr>
          <p:nvPr/>
        </p:nvSpPr>
        <p:spPr>
          <a:xfrm>
            <a:off x="662780" y="1600057"/>
            <a:ext cx="3229951" cy="262093"/>
          </a:xfrm>
          <a:prstGeom prst="rect">
            <a:avLst/>
          </a:prstGeom>
          <a:noFill/>
          <a:ln w="19050">
            <a:noFill/>
          </a:ln>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b="1" dirty="0">
                <a:solidFill>
                  <a:srgbClr val="22777B"/>
                </a:solidFill>
              </a:rPr>
              <a:t>In het kort: Flex-OV</a:t>
            </a:r>
          </a:p>
        </p:txBody>
      </p:sp>
      <p:sp>
        <p:nvSpPr>
          <p:cNvPr id="27" name="Content Placeholder 2">
            <a:extLst>
              <a:ext uri="{FF2B5EF4-FFF2-40B4-BE49-F238E27FC236}">
                <a16:creationId xmlns:a16="http://schemas.microsoft.com/office/drawing/2014/main" id="{B82A5A0A-81DE-4C1E-8B0C-5CA643C2F05C}"/>
              </a:ext>
            </a:extLst>
          </p:cNvPr>
          <p:cNvSpPr txBox="1">
            <a:spLocks/>
          </p:cNvSpPr>
          <p:nvPr/>
        </p:nvSpPr>
        <p:spPr>
          <a:xfrm>
            <a:off x="673110" y="1862151"/>
            <a:ext cx="3229951" cy="2583502"/>
          </a:xfrm>
          <a:prstGeom prst="rect">
            <a:avLst/>
          </a:prstGeom>
          <a:noFill/>
          <a:ln w="9525">
            <a:noFill/>
          </a:ln>
          <a:extLst>
            <a:ext uri="{909E8E84-426E-40DD-AFC4-6F175D3DCCD1}">
              <a14:hiddenFill xmlns:a14="http://schemas.microsoft.com/office/drawing/2010/main">
                <a:solidFill>
                  <a:schemeClr val="accent6">
                    <a:lumMod val="95000"/>
                  </a:scheme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sz="1000" dirty="0"/>
              <a:t>Flexibel collectief vervoer (‘Flex-OV’) is een vorm van collectief vervoer die vraaggestuurd is en een (semi-) flexibele route rijdt. Flex-Ov wordt vaak ingezet om een niet-rendable OV-lijn te vervangen en heeft dan ook het meeste kans om in meer landelijke gebieden samen met doelgroepenvervoer te integreren om zowel Wmo-geïndiceerden als reguliere reizigers te bedienen.</a:t>
            </a:r>
          </a:p>
          <a:p>
            <a:pPr marL="0" indent="0">
              <a:buNone/>
            </a:pPr>
            <a:r>
              <a:rPr lang="nl-NL" sz="1000" dirty="0"/>
              <a:t>Flex-vervoer kan doelgroepenvervoer aanvullen of vervangen in twee opzichten:</a:t>
            </a:r>
          </a:p>
          <a:p>
            <a:r>
              <a:rPr lang="nl-NL" sz="1000" b="1" dirty="0"/>
              <a:t>Fijnmazigheid: </a:t>
            </a:r>
            <a:r>
              <a:rPr lang="nl-NL" sz="1000" dirty="0"/>
              <a:t>wanneer Wmo-geïndiceerden eigenlijk zelfstandig willen reizen maar de afstand van deur-tot-halte te groot zijn, kan flex-OV deze afstanden verkleinen. </a:t>
            </a:r>
          </a:p>
          <a:p>
            <a:r>
              <a:rPr lang="nl-NL" sz="1000" b="1" dirty="0"/>
              <a:t>Efficiency &amp; innovatie: </a:t>
            </a:r>
            <a:r>
              <a:rPr lang="nl-NL" sz="1000" dirty="0"/>
              <a:t>Wmo-vervoer rijdt net als het flex-OV ook (semi-)flexibele routes en op aanvraag. Wmo-vervoer kan daarom leren / gebruikmaken van de innovaties in regiesoftware en apps binnen het flex-OV.</a:t>
            </a:r>
          </a:p>
          <a:p>
            <a:pPr marL="0" indent="0">
              <a:buNone/>
            </a:pPr>
            <a:endParaRPr lang="nl-NL" sz="1000" dirty="0"/>
          </a:p>
          <a:p>
            <a:pPr marL="0" indent="0">
              <a:buNone/>
            </a:pPr>
            <a:endParaRPr lang="nl-NL" sz="1000" dirty="0"/>
          </a:p>
        </p:txBody>
      </p:sp>
      <p:sp>
        <p:nvSpPr>
          <p:cNvPr id="33" name="Title 7">
            <a:extLst>
              <a:ext uri="{FF2B5EF4-FFF2-40B4-BE49-F238E27FC236}">
                <a16:creationId xmlns:a16="http://schemas.microsoft.com/office/drawing/2014/main" id="{69159098-4D9C-4771-AEB0-74288BB3E8E3}"/>
              </a:ext>
            </a:extLst>
          </p:cNvPr>
          <p:cNvSpPr>
            <a:spLocks noGrp="1"/>
          </p:cNvSpPr>
          <p:nvPr>
            <p:ph type="title"/>
          </p:nvPr>
        </p:nvSpPr>
        <p:spPr>
          <a:xfrm>
            <a:off x="-1" y="265387"/>
            <a:ext cx="12192001" cy="942979"/>
          </a:xfrm>
          <a:solidFill>
            <a:srgbClr val="22777B"/>
          </a:solidFill>
        </p:spPr>
        <p:txBody>
          <a:bodyPr vert="horz" anchor="ctr"/>
          <a:lstStyle/>
          <a:p>
            <a:r>
              <a:rPr lang="nl-NL" dirty="0">
                <a:solidFill>
                  <a:srgbClr val="000000"/>
                </a:solidFill>
              </a:rPr>
              <a:t>	</a:t>
            </a:r>
          </a:p>
        </p:txBody>
      </p:sp>
      <p:sp>
        <p:nvSpPr>
          <p:cNvPr id="5" name="Footer Placeholder 4">
            <a:extLst>
              <a:ext uri="{FF2B5EF4-FFF2-40B4-BE49-F238E27FC236}">
                <a16:creationId xmlns:a16="http://schemas.microsoft.com/office/drawing/2014/main" id="{6450BDB4-A43E-402D-996C-55C79B926CE4}"/>
              </a:ext>
            </a:extLst>
          </p:cNvPr>
          <p:cNvSpPr>
            <a:spLocks noGrp="1"/>
          </p:cNvSpPr>
          <p:nvPr>
            <p:ph type="ftr" sz="quarter" idx="3"/>
          </p:nvPr>
        </p:nvSpPr>
        <p:spPr/>
        <p:txBody>
          <a:bodyPr/>
          <a:lstStyle/>
          <a:p>
            <a:r>
              <a:rPr lang="nl-NL" dirty="0"/>
              <a:t>Bron: KpVV CROW, ‘Integratie doelgroepenvervoer en OV: Praktijkvoorbeelden’ (juni 2020); VRA, ‘Concept beleidslijn flexibel collectief vervoer in de Vervoerregio Amsterdam’ (27 okt. 2020)</a:t>
            </a:r>
          </a:p>
        </p:txBody>
      </p:sp>
      <p:sp>
        <p:nvSpPr>
          <p:cNvPr id="6" name="Slide Number Placeholder 5">
            <a:extLst>
              <a:ext uri="{FF2B5EF4-FFF2-40B4-BE49-F238E27FC236}">
                <a16:creationId xmlns:a16="http://schemas.microsoft.com/office/drawing/2014/main" id="{EA5B4AF5-72CF-4819-8135-F522810EB50A}"/>
              </a:ext>
            </a:extLst>
          </p:cNvPr>
          <p:cNvSpPr>
            <a:spLocks noGrp="1"/>
          </p:cNvSpPr>
          <p:nvPr>
            <p:ph type="sldNum" sz="quarter" idx="12"/>
          </p:nvPr>
        </p:nvSpPr>
        <p:spPr/>
        <p:txBody>
          <a:bodyPr/>
          <a:lstStyle/>
          <a:p>
            <a:fld id="{992CD0B2-8AB2-4C6C-8876-E15753662C9B}" type="slidenum">
              <a:rPr lang="nl-NL" smtClean="0"/>
              <a:pPr/>
              <a:t>17</a:t>
            </a:fld>
            <a:endParaRPr lang="nl-NL" dirty="0"/>
          </a:p>
        </p:txBody>
      </p:sp>
      <p:sp>
        <p:nvSpPr>
          <p:cNvPr id="47" name="TextBox 46">
            <a:extLst>
              <a:ext uri="{FF2B5EF4-FFF2-40B4-BE49-F238E27FC236}">
                <a16:creationId xmlns:a16="http://schemas.microsoft.com/office/drawing/2014/main" id="{4716077D-F49C-442C-BDB1-5D321EBE6829}"/>
              </a:ext>
            </a:extLst>
          </p:cNvPr>
          <p:cNvSpPr txBox="1"/>
          <p:nvPr/>
        </p:nvSpPr>
        <p:spPr>
          <a:xfrm>
            <a:off x="658813" y="274425"/>
            <a:ext cx="6724448" cy="230832"/>
          </a:xfrm>
          <a:prstGeom prst="rect">
            <a:avLst/>
          </a:prstGeom>
          <a:noFill/>
        </p:spPr>
        <p:txBody>
          <a:bodyPr wrap="square">
            <a:spAutoFit/>
          </a:bodyPr>
          <a:lstStyle/>
          <a:p>
            <a:pPr marL="0" indent="0">
              <a:buNone/>
            </a:pPr>
            <a:r>
              <a:rPr lang="nl-NL" sz="1000" b="1" dirty="0">
                <a:solidFill>
                  <a:srgbClr val="FFFFFF"/>
                </a:solidFill>
              </a:rPr>
              <a:t>Ontwikkelen alternatief aanbod (fijnmazig) vervoer</a:t>
            </a:r>
          </a:p>
        </p:txBody>
      </p:sp>
      <p:grpSp>
        <p:nvGrpSpPr>
          <p:cNvPr id="36" name="Group 35">
            <a:extLst>
              <a:ext uri="{FF2B5EF4-FFF2-40B4-BE49-F238E27FC236}">
                <a16:creationId xmlns:a16="http://schemas.microsoft.com/office/drawing/2014/main" id="{ECCBA316-53DD-49F4-BB87-329013DCC2CD}"/>
              </a:ext>
            </a:extLst>
          </p:cNvPr>
          <p:cNvGrpSpPr/>
          <p:nvPr/>
        </p:nvGrpSpPr>
        <p:grpSpPr>
          <a:xfrm>
            <a:off x="701659" y="55733"/>
            <a:ext cx="2040807" cy="176387"/>
            <a:chOff x="701659" y="55733"/>
            <a:chExt cx="2040807" cy="176387"/>
          </a:xfrm>
        </p:grpSpPr>
        <p:sp>
          <p:nvSpPr>
            <p:cNvPr id="37" name="Rectangle: Rounded Corners 36">
              <a:extLst>
                <a:ext uri="{FF2B5EF4-FFF2-40B4-BE49-F238E27FC236}">
                  <a16:creationId xmlns:a16="http://schemas.microsoft.com/office/drawing/2014/main" id="{3F5DF9BA-B36F-4007-9D1D-DD2653B55A40}"/>
                </a:ext>
              </a:extLst>
            </p:cNvPr>
            <p:cNvSpPr/>
            <p:nvPr/>
          </p:nvSpPr>
          <p:spPr>
            <a:xfrm>
              <a:off x="93125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a:t>
              </a:r>
            </a:p>
          </p:txBody>
        </p:sp>
        <p:sp>
          <p:nvSpPr>
            <p:cNvPr id="38" name="Rectangle: Rounded Corners 37">
              <a:extLst>
                <a:ext uri="{FF2B5EF4-FFF2-40B4-BE49-F238E27FC236}">
                  <a16:creationId xmlns:a16="http://schemas.microsoft.com/office/drawing/2014/main" id="{44C3F4E1-7EC7-47C6-8E61-17F76F3C3E82}"/>
                </a:ext>
              </a:extLst>
            </p:cNvPr>
            <p:cNvSpPr/>
            <p:nvPr/>
          </p:nvSpPr>
          <p:spPr>
            <a:xfrm>
              <a:off x="116084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2</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39" name="Rectangle: Rounded Corners 38">
              <a:extLst>
                <a:ext uri="{FF2B5EF4-FFF2-40B4-BE49-F238E27FC236}">
                  <a16:creationId xmlns:a16="http://schemas.microsoft.com/office/drawing/2014/main" id="{C334A7F5-0425-408B-A2C0-A6F609C3090C}"/>
                </a:ext>
              </a:extLst>
            </p:cNvPr>
            <p:cNvSpPr/>
            <p:nvPr/>
          </p:nvSpPr>
          <p:spPr>
            <a:xfrm>
              <a:off x="1390441" y="55733"/>
              <a:ext cx="204053" cy="176387"/>
            </a:xfrm>
            <a:prstGeom prst="roundRect">
              <a:avLst/>
            </a:prstGeom>
            <a:solidFill>
              <a:srgbClr val="EC6224"/>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3</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40" name="Rectangle: Rounded Corners 39">
              <a:extLst>
                <a:ext uri="{FF2B5EF4-FFF2-40B4-BE49-F238E27FC236}">
                  <a16:creationId xmlns:a16="http://schemas.microsoft.com/office/drawing/2014/main" id="{40A59318-BECA-4943-AEFD-C24EC6FC343E}"/>
                </a:ext>
              </a:extLst>
            </p:cNvPr>
            <p:cNvSpPr/>
            <p:nvPr/>
          </p:nvSpPr>
          <p:spPr>
            <a:xfrm>
              <a:off x="1620035"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4</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41" name="Rectangle: Rounded Corners 40">
              <a:extLst>
                <a:ext uri="{FF2B5EF4-FFF2-40B4-BE49-F238E27FC236}">
                  <a16:creationId xmlns:a16="http://schemas.microsoft.com/office/drawing/2014/main" id="{9CDF6D23-DBC4-47D0-A707-152F1006F7E0}"/>
                </a:ext>
              </a:extLst>
            </p:cNvPr>
            <p:cNvSpPr/>
            <p:nvPr/>
          </p:nvSpPr>
          <p:spPr>
            <a:xfrm>
              <a:off x="184962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5</a:t>
              </a:r>
            </a:p>
          </p:txBody>
        </p:sp>
        <p:sp>
          <p:nvSpPr>
            <p:cNvPr id="42" name="Rectangle: Rounded Corners 41">
              <a:extLst>
                <a:ext uri="{FF2B5EF4-FFF2-40B4-BE49-F238E27FC236}">
                  <a16:creationId xmlns:a16="http://schemas.microsoft.com/office/drawing/2014/main" id="{01260054-0015-4939-90EF-636561C89C6E}"/>
                </a:ext>
              </a:extLst>
            </p:cNvPr>
            <p:cNvSpPr/>
            <p:nvPr/>
          </p:nvSpPr>
          <p:spPr>
            <a:xfrm>
              <a:off x="207922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6</a:t>
              </a:r>
            </a:p>
          </p:txBody>
        </p:sp>
        <p:sp>
          <p:nvSpPr>
            <p:cNvPr id="43" name="Rectangle: Rounded Corners 42">
              <a:extLst>
                <a:ext uri="{FF2B5EF4-FFF2-40B4-BE49-F238E27FC236}">
                  <a16:creationId xmlns:a16="http://schemas.microsoft.com/office/drawing/2014/main" id="{A0251493-571E-44A7-8751-2E366B1CA5C3}"/>
                </a:ext>
              </a:extLst>
            </p:cNvPr>
            <p:cNvSpPr/>
            <p:nvPr/>
          </p:nvSpPr>
          <p:spPr>
            <a:xfrm>
              <a:off x="230881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7</a:t>
              </a:r>
            </a:p>
          </p:txBody>
        </p:sp>
        <p:sp>
          <p:nvSpPr>
            <p:cNvPr id="44" name="Rectangle: Rounded Corners 43">
              <a:extLst>
                <a:ext uri="{FF2B5EF4-FFF2-40B4-BE49-F238E27FC236}">
                  <a16:creationId xmlns:a16="http://schemas.microsoft.com/office/drawing/2014/main" id="{B9471B93-2AC0-4180-81F1-3CFB96A01880}"/>
                </a:ext>
              </a:extLst>
            </p:cNvPr>
            <p:cNvSpPr/>
            <p:nvPr/>
          </p:nvSpPr>
          <p:spPr>
            <a:xfrm>
              <a:off x="253841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8</a:t>
              </a:r>
            </a:p>
          </p:txBody>
        </p:sp>
        <p:grpSp>
          <p:nvGrpSpPr>
            <p:cNvPr id="45" name="Group 44">
              <a:extLst>
                <a:ext uri="{FF2B5EF4-FFF2-40B4-BE49-F238E27FC236}">
                  <a16:creationId xmlns:a16="http://schemas.microsoft.com/office/drawing/2014/main" id="{EFD1E918-A73B-4D34-A2C5-836E9E45E539}"/>
                </a:ext>
              </a:extLst>
            </p:cNvPr>
            <p:cNvGrpSpPr/>
            <p:nvPr/>
          </p:nvGrpSpPr>
          <p:grpSpPr>
            <a:xfrm>
              <a:off x="701659" y="55733"/>
              <a:ext cx="204053" cy="176387"/>
              <a:chOff x="701659" y="55733"/>
              <a:chExt cx="204053" cy="176387"/>
            </a:xfrm>
          </p:grpSpPr>
          <p:sp>
            <p:nvSpPr>
              <p:cNvPr id="46" name="Rectangle: Rounded Corners 45">
                <a:extLst>
                  <a:ext uri="{FF2B5EF4-FFF2-40B4-BE49-F238E27FC236}">
                    <a16:creationId xmlns:a16="http://schemas.microsoft.com/office/drawing/2014/main" id="{5CC99699-DC57-4154-87DE-94BE3A70EAEC}"/>
                  </a:ext>
                </a:extLst>
              </p:cNvPr>
              <p:cNvSpPr/>
              <p:nvPr/>
            </p:nvSpPr>
            <p:spPr>
              <a:xfrm>
                <a:off x="70165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48" name="Graphic 47" descr="Home with solid fill">
                <a:hlinkClick r:id="rId7" action="ppaction://hlinksldjump"/>
                <a:extLst>
                  <a:ext uri="{FF2B5EF4-FFF2-40B4-BE49-F238E27FC236}">
                    <a16:creationId xmlns:a16="http://schemas.microsoft.com/office/drawing/2014/main" id="{7B504EA9-D4D6-4A52-9520-D9CA09B453B7}"/>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34263" y="63707"/>
                <a:ext cx="136149" cy="136149"/>
              </a:xfrm>
              <a:prstGeom prst="rect">
                <a:avLst/>
              </a:prstGeom>
            </p:spPr>
          </p:pic>
        </p:grpSp>
      </p:grpSp>
      <p:sp>
        <p:nvSpPr>
          <p:cNvPr id="34" name="TextBox 33">
            <a:extLst>
              <a:ext uri="{FF2B5EF4-FFF2-40B4-BE49-F238E27FC236}">
                <a16:creationId xmlns:a16="http://schemas.microsoft.com/office/drawing/2014/main" id="{5F63CB87-2B2E-4D01-BFC4-55F6AC89A639}"/>
              </a:ext>
            </a:extLst>
          </p:cNvPr>
          <p:cNvSpPr txBox="1"/>
          <p:nvPr/>
        </p:nvSpPr>
        <p:spPr>
          <a:xfrm>
            <a:off x="658813" y="451367"/>
            <a:ext cx="10921582" cy="757130"/>
          </a:xfrm>
          <a:prstGeom prst="rect">
            <a:avLst/>
          </a:prstGeom>
          <a:noFill/>
        </p:spPr>
        <p:txBody>
          <a:bodyPr wrap="square" anchor="ctr">
            <a:spAutoFit/>
          </a:bodyPr>
          <a:lstStyle/>
          <a:p>
            <a:pPr marL="0" indent="0">
              <a:buNone/>
            </a:pPr>
            <a:r>
              <a:rPr lang="nl-NL" sz="2400" b="1" dirty="0">
                <a:solidFill>
                  <a:srgbClr val="FFFFFF"/>
                </a:solidFill>
              </a:rPr>
              <a:t>Doelgroepenvervoer kan deels aangevuld of geïntegreerd worden met flex-diensten</a:t>
            </a:r>
          </a:p>
        </p:txBody>
      </p:sp>
      <p:graphicFrame>
        <p:nvGraphicFramePr>
          <p:cNvPr id="26" name="Table 10">
            <a:extLst>
              <a:ext uri="{FF2B5EF4-FFF2-40B4-BE49-F238E27FC236}">
                <a16:creationId xmlns:a16="http://schemas.microsoft.com/office/drawing/2014/main" id="{F4C3D7AA-2A7F-4665-BC1D-3F0A3D092EC6}"/>
              </a:ext>
            </a:extLst>
          </p:cNvPr>
          <p:cNvGraphicFramePr>
            <a:graphicFrameLocks/>
          </p:cNvGraphicFramePr>
          <p:nvPr>
            <p:extLst>
              <p:ext uri="{D42A27DB-BD31-4B8C-83A1-F6EECF244321}">
                <p14:modId xmlns:p14="http://schemas.microsoft.com/office/powerpoint/2010/main" val="4096144322"/>
              </p:ext>
            </p:extLst>
          </p:nvPr>
        </p:nvGraphicFramePr>
        <p:xfrm>
          <a:off x="4040777" y="1600790"/>
          <a:ext cx="7495430" cy="4605256"/>
        </p:xfrm>
        <a:graphic>
          <a:graphicData uri="http://schemas.openxmlformats.org/drawingml/2006/table">
            <a:tbl>
              <a:tblPr firstRow="1" bandRow="1">
                <a:tableStyleId>{5C22544A-7EE6-4342-B048-85BDC9FD1C3A}</a:tableStyleId>
              </a:tblPr>
              <a:tblGrid>
                <a:gridCol w="1293097">
                  <a:extLst>
                    <a:ext uri="{9D8B030D-6E8A-4147-A177-3AD203B41FA5}">
                      <a16:colId xmlns:a16="http://schemas.microsoft.com/office/drawing/2014/main" val="2934817752"/>
                    </a:ext>
                  </a:extLst>
                </a:gridCol>
                <a:gridCol w="927589">
                  <a:extLst>
                    <a:ext uri="{9D8B030D-6E8A-4147-A177-3AD203B41FA5}">
                      <a16:colId xmlns:a16="http://schemas.microsoft.com/office/drawing/2014/main" val="3379534952"/>
                    </a:ext>
                  </a:extLst>
                </a:gridCol>
                <a:gridCol w="769601">
                  <a:extLst>
                    <a:ext uri="{9D8B030D-6E8A-4147-A177-3AD203B41FA5}">
                      <a16:colId xmlns:a16="http://schemas.microsoft.com/office/drawing/2014/main" val="998245256"/>
                    </a:ext>
                  </a:extLst>
                </a:gridCol>
                <a:gridCol w="1246538">
                  <a:extLst>
                    <a:ext uri="{9D8B030D-6E8A-4147-A177-3AD203B41FA5}">
                      <a16:colId xmlns:a16="http://schemas.microsoft.com/office/drawing/2014/main" val="1560351938"/>
                    </a:ext>
                  </a:extLst>
                </a:gridCol>
                <a:gridCol w="1060448">
                  <a:extLst>
                    <a:ext uri="{9D8B030D-6E8A-4147-A177-3AD203B41FA5}">
                      <a16:colId xmlns:a16="http://schemas.microsoft.com/office/drawing/2014/main" val="1603492431"/>
                    </a:ext>
                  </a:extLst>
                </a:gridCol>
                <a:gridCol w="2198157">
                  <a:extLst>
                    <a:ext uri="{9D8B030D-6E8A-4147-A177-3AD203B41FA5}">
                      <a16:colId xmlns:a16="http://schemas.microsoft.com/office/drawing/2014/main" val="3988936863"/>
                    </a:ext>
                  </a:extLst>
                </a:gridCol>
              </a:tblGrid>
              <a:tr h="288000">
                <a:tc>
                  <a:txBody>
                    <a:bodyPr/>
                    <a:lstStyle/>
                    <a:p>
                      <a:pPr algn="ctr" rtl="0"/>
                      <a:r>
                        <a:rPr lang="nl-NL" sz="1000" dirty="0"/>
                        <a:t>Typ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algn="ctr" rtl="0"/>
                      <a:r>
                        <a:rPr lang="nl-NL" sz="1000" dirty="0"/>
                        <a:t>Doelgroep</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algn="ctr" rtl="0"/>
                      <a:r>
                        <a:rPr lang="nl-NL" sz="1000" dirty="0"/>
                        <a:t>Bezetting</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algn="ctr" rtl="0"/>
                      <a:r>
                        <a:rPr lang="nl-NL" sz="1000" dirty="0"/>
                        <a:t>Route &amp; tijden </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algn="ctr" rtl="0"/>
                      <a:r>
                        <a:rPr lang="nl-NL" sz="1000" dirty="0"/>
                        <a:t>Doeleinde</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algn="ctr" rtl="0"/>
                      <a:r>
                        <a:rPr lang="nl-NL" sz="1000" dirty="0"/>
                        <a:t>Voorbeeld</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537531575"/>
                  </a:ext>
                </a:extLst>
              </a:tr>
              <a:tr h="1079314">
                <a:tc>
                  <a:txBody>
                    <a:bodyPr/>
                    <a:lstStyle/>
                    <a:p>
                      <a:pPr algn="l" rtl="0"/>
                      <a:r>
                        <a:rPr lang="nl-NL" sz="1000" b="1" dirty="0"/>
                        <a:t>Lijngebonden OV i.c.m. Wmo-vervoer</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dirty="0"/>
                        <a:t>Alle reizigers</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dirty="0"/>
                        <a:t>Gedeeld</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lgn="l" rtl="0">
                        <a:buClr>
                          <a:schemeClr val="tx2"/>
                        </a:buClr>
                        <a:buFont typeface="Wingdings" panose="05000000000000000000" pitchFamily="2" charset="2"/>
                        <a:buChar char="§"/>
                      </a:pPr>
                      <a:r>
                        <a:rPr lang="nl-NL" sz="1000" dirty="0"/>
                        <a:t>Halte-tot-halte, maar met uitwijking voor reizigers met beperking </a:t>
                      </a:r>
                    </a:p>
                    <a:p>
                      <a:pPr marL="171450" indent="-171450" algn="l" rtl="0">
                        <a:buClr>
                          <a:schemeClr val="tx2"/>
                        </a:buClr>
                        <a:buFont typeface="Wingdings" panose="05000000000000000000" pitchFamily="2" charset="2"/>
                        <a:buChar char="§"/>
                      </a:pPr>
                      <a:r>
                        <a:rPr lang="nl-NL" sz="1000" dirty="0"/>
                        <a:t>Dienstregeling</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Wingdings" panose="05000000000000000000" pitchFamily="2" charset="2"/>
                        <a:buNone/>
                        <a:tabLst/>
                        <a:defRPr/>
                      </a:pPr>
                      <a:r>
                        <a:rPr lang="nl-NL" sz="1000" dirty="0"/>
                        <a:t>Fungeert vaak als een flexibeler alternatief voor reguliere buslijnen die zijn vervallen</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Wingdings" panose="05000000000000000000" pitchFamily="2" charset="2"/>
                        <a:buNone/>
                        <a:tabLst/>
                        <a:defRPr/>
                      </a:pPr>
                      <a:r>
                        <a:rPr lang="nl-NL" sz="1000" b="1" dirty="0"/>
                        <a:t>Mokumflex</a:t>
                      </a:r>
                      <a:r>
                        <a:rPr lang="nl-NL" sz="1000" dirty="0"/>
                        <a:t> combineert regulier OV en Wmo-vervoer in landelijke regio van </a:t>
                      </a:r>
                      <a:r>
                        <a:rPr lang="nl-NL" sz="1000" b="1" dirty="0"/>
                        <a:t>Amsterdam</a:t>
                      </a:r>
                      <a:r>
                        <a:rPr lang="nl-NL" sz="1000" dirty="0"/>
                        <a:t>. Dienst voldoet aan de reisbehoefte van reguliere reizigers waarvoor niet genoeg buslijnen zijn én biedt Wmo-vervoer.</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33238672"/>
                  </a:ext>
                </a:extLst>
              </a:tr>
              <a:tr h="1079314">
                <a:tc>
                  <a:txBody>
                    <a:bodyPr/>
                    <a:lstStyle/>
                    <a:p>
                      <a:pPr rtl="0"/>
                      <a:r>
                        <a:rPr lang="nl-NL" sz="1000" b="1" dirty="0"/>
                        <a:t>Last mile OV met doelgroepenvervoer</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dirty="0"/>
                        <a:t>Wmo-geïndiceerden</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dirty="0"/>
                        <a:t>Individueel</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lgn="l" defTabSz="685800" rtl="0" eaLnBrk="1" latinLnBrk="0" hangingPunct="1">
                        <a:buClr>
                          <a:schemeClr val="tx2"/>
                        </a:buClr>
                        <a:buFont typeface="Wingdings" panose="05000000000000000000" pitchFamily="2" charset="2"/>
                        <a:buChar char="§"/>
                      </a:pPr>
                      <a:r>
                        <a:rPr lang="nl-NL" sz="1000" kern="1200" dirty="0">
                          <a:solidFill>
                            <a:schemeClr val="dk1"/>
                          </a:solidFill>
                          <a:latin typeface="+mn-lt"/>
                          <a:ea typeface="+mn-ea"/>
                          <a:cs typeface="+mn-cs"/>
                        </a:rPr>
                        <a:t>Deur-tot-halte/ deur-tot-deur</a:t>
                      </a:r>
                    </a:p>
                    <a:p>
                      <a:pPr marL="171450" indent="-171450" algn="l" defTabSz="685800" rtl="0" eaLnBrk="1" latinLnBrk="0" hangingPunct="1">
                        <a:buClr>
                          <a:schemeClr val="tx2"/>
                        </a:buClr>
                        <a:buFont typeface="Wingdings" panose="05000000000000000000" pitchFamily="2" charset="2"/>
                        <a:buChar char="§"/>
                      </a:pPr>
                      <a:r>
                        <a:rPr lang="nl-NL" sz="1000" kern="1200" dirty="0">
                          <a:solidFill>
                            <a:schemeClr val="dk1"/>
                          </a:solidFill>
                          <a:latin typeface="+mn-lt"/>
                          <a:ea typeface="+mn-ea"/>
                          <a:cs typeface="+mn-cs"/>
                        </a:rPr>
                        <a:t>Vraaggestuurd</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Wingdings" panose="05000000000000000000" pitchFamily="2" charset="2"/>
                        <a:buNone/>
                        <a:tabLst/>
                        <a:defRPr/>
                      </a:pPr>
                      <a:r>
                        <a:rPr lang="nl-NL" sz="1000" dirty="0"/>
                        <a:t>Vangt ‘first &amp; last mile’ op van en naar OV-haltes</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Wingdings" panose="05000000000000000000" pitchFamily="2" charset="2"/>
                        <a:buNone/>
                        <a:tabLst/>
                        <a:defRPr/>
                      </a:pPr>
                      <a:r>
                        <a:rPr lang="nl-NL" sz="1000" b="1" dirty="0"/>
                        <a:t>De Wijkhopper in regio Drechtsteden </a:t>
                      </a:r>
                      <a:r>
                        <a:rPr lang="nl-NL" sz="1000" b="0" dirty="0"/>
                        <a:t>maakt ritten van max. 7 km met elektrische voertuigen om reizigers snel en goedkoop van/naar OV-halte te brengen.</a:t>
                      </a:r>
                      <a:endParaRPr lang="nl-NL" sz="1000" b="1" dirty="0"/>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63514226"/>
                  </a:ext>
                </a:extLst>
              </a:tr>
              <a:tr h="1079314">
                <a:tc>
                  <a:txBody>
                    <a:bodyPr/>
                    <a:lstStyle/>
                    <a:p>
                      <a:pPr rtl="0"/>
                      <a:r>
                        <a:rPr lang="nl-NL" sz="1000" b="1" dirty="0"/>
                        <a:t>Deur-tot-deur vervoer voor iedereen</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dirty="0"/>
                        <a:t>Alle reizigers</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dirty="0"/>
                        <a:t>Individueel</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lgn="l" defTabSz="685800" rtl="0" eaLnBrk="1" latinLnBrk="0" hangingPunct="1">
                        <a:buClr>
                          <a:schemeClr val="tx2"/>
                        </a:buClr>
                        <a:buFont typeface="Wingdings" panose="05000000000000000000" pitchFamily="2" charset="2"/>
                        <a:buChar char="§"/>
                      </a:pPr>
                      <a:r>
                        <a:rPr lang="nl-NL" sz="1000" kern="1200" dirty="0">
                          <a:solidFill>
                            <a:schemeClr val="dk1"/>
                          </a:solidFill>
                          <a:latin typeface="+mn-lt"/>
                          <a:ea typeface="+mn-ea"/>
                          <a:cs typeface="+mn-cs"/>
                        </a:rPr>
                        <a:t>Deur-tot-halte / deur-tot-deur</a:t>
                      </a:r>
                    </a:p>
                    <a:p>
                      <a:pPr marL="171450" indent="-171450" algn="l" defTabSz="685800" rtl="0" eaLnBrk="1" latinLnBrk="0" hangingPunct="1">
                        <a:buClr>
                          <a:schemeClr val="tx2"/>
                        </a:buClr>
                        <a:buFont typeface="Wingdings" panose="05000000000000000000" pitchFamily="2" charset="2"/>
                        <a:buChar char="§"/>
                      </a:pPr>
                      <a:r>
                        <a:rPr lang="nl-NL" sz="1000" kern="1200" dirty="0">
                          <a:solidFill>
                            <a:schemeClr val="dk1"/>
                          </a:solidFill>
                          <a:latin typeface="+mn-lt"/>
                          <a:ea typeface="+mn-ea"/>
                          <a:cs typeface="+mn-cs"/>
                        </a:rPr>
                        <a:t>Vraaggestuurd</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Wingdings" panose="05000000000000000000" pitchFamily="2" charset="2"/>
                        <a:buNone/>
                        <a:tabLst/>
                        <a:defRPr/>
                      </a:pPr>
                      <a:r>
                        <a:rPr lang="nl-NL" sz="1000" dirty="0"/>
                        <a:t>Maakt gebieden die niet goed door regulier OV bediend worden fijnmaziger</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Wingdings" panose="05000000000000000000" pitchFamily="2" charset="2"/>
                        <a:buNone/>
                        <a:tabLst/>
                        <a:defRPr/>
                      </a:pPr>
                      <a:r>
                        <a:rPr lang="nl-NL" sz="1000" b="1" dirty="0"/>
                        <a:t>Aanvullend OV Borne </a:t>
                      </a:r>
                      <a:r>
                        <a:rPr lang="nl-NL" sz="1000" b="0" dirty="0"/>
                        <a:t>biedt voor alle inwoners deze taxidienst; mensen met een indicatie betalen OV-tarief, zonder indicatie betalen een opstaptarief van €5,88 en km-tarief van €1,89</a:t>
                      </a:r>
                      <a:endParaRPr lang="nl-NL" sz="1000" b="1" dirty="0"/>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48514373"/>
                  </a:ext>
                </a:extLst>
              </a:tr>
              <a:tr h="1079314">
                <a:tc>
                  <a:txBody>
                    <a:bodyPr/>
                    <a:lstStyle/>
                    <a:p>
                      <a:pPr rtl="0"/>
                      <a:r>
                        <a:rPr lang="nl-NL" sz="1000" b="1" dirty="0"/>
                        <a:t>Flexibel OV met Wmo-vervoer</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dirty="0"/>
                        <a:t>Wmo-geïndiceerden</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dirty="0"/>
                        <a:t>Individueel</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rtl="0">
                        <a:buClr>
                          <a:srgbClr val="22777B"/>
                        </a:buClr>
                        <a:buFont typeface="Wingdings" panose="05000000000000000000" pitchFamily="2" charset="2"/>
                        <a:buChar char="§"/>
                      </a:pPr>
                      <a:r>
                        <a:rPr lang="nl-NL" sz="1000" dirty="0"/>
                        <a:t>Deur-tot-deur in verzorgings-gebied, deur-tot-halte buiten het gebied</a:t>
                      </a:r>
                    </a:p>
                    <a:p>
                      <a:pPr marL="171450" indent="-171450" rtl="0">
                        <a:buClr>
                          <a:srgbClr val="22777B"/>
                        </a:buClr>
                        <a:buFont typeface="Wingdings" panose="05000000000000000000" pitchFamily="2" charset="2"/>
                        <a:buChar char="§"/>
                      </a:pPr>
                      <a:r>
                        <a:rPr lang="nl-NL" sz="1000" dirty="0"/>
                        <a:t>Vraaggestuurd</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Wingdings" panose="05000000000000000000" pitchFamily="2" charset="2"/>
                        <a:buNone/>
                        <a:tabLst/>
                        <a:defRPr/>
                      </a:pPr>
                      <a:r>
                        <a:rPr lang="nl-NL" sz="1000" dirty="0"/>
                        <a:t>Stimuleert Wmo-geïndiceerden probeert stimuleren om met OV te reizen</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Wingdings" panose="05000000000000000000" pitchFamily="2" charset="2"/>
                        <a:buNone/>
                        <a:tabLst/>
                        <a:defRPr/>
                      </a:pPr>
                      <a:r>
                        <a:rPr lang="nl-NL" sz="1000" b="0" dirty="0"/>
                        <a:t>Bij </a:t>
                      </a:r>
                      <a:r>
                        <a:rPr lang="nl-NL" sz="1000" b="1" dirty="0"/>
                        <a:t>VP Flex Vervoer in regio Voorne Putten </a:t>
                      </a:r>
                      <a:r>
                        <a:rPr lang="nl-NL" sz="1000" b="0" dirty="0"/>
                        <a:t>kunnen Wmo-geïndiceerden  1.800 km/jr. afleggen. VP Flex garandeert tijdige aansluiting met OV.</a:t>
                      </a:r>
                      <a:endParaRPr lang="nl-NL" sz="1000" b="1" dirty="0"/>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53929235"/>
                  </a:ext>
                </a:extLst>
              </a:tr>
            </a:tbl>
          </a:graphicData>
        </a:graphic>
      </p:graphicFrame>
      <p:sp>
        <p:nvSpPr>
          <p:cNvPr id="29" name="Content Placeholder 2">
            <a:extLst>
              <a:ext uri="{FF2B5EF4-FFF2-40B4-BE49-F238E27FC236}">
                <a16:creationId xmlns:a16="http://schemas.microsoft.com/office/drawing/2014/main" id="{5905C509-64E7-4A28-B6E4-CB47FBC60FF4}"/>
              </a:ext>
            </a:extLst>
          </p:cNvPr>
          <p:cNvSpPr txBox="1">
            <a:spLocks/>
          </p:cNvSpPr>
          <p:nvPr/>
        </p:nvSpPr>
        <p:spPr>
          <a:xfrm>
            <a:off x="664829" y="1870859"/>
            <a:ext cx="36000" cy="2520000"/>
          </a:xfrm>
          <a:prstGeom prst="rect">
            <a:avLst/>
          </a:prstGeom>
          <a:solidFill>
            <a:srgbClr val="22777B"/>
          </a:solidFill>
          <a:ln w="9525">
            <a:noFill/>
          </a:ln>
        </p:spPr>
        <p:txBody>
          <a:bodyPr vert="horz" lIns="72000" tIns="72000" rIns="72000" bIns="72000" rtlCol="0">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endParaRPr lang="nl-NL" sz="1000" b="1" dirty="0">
              <a:solidFill>
                <a:srgbClr val="68ABB0"/>
              </a:solidFill>
            </a:endParaRPr>
          </a:p>
        </p:txBody>
      </p:sp>
      <p:sp>
        <p:nvSpPr>
          <p:cNvPr id="32" name="Content Placeholder 2">
            <a:extLst>
              <a:ext uri="{FF2B5EF4-FFF2-40B4-BE49-F238E27FC236}">
                <a16:creationId xmlns:a16="http://schemas.microsoft.com/office/drawing/2014/main" id="{BC7555CC-8239-4C73-92EF-CC48228DEF9A}"/>
              </a:ext>
            </a:extLst>
          </p:cNvPr>
          <p:cNvSpPr txBox="1">
            <a:spLocks/>
          </p:cNvSpPr>
          <p:nvPr/>
        </p:nvSpPr>
        <p:spPr>
          <a:xfrm>
            <a:off x="662779" y="4435784"/>
            <a:ext cx="3229951" cy="262093"/>
          </a:xfrm>
          <a:prstGeom prst="rect">
            <a:avLst/>
          </a:prstGeom>
          <a:noFill/>
          <a:ln w="19050">
            <a:noFill/>
          </a:ln>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b="1" dirty="0">
                <a:solidFill>
                  <a:srgbClr val="22777B"/>
                </a:solidFill>
              </a:rPr>
              <a:t>Randvoorwaarden</a:t>
            </a:r>
          </a:p>
        </p:txBody>
      </p:sp>
      <p:sp>
        <p:nvSpPr>
          <p:cNvPr id="35" name="Content Placeholder 2">
            <a:extLst>
              <a:ext uri="{FF2B5EF4-FFF2-40B4-BE49-F238E27FC236}">
                <a16:creationId xmlns:a16="http://schemas.microsoft.com/office/drawing/2014/main" id="{1624E68D-84CD-4B0F-8E00-499FB5A9B50F}"/>
              </a:ext>
            </a:extLst>
          </p:cNvPr>
          <p:cNvSpPr txBox="1">
            <a:spLocks/>
          </p:cNvSpPr>
          <p:nvPr/>
        </p:nvSpPr>
        <p:spPr>
          <a:xfrm>
            <a:off x="655110" y="4684835"/>
            <a:ext cx="36000" cy="1630800"/>
          </a:xfrm>
          <a:prstGeom prst="rect">
            <a:avLst/>
          </a:prstGeom>
          <a:solidFill>
            <a:srgbClr val="22777B"/>
          </a:solidFill>
          <a:ln w="9525">
            <a:noFill/>
          </a:ln>
        </p:spPr>
        <p:txBody>
          <a:bodyPr vert="horz" lIns="72000" tIns="72000" rIns="72000" bIns="72000" rtlCol="0">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endParaRPr lang="nl-NL" sz="1000" b="1" dirty="0">
              <a:solidFill>
                <a:srgbClr val="68ABB0"/>
              </a:solidFill>
            </a:endParaRPr>
          </a:p>
        </p:txBody>
      </p:sp>
      <p:sp>
        <p:nvSpPr>
          <p:cNvPr id="49" name="TextBox 48">
            <a:extLst>
              <a:ext uri="{FF2B5EF4-FFF2-40B4-BE49-F238E27FC236}">
                <a16:creationId xmlns:a16="http://schemas.microsoft.com/office/drawing/2014/main" id="{3E32AA4A-8964-43B7-8A3B-9F22EFA79CC3}"/>
              </a:ext>
            </a:extLst>
          </p:cNvPr>
          <p:cNvSpPr txBox="1"/>
          <p:nvPr/>
        </p:nvSpPr>
        <p:spPr>
          <a:xfrm>
            <a:off x="700829" y="4684835"/>
            <a:ext cx="3187934" cy="1631216"/>
          </a:xfrm>
          <a:prstGeom prst="rect">
            <a:avLst/>
          </a:prstGeom>
          <a:noFill/>
        </p:spPr>
        <p:txBody>
          <a:bodyPr wrap="square">
            <a:spAutoFit/>
          </a:bodyPr>
          <a:lstStyle/>
          <a:p>
            <a:pPr marL="0" indent="0">
              <a:buNone/>
            </a:pPr>
            <a:r>
              <a:rPr lang="nl-NL" sz="1000" dirty="0"/>
              <a:t>De mate van succes van flex-OV is sterk afhankelijk van:</a:t>
            </a:r>
          </a:p>
          <a:p>
            <a:r>
              <a:rPr lang="nl-NL" sz="1000" b="1" dirty="0"/>
              <a:t>De locatie (stedelijk vs. landelijk): </a:t>
            </a:r>
            <a:r>
              <a:rPr lang="nl-NL" sz="1000" dirty="0"/>
              <a:t>in hoeverre is het openbaar vervoersysteem al fijnmazig genoeg? </a:t>
            </a:r>
          </a:p>
          <a:p>
            <a:r>
              <a:rPr lang="nl-NL" sz="1000" b="1" dirty="0"/>
              <a:t>Investerings- en exploitatiekosten</a:t>
            </a:r>
            <a:r>
              <a:rPr lang="nl-NL" sz="1000" dirty="0"/>
              <a:t>: Het optuigen van een nieuw systeem en voertuigen is vaak duur.</a:t>
            </a:r>
          </a:p>
          <a:p>
            <a:r>
              <a:rPr lang="nl-NL" sz="1000" b="1" dirty="0"/>
              <a:t>De kostendekkingsgraad: </a:t>
            </a:r>
            <a:r>
              <a:rPr lang="nl-NL" sz="1000" dirty="0"/>
              <a:t>in de praktijk blijkt dat de kostdekkingsgraad van een gemiddelde flex-dienst laag uitvalt in vergelijking met het OV. Of flex-OV  voordelig zijn t.o.v. Wmo-vervoer is niet onderzocht (voorzover bekend).</a:t>
            </a:r>
          </a:p>
        </p:txBody>
      </p:sp>
    </p:spTree>
    <p:extLst>
      <p:ext uri="{BB962C8B-B14F-4D97-AF65-F5344CB8AC3E}">
        <p14:creationId xmlns:p14="http://schemas.microsoft.com/office/powerpoint/2010/main" val="21348606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A7E2A55-853B-47A9-A999-76B509545684}"/>
              </a:ext>
            </a:extLst>
          </p:cNvPr>
          <p:cNvGraphicFramePr>
            <a:graphicFrameLocks noChangeAspect="1"/>
          </p:cNvGraphicFramePr>
          <p:nvPr>
            <p:custDataLst>
              <p:tags r:id="rId2"/>
            </p:custDataLst>
            <p:extLst>
              <p:ext uri="{D42A27DB-BD31-4B8C-83A1-F6EECF244321}">
                <p14:modId xmlns:p14="http://schemas.microsoft.com/office/powerpoint/2010/main" val="3678133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DA7E2A55-853B-47A9-A999-76B5095456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Content Placeholder 2">
            <a:extLst>
              <a:ext uri="{FF2B5EF4-FFF2-40B4-BE49-F238E27FC236}">
                <a16:creationId xmlns:a16="http://schemas.microsoft.com/office/drawing/2014/main" id="{B69DA695-1407-4A42-882D-156AD5F0028B}"/>
              </a:ext>
            </a:extLst>
          </p:cNvPr>
          <p:cNvSpPr txBox="1">
            <a:spLocks/>
          </p:cNvSpPr>
          <p:nvPr/>
        </p:nvSpPr>
        <p:spPr>
          <a:xfrm>
            <a:off x="662780" y="1600057"/>
            <a:ext cx="3229951" cy="262093"/>
          </a:xfrm>
          <a:prstGeom prst="rect">
            <a:avLst/>
          </a:prstGeom>
          <a:noFill/>
          <a:ln w="19050">
            <a:noFill/>
          </a:ln>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b="1" dirty="0">
                <a:solidFill>
                  <a:srgbClr val="22777B"/>
                </a:solidFill>
              </a:rPr>
              <a:t>In het kort: deelmobiliteit</a:t>
            </a:r>
          </a:p>
        </p:txBody>
      </p:sp>
      <p:sp>
        <p:nvSpPr>
          <p:cNvPr id="27" name="Content Placeholder 2">
            <a:extLst>
              <a:ext uri="{FF2B5EF4-FFF2-40B4-BE49-F238E27FC236}">
                <a16:creationId xmlns:a16="http://schemas.microsoft.com/office/drawing/2014/main" id="{B82A5A0A-81DE-4C1E-8B0C-5CA643C2F05C}"/>
              </a:ext>
            </a:extLst>
          </p:cNvPr>
          <p:cNvSpPr txBox="1">
            <a:spLocks/>
          </p:cNvSpPr>
          <p:nvPr/>
        </p:nvSpPr>
        <p:spPr>
          <a:xfrm>
            <a:off x="673110" y="1862151"/>
            <a:ext cx="3229951" cy="2583502"/>
          </a:xfrm>
          <a:prstGeom prst="rect">
            <a:avLst/>
          </a:prstGeom>
          <a:noFill/>
          <a:ln w="9525">
            <a:noFill/>
          </a:ln>
          <a:extLst>
            <a:ext uri="{909E8E84-426E-40DD-AFC4-6F175D3DCCD1}">
              <a14:hiddenFill xmlns:a14="http://schemas.microsoft.com/office/drawing/2010/main">
                <a:solidFill>
                  <a:schemeClr val="accent6">
                    <a:lumMod val="95000"/>
                  </a:scheme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sz="1000" dirty="0"/>
              <a:t>Deelmobiliteit</a:t>
            </a:r>
            <a:r>
              <a:rPr lang="nl-NL" sz="1000" b="1" dirty="0"/>
              <a:t> </a:t>
            </a:r>
            <a:r>
              <a:rPr lang="nl-NL" sz="1000" dirty="0"/>
              <a:t>is een vorm van individueel vervoer waarbij voertuigen door meerdere mensen gebruikt worden. Deelmobiliteit bevat zowel het delen van auto’s, fietsen en scootmobiels als taxi-achtige diensten. </a:t>
            </a:r>
          </a:p>
          <a:p>
            <a:pPr marL="0" indent="0">
              <a:buNone/>
            </a:pPr>
            <a:r>
              <a:rPr lang="nl-NL" sz="1000" dirty="0"/>
              <a:t>Deelmobiliteit biedt kwetsbare reizigers de mogelijkheid  om van deur-tot-deur/ deur-tot-halte te reizen zónder dat ze daarvoor hun eigen auto hoeven te hebben. Belangrijk voordeel hiervan is dat deelmobiliteit bijdraagt aan een vermindering van autobezit waarmee de druk op openbare ruimte en infrastructuur en de uitstoot van  broeikasgassen afnemen terwijl het vervoerssysteem fijnmazig blijft.</a:t>
            </a:r>
          </a:p>
          <a:p>
            <a:pPr marL="0" indent="0">
              <a:buNone/>
            </a:pPr>
            <a:endParaRPr lang="nl-NL" sz="1000" dirty="0"/>
          </a:p>
          <a:p>
            <a:pPr marL="0" indent="0">
              <a:buNone/>
            </a:pPr>
            <a:endParaRPr lang="nl-NL" sz="1000" dirty="0"/>
          </a:p>
        </p:txBody>
      </p:sp>
      <p:sp>
        <p:nvSpPr>
          <p:cNvPr id="33" name="Title 7">
            <a:extLst>
              <a:ext uri="{FF2B5EF4-FFF2-40B4-BE49-F238E27FC236}">
                <a16:creationId xmlns:a16="http://schemas.microsoft.com/office/drawing/2014/main" id="{69159098-4D9C-4771-AEB0-74288BB3E8E3}"/>
              </a:ext>
            </a:extLst>
          </p:cNvPr>
          <p:cNvSpPr>
            <a:spLocks noGrp="1"/>
          </p:cNvSpPr>
          <p:nvPr>
            <p:ph type="title"/>
          </p:nvPr>
        </p:nvSpPr>
        <p:spPr>
          <a:xfrm>
            <a:off x="-1" y="265387"/>
            <a:ext cx="12192001" cy="942979"/>
          </a:xfrm>
          <a:solidFill>
            <a:srgbClr val="22777B"/>
          </a:solidFill>
        </p:spPr>
        <p:txBody>
          <a:bodyPr vert="horz" anchor="ctr"/>
          <a:lstStyle/>
          <a:p>
            <a:r>
              <a:rPr lang="nl-NL" dirty="0">
                <a:solidFill>
                  <a:srgbClr val="FFFFFF"/>
                </a:solidFill>
              </a:rPr>
              <a:t>	</a:t>
            </a:r>
          </a:p>
        </p:txBody>
      </p:sp>
      <p:sp>
        <p:nvSpPr>
          <p:cNvPr id="5" name="Footer Placeholder 4">
            <a:extLst>
              <a:ext uri="{FF2B5EF4-FFF2-40B4-BE49-F238E27FC236}">
                <a16:creationId xmlns:a16="http://schemas.microsoft.com/office/drawing/2014/main" id="{6450BDB4-A43E-402D-996C-55C79B926CE4}"/>
              </a:ext>
            </a:extLst>
          </p:cNvPr>
          <p:cNvSpPr>
            <a:spLocks noGrp="1"/>
          </p:cNvSpPr>
          <p:nvPr>
            <p:ph type="ftr" sz="quarter" idx="3"/>
          </p:nvPr>
        </p:nvSpPr>
        <p:spPr/>
        <p:txBody>
          <a:bodyPr/>
          <a:lstStyle/>
          <a:p>
            <a:r>
              <a:rPr lang="nl-NL" dirty="0"/>
              <a:t>Bron: KpVV CROW, ‘Integratie doelgroepenvervoer en OV: Praktijkvoorbeelden’ (juni 2020); websites verschillende initiatieven deelmobiliteit; NewBility, ‘Waaier kleinschalige vervoeroplossingen’ (1 okt. 2019)</a:t>
            </a:r>
          </a:p>
        </p:txBody>
      </p:sp>
      <p:sp>
        <p:nvSpPr>
          <p:cNvPr id="6" name="Slide Number Placeholder 5">
            <a:extLst>
              <a:ext uri="{FF2B5EF4-FFF2-40B4-BE49-F238E27FC236}">
                <a16:creationId xmlns:a16="http://schemas.microsoft.com/office/drawing/2014/main" id="{EA5B4AF5-72CF-4819-8135-F522810EB50A}"/>
              </a:ext>
            </a:extLst>
          </p:cNvPr>
          <p:cNvSpPr>
            <a:spLocks noGrp="1"/>
          </p:cNvSpPr>
          <p:nvPr>
            <p:ph type="sldNum" sz="quarter" idx="12"/>
          </p:nvPr>
        </p:nvSpPr>
        <p:spPr/>
        <p:txBody>
          <a:bodyPr/>
          <a:lstStyle/>
          <a:p>
            <a:fld id="{992CD0B2-8AB2-4C6C-8876-E15753662C9B}" type="slidenum">
              <a:rPr lang="nl-NL" smtClean="0"/>
              <a:pPr/>
              <a:t>18</a:t>
            </a:fld>
            <a:endParaRPr lang="nl-NL" dirty="0"/>
          </a:p>
        </p:txBody>
      </p:sp>
      <p:sp>
        <p:nvSpPr>
          <p:cNvPr id="47" name="TextBox 46">
            <a:extLst>
              <a:ext uri="{FF2B5EF4-FFF2-40B4-BE49-F238E27FC236}">
                <a16:creationId xmlns:a16="http://schemas.microsoft.com/office/drawing/2014/main" id="{4716077D-F49C-442C-BDB1-5D321EBE6829}"/>
              </a:ext>
            </a:extLst>
          </p:cNvPr>
          <p:cNvSpPr txBox="1"/>
          <p:nvPr/>
        </p:nvSpPr>
        <p:spPr>
          <a:xfrm>
            <a:off x="658813" y="274425"/>
            <a:ext cx="6724448" cy="230832"/>
          </a:xfrm>
          <a:prstGeom prst="rect">
            <a:avLst/>
          </a:prstGeom>
          <a:noFill/>
        </p:spPr>
        <p:txBody>
          <a:bodyPr wrap="square">
            <a:spAutoFit/>
          </a:bodyPr>
          <a:lstStyle/>
          <a:p>
            <a:pPr marL="0" indent="0">
              <a:buNone/>
            </a:pPr>
            <a:r>
              <a:rPr lang="nl-NL" sz="1000" b="1" dirty="0">
                <a:solidFill>
                  <a:srgbClr val="FFFFFF"/>
                </a:solidFill>
              </a:rPr>
              <a:t>Ontwikkelen alternatief aanbod (fijnmazig) vervoer</a:t>
            </a:r>
          </a:p>
        </p:txBody>
      </p:sp>
      <p:grpSp>
        <p:nvGrpSpPr>
          <p:cNvPr id="36" name="Group 35">
            <a:extLst>
              <a:ext uri="{FF2B5EF4-FFF2-40B4-BE49-F238E27FC236}">
                <a16:creationId xmlns:a16="http://schemas.microsoft.com/office/drawing/2014/main" id="{ECCBA316-53DD-49F4-BB87-329013DCC2CD}"/>
              </a:ext>
            </a:extLst>
          </p:cNvPr>
          <p:cNvGrpSpPr/>
          <p:nvPr/>
        </p:nvGrpSpPr>
        <p:grpSpPr>
          <a:xfrm>
            <a:off x="701659" y="55733"/>
            <a:ext cx="2040807" cy="176387"/>
            <a:chOff x="701659" y="55733"/>
            <a:chExt cx="2040807" cy="176387"/>
          </a:xfrm>
        </p:grpSpPr>
        <p:sp>
          <p:nvSpPr>
            <p:cNvPr id="37" name="Rectangle: Rounded Corners 36">
              <a:extLst>
                <a:ext uri="{FF2B5EF4-FFF2-40B4-BE49-F238E27FC236}">
                  <a16:creationId xmlns:a16="http://schemas.microsoft.com/office/drawing/2014/main" id="{3F5DF9BA-B36F-4007-9D1D-DD2653B55A40}"/>
                </a:ext>
              </a:extLst>
            </p:cNvPr>
            <p:cNvSpPr/>
            <p:nvPr/>
          </p:nvSpPr>
          <p:spPr>
            <a:xfrm>
              <a:off x="93125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a:t>
              </a:r>
            </a:p>
          </p:txBody>
        </p:sp>
        <p:sp>
          <p:nvSpPr>
            <p:cNvPr id="38" name="Rectangle: Rounded Corners 37">
              <a:extLst>
                <a:ext uri="{FF2B5EF4-FFF2-40B4-BE49-F238E27FC236}">
                  <a16:creationId xmlns:a16="http://schemas.microsoft.com/office/drawing/2014/main" id="{44C3F4E1-7EC7-47C6-8E61-17F76F3C3E82}"/>
                </a:ext>
              </a:extLst>
            </p:cNvPr>
            <p:cNvSpPr/>
            <p:nvPr/>
          </p:nvSpPr>
          <p:spPr>
            <a:xfrm>
              <a:off x="116084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2</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39" name="Rectangle: Rounded Corners 38">
              <a:extLst>
                <a:ext uri="{FF2B5EF4-FFF2-40B4-BE49-F238E27FC236}">
                  <a16:creationId xmlns:a16="http://schemas.microsoft.com/office/drawing/2014/main" id="{C334A7F5-0425-408B-A2C0-A6F609C3090C}"/>
                </a:ext>
              </a:extLst>
            </p:cNvPr>
            <p:cNvSpPr/>
            <p:nvPr/>
          </p:nvSpPr>
          <p:spPr>
            <a:xfrm>
              <a:off x="1390441" y="55733"/>
              <a:ext cx="204053" cy="176387"/>
            </a:xfrm>
            <a:prstGeom prst="roundRect">
              <a:avLst/>
            </a:prstGeom>
            <a:solidFill>
              <a:srgbClr val="EC6224"/>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3</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40" name="Rectangle: Rounded Corners 39">
              <a:extLst>
                <a:ext uri="{FF2B5EF4-FFF2-40B4-BE49-F238E27FC236}">
                  <a16:creationId xmlns:a16="http://schemas.microsoft.com/office/drawing/2014/main" id="{40A59318-BECA-4943-AEFD-C24EC6FC343E}"/>
                </a:ext>
              </a:extLst>
            </p:cNvPr>
            <p:cNvSpPr/>
            <p:nvPr/>
          </p:nvSpPr>
          <p:spPr>
            <a:xfrm>
              <a:off x="1620035"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4</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41" name="Rectangle: Rounded Corners 40">
              <a:extLst>
                <a:ext uri="{FF2B5EF4-FFF2-40B4-BE49-F238E27FC236}">
                  <a16:creationId xmlns:a16="http://schemas.microsoft.com/office/drawing/2014/main" id="{9CDF6D23-DBC4-47D0-A707-152F1006F7E0}"/>
                </a:ext>
              </a:extLst>
            </p:cNvPr>
            <p:cNvSpPr/>
            <p:nvPr/>
          </p:nvSpPr>
          <p:spPr>
            <a:xfrm>
              <a:off x="184962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5</a:t>
              </a:r>
            </a:p>
          </p:txBody>
        </p:sp>
        <p:sp>
          <p:nvSpPr>
            <p:cNvPr id="42" name="Rectangle: Rounded Corners 41">
              <a:extLst>
                <a:ext uri="{FF2B5EF4-FFF2-40B4-BE49-F238E27FC236}">
                  <a16:creationId xmlns:a16="http://schemas.microsoft.com/office/drawing/2014/main" id="{01260054-0015-4939-90EF-636561C89C6E}"/>
                </a:ext>
              </a:extLst>
            </p:cNvPr>
            <p:cNvSpPr/>
            <p:nvPr/>
          </p:nvSpPr>
          <p:spPr>
            <a:xfrm>
              <a:off x="207922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6</a:t>
              </a:r>
            </a:p>
          </p:txBody>
        </p:sp>
        <p:sp>
          <p:nvSpPr>
            <p:cNvPr id="43" name="Rectangle: Rounded Corners 42">
              <a:extLst>
                <a:ext uri="{FF2B5EF4-FFF2-40B4-BE49-F238E27FC236}">
                  <a16:creationId xmlns:a16="http://schemas.microsoft.com/office/drawing/2014/main" id="{A0251493-571E-44A7-8751-2E366B1CA5C3}"/>
                </a:ext>
              </a:extLst>
            </p:cNvPr>
            <p:cNvSpPr/>
            <p:nvPr/>
          </p:nvSpPr>
          <p:spPr>
            <a:xfrm>
              <a:off x="230881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7</a:t>
              </a:r>
            </a:p>
          </p:txBody>
        </p:sp>
        <p:sp>
          <p:nvSpPr>
            <p:cNvPr id="44" name="Rectangle: Rounded Corners 43">
              <a:extLst>
                <a:ext uri="{FF2B5EF4-FFF2-40B4-BE49-F238E27FC236}">
                  <a16:creationId xmlns:a16="http://schemas.microsoft.com/office/drawing/2014/main" id="{B9471B93-2AC0-4180-81F1-3CFB96A01880}"/>
                </a:ext>
              </a:extLst>
            </p:cNvPr>
            <p:cNvSpPr/>
            <p:nvPr/>
          </p:nvSpPr>
          <p:spPr>
            <a:xfrm>
              <a:off x="253841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8</a:t>
              </a:r>
            </a:p>
          </p:txBody>
        </p:sp>
        <p:grpSp>
          <p:nvGrpSpPr>
            <p:cNvPr id="45" name="Group 44">
              <a:extLst>
                <a:ext uri="{FF2B5EF4-FFF2-40B4-BE49-F238E27FC236}">
                  <a16:creationId xmlns:a16="http://schemas.microsoft.com/office/drawing/2014/main" id="{EFD1E918-A73B-4D34-A2C5-836E9E45E539}"/>
                </a:ext>
              </a:extLst>
            </p:cNvPr>
            <p:cNvGrpSpPr/>
            <p:nvPr/>
          </p:nvGrpSpPr>
          <p:grpSpPr>
            <a:xfrm>
              <a:off x="701659" y="55733"/>
              <a:ext cx="204053" cy="176387"/>
              <a:chOff x="701659" y="55733"/>
              <a:chExt cx="204053" cy="176387"/>
            </a:xfrm>
          </p:grpSpPr>
          <p:sp>
            <p:nvSpPr>
              <p:cNvPr id="46" name="Rectangle: Rounded Corners 45">
                <a:extLst>
                  <a:ext uri="{FF2B5EF4-FFF2-40B4-BE49-F238E27FC236}">
                    <a16:creationId xmlns:a16="http://schemas.microsoft.com/office/drawing/2014/main" id="{5CC99699-DC57-4154-87DE-94BE3A70EAEC}"/>
                  </a:ext>
                </a:extLst>
              </p:cNvPr>
              <p:cNvSpPr/>
              <p:nvPr/>
            </p:nvSpPr>
            <p:spPr>
              <a:xfrm>
                <a:off x="70165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48" name="Graphic 47" descr="Home with solid fill">
                <a:hlinkClick r:id="rId7" action="ppaction://hlinksldjump"/>
                <a:extLst>
                  <a:ext uri="{FF2B5EF4-FFF2-40B4-BE49-F238E27FC236}">
                    <a16:creationId xmlns:a16="http://schemas.microsoft.com/office/drawing/2014/main" id="{7B504EA9-D4D6-4A52-9520-D9CA09B453B7}"/>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34263" y="63707"/>
                <a:ext cx="136149" cy="136149"/>
              </a:xfrm>
              <a:prstGeom prst="rect">
                <a:avLst/>
              </a:prstGeom>
            </p:spPr>
          </p:pic>
        </p:grpSp>
      </p:grpSp>
      <p:sp>
        <p:nvSpPr>
          <p:cNvPr id="34" name="TextBox 33">
            <a:extLst>
              <a:ext uri="{FF2B5EF4-FFF2-40B4-BE49-F238E27FC236}">
                <a16:creationId xmlns:a16="http://schemas.microsoft.com/office/drawing/2014/main" id="{5F63CB87-2B2E-4D01-BFC4-55F6AC89A639}"/>
              </a:ext>
            </a:extLst>
          </p:cNvPr>
          <p:cNvSpPr txBox="1"/>
          <p:nvPr/>
        </p:nvSpPr>
        <p:spPr>
          <a:xfrm>
            <a:off x="658813" y="617566"/>
            <a:ext cx="10921582" cy="424732"/>
          </a:xfrm>
          <a:prstGeom prst="rect">
            <a:avLst/>
          </a:prstGeom>
          <a:noFill/>
        </p:spPr>
        <p:txBody>
          <a:bodyPr wrap="square" anchor="ctr">
            <a:spAutoFit/>
          </a:bodyPr>
          <a:lstStyle/>
          <a:p>
            <a:pPr marL="0" indent="0">
              <a:buNone/>
            </a:pPr>
            <a:r>
              <a:rPr lang="nl-NL" sz="2400" b="1" dirty="0">
                <a:solidFill>
                  <a:srgbClr val="FFFFFF"/>
                </a:solidFill>
              </a:rPr>
              <a:t>Doelgroepenvervoer kan ook aangevuld worden met vormen van deelmobiliteit</a:t>
            </a:r>
          </a:p>
        </p:txBody>
      </p:sp>
      <p:graphicFrame>
        <p:nvGraphicFramePr>
          <p:cNvPr id="26" name="Table 10">
            <a:extLst>
              <a:ext uri="{FF2B5EF4-FFF2-40B4-BE49-F238E27FC236}">
                <a16:creationId xmlns:a16="http://schemas.microsoft.com/office/drawing/2014/main" id="{F4C3D7AA-2A7F-4665-BC1D-3F0A3D092EC6}"/>
              </a:ext>
            </a:extLst>
          </p:cNvPr>
          <p:cNvGraphicFramePr>
            <a:graphicFrameLocks/>
          </p:cNvGraphicFramePr>
          <p:nvPr>
            <p:extLst>
              <p:ext uri="{D42A27DB-BD31-4B8C-83A1-F6EECF244321}">
                <p14:modId xmlns:p14="http://schemas.microsoft.com/office/powerpoint/2010/main" val="1666429487"/>
              </p:ext>
            </p:extLst>
          </p:nvPr>
        </p:nvGraphicFramePr>
        <p:xfrm>
          <a:off x="4040776" y="1600790"/>
          <a:ext cx="7496114" cy="4688400"/>
        </p:xfrm>
        <a:graphic>
          <a:graphicData uri="http://schemas.openxmlformats.org/drawingml/2006/table">
            <a:tbl>
              <a:tblPr firstRow="1" bandRow="1">
                <a:tableStyleId>{5C22544A-7EE6-4342-B048-85BDC9FD1C3A}</a:tableStyleId>
              </a:tblPr>
              <a:tblGrid>
                <a:gridCol w="174173">
                  <a:extLst>
                    <a:ext uri="{9D8B030D-6E8A-4147-A177-3AD203B41FA5}">
                      <a16:colId xmlns:a16="http://schemas.microsoft.com/office/drawing/2014/main" val="2934817752"/>
                    </a:ext>
                  </a:extLst>
                </a:gridCol>
                <a:gridCol w="1480457">
                  <a:extLst>
                    <a:ext uri="{9D8B030D-6E8A-4147-A177-3AD203B41FA5}">
                      <a16:colId xmlns:a16="http://schemas.microsoft.com/office/drawing/2014/main" val="701475016"/>
                    </a:ext>
                  </a:extLst>
                </a:gridCol>
                <a:gridCol w="2554072">
                  <a:extLst>
                    <a:ext uri="{9D8B030D-6E8A-4147-A177-3AD203B41FA5}">
                      <a16:colId xmlns:a16="http://schemas.microsoft.com/office/drawing/2014/main" val="3379534952"/>
                    </a:ext>
                  </a:extLst>
                </a:gridCol>
                <a:gridCol w="3287412">
                  <a:extLst>
                    <a:ext uri="{9D8B030D-6E8A-4147-A177-3AD203B41FA5}">
                      <a16:colId xmlns:a16="http://schemas.microsoft.com/office/drawing/2014/main" val="1603492431"/>
                    </a:ext>
                  </a:extLst>
                </a:gridCol>
              </a:tblGrid>
              <a:tr h="288000">
                <a:tc gridSpan="2">
                  <a:txBody>
                    <a:bodyPr/>
                    <a:lstStyle/>
                    <a:p>
                      <a:pPr algn="ctr" rtl="0"/>
                      <a:r>
                        <a:rPr lang="nl-NL" sz="1000" dirty="0"/>
                        <a:t>Typ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endParaRPr lang="nl-NL"/>
                    </a:p>
                  </a:txBody>
                  <a:tcPr/>
                </a:tc>
                <a:tc>
                  <a:txBody>
                    <a:bodyPr/>
                    <a:lstStyle/>
                    <a:p>
                      <a:pPr algn="ctr" rtl="0"/>
                      <a:r>
                        <a:rPr lang="nl-NL" sz="1000" dirty="0"/>
                        <a:t>Beschrijving</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algn="ctr" rtl="0"/>
                      <a:r>
                        <a:rPr lang="nl-NL" sz="1000"/>
                        <a:t>Voorbeelden doelgroepenvervoer</a:t>
                      </a:r>
                      <a:endParaRPr lang="nl-NL" sz="1000" dirty="0"/>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537531575"/>
                  </a:ext>
                </a:extLst>
              </a:tr>
              <a:tr h="288000">
                <a:tc gridSpan="2">
                  <a:txBody>
                    <a:bodyPr/>
                    <a:lstStyle/>
                    <a:p>
                      <a:pPr algn="l" rtl="0"/>
                      <a:r>
                        <a:rPr lang="nl-NL" sz="1000" b="1" dirty="0"/>
                        <a:t>Deelvervoer</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nl-NL"/>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nl-NL" sz="1000" dirty="0"/>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nl-NL" sz="1000" dirty="0"/>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33238672"/>
                  </a:ext>
                </a:extLst>
              </a:tr>
              <a:tr h="1026000">
                <a:tc>
                  <a:txBody>
                    <a:bodyPr/>
                    <a:lstStyle/>
                    <a:p>
                      <a:pPr algn="l" rtl="0"/>
                      <a:endParaRPr lang="nl-NL" sz="1000" b="1" dirty="0"/>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l" rtl="0"/>
                      <a:r>
                        <a:rPr lang="nl-NL" sz="1000" b="1" dirty="0"/>
                        <a:t>Deelauto’s / - fietsen/ -scootmobiels</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dirty="0"/>
                        <a:t>Onder deelauto’s/ - fietsen/ -scootmobiels vallen tientallen platforms waarop mensen gebruik kunnen maken van (vaak met abonnement) deelvoertuigen met of zonder (‘Free Floating’) vaste standplaats. </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nl-NL" sz="1000" b="1" dirty="0"/>
                        <a:t>Wheeliz </a:t>
                      </a:r>
                      <a:r>
                        <a:rPr lang="nl-NL" sz="1000" b="0" dirty="0"/>
                        <a:t>is een platform in Frankrijk dat deelauto’s speciaal voor mensen met een beperking beschikbaar stelt</a:t>
                      </a:r>
                    </a:p>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nl-NL" sz="1000" b="0" dirty="0"/>
                        <a:t>In Nederland zijn veel platforms voor deelauto’s. Er zijn weinig platforms gericht op mensen met een beperking</a:t>
                      </a:r>
                      <a:endParaRPr lang="nl-NL" sz="1000" b="1" dirty="0"/>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35177066"/>
                  </a:ext>
                </a:extLst>
              </a:tr>
              <a:tr h="1026000">
                <a:tc>
                  <a:txBody>
                    <a:bodyPr/>
                    <a:lstStyle/>
                    <a:p>
                      <a:pPr algn="l" rtl="0"/>
                      <a:endParaRPr lang="nl-NL" sz="1000" b="1" dirty="0"/>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l" rtl="0"/>
                      <a:r>
                        <a:rPr lang="nl-NL" sz="1000" b="1" dirty="0"/>
                        <a:t>Deeltaxi’s</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dirty="0"/>
                        <a:t>Bij deeltaxi’s delen reizigers de ritten. Bij lokale deeltaxi’s nemen bewoners andere plaatsgenoten mee. Commerciële deeltaxi’s rijden met een professionele chauffeur en wordt de rit gedeeld met andere passagiers.</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nl-NL" sz="1000" b="1" dirty="0"/>
                        <a:t>StuMobiel </a:t>
                      </a:r>
                      <a:r>
                        <a:rPr lang="nl-NL" sz="1000" b="0" dirty="0"/>
                        <a:t>is een lokale taxidienst in Eindhoven waarbij studenten op vrijwilligersbasis senioren naar activiteitencentrums rijden. </a:t>
                      </a:r>
                    </a:p>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nl-NL" sz="1000" b="1" dirty="0"/>
                        <a:t>ViaVan </a:t>
                      </a:r>
                      <a:r>
                        <a:rPr lang="nl-NL" sz="1000" b="0" dirty="0"/>
                        <a:t>is een commerciële deeltaxi in Amsterdam. Bij gedeelde ritten, krijgen reizigers korting</a:t>
                      </a:r>
                      <a:endParaRPr lang="nl-NL" sz="1000" b="1" dirty="0"/>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4117659"/>
                  </a:ext>
                </a:extLst>
              </a:tr>
              <a:tr h="1026000">
                <a:tc gridSpan="2">
                  <a:txBody>
                    <a:bodyPr/>
                    <a:lstStyle/>
                    <a:p>
                      <a:pPr algn="l" rtl="0"/>
                      <a:r>
                        <a:rPr lang="nl-NL" sz="1000" b="1" dirty="0"/>
                        <a:t>Liftbemiddeling</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nl-NL"/>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dirty="0"/>
                        <a:t>Onder liftbemiddeling vallen vervoers-diensten van welzijnsorganisaties die vrijwilligers inzetten. Deze rijden in hun eigen auto / een auto die beschikbaar is gesteld door de organisatie minder mobiele reizigers.</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nl-NL" sz="1000" b="1" dirty="0"/>
                        <a:t>ANWB automaatje </a:t>
                      </a:r>
                      <a:r>
                        <a:rPr lang="nl-NL" sz="1000" b="0" dirty="0"/>
                        <a:t>is actief in verschillende gemeenten en werkt met vrijwilligers die in hun eigen auto kwetsbare plaatsgenoten vervoeren</a:t>
                      </a:r>
                      <a:endParaRPr lang="nl-NL" sz="1000" dirty="0"/>
                    </a:p>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nl-NL" sz="1000" b="0" dirty="0"/>
                        <a:t>Bij</a:t>
                      </a:r>
                      <a:r>
                        <a:rPr lang="nl-NL" sz="1000" b="1" dirty="0"/>
                        <a:t> Zoefzoef Haarlem </a:t>
                      </a:r>
                      <a:r>
                        <a:rPr lang="nl-NL" sz="1000" b="0" dirty="0"/>
                        <a:t>vervoeren welzijnsorganisaties minder mobiele bewoners bij korte ritjes in de wijk</a:t>
                      </a:r>
                      <a:endParaRPr lang="nl-NL" sz="1000" b="1" dirty="0"/>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63514226"/>
                  </a:ext>
                </a:extLst>
              </a:tr>
              <a:tr h="1026000">
                <a:tc gridSpan="2">
                  <a:txBody>
                    <a:bodyPr/>
                    <a:lstStyle/>
                    <a:p>
                      <a:pPr algn="l" rtl="0"/>
                      <a:r>
                        <a:rPr lang="nl-NL" sz="1000" b="1" dirty="0"/>
                        <a:t>Ridehailing</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nl-NL"/>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dirty="0"/>
                        <a:t>Ridehailing refereert naar nieuwe taxidiensten, zoals Uber, die apps en nieuwe bedrijfsstructuren inzetten om klantervaring te verbeteren.</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1" i="0" u="none" strike="noStrike" kern="1200" cap="none" spc="0" normalizeH="0" baseline="0" noProof="0" dirty="0">
                          <a:ln>
                            <a:noFill/>
                          </a:ln>
                          <a:solidFill>
                            <a:srgbClr val="000000"/>
                          </a:solidFill>
                          <a:effectLst/>
                          <a:uLnTx/>
                          <a:uFillTx/>
                          <a:latin typeface="+mn-lt"/>
                          <a:ea typeface="+mn-ea"/>
                          <a:cs typeface="+mn-cs"/>
                        </a:rPr>
                        <a:t>Boston </a:t>
                      </a:r>
                      <a:r>
                        <a:rPr kumimoji="0" lang="nl-NL" sz="1000" b="0" i="0" u="none" strike="noStrike" kern="1200" cap="none" spc="0" normalizeH="0" baseline="0" noProof="0" dirty="0">
                          <a:ln>
                            <a:noFill/>
                          </a:ln>
                          <a:solidFill>
                            <a:srgbClr val="000000"/>
                          </a:solidFill>
                          <a:effectLst/>
                          <a:uLnTx/>
                          <a:uFillTx/>
                          <a:latin typeface="+mn-lt"/>
                          <a:ea typeface="+mn-ea"/>
                          <a:cs typeface="+mn-cs"/>
                        </a:rPr>
                        <a:t>subsideert chauffeurs v. Uber met rolstoelauto’s om hun voertuig aan te bieden aan ‘Wmo’- reizigers</a:t>
                      </a:r>
                      <a:endParaRPr lang="nl-NL" sz="1000" dirty="0"/>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48514373"/>
                  </a:ext>
                </a:extLst>
              </a:tr>
            </a:tbl>
          </a:graphicData>
        </a:graphic>
      </p:graphicFrame>
      <p:sp>
        <p:nvSpPr>
          <p:cNvPr id="29" name="Content Placeholder 2">
            <a:extLst>
              <a:ext uri="{FF2B5EF4-FFF2-40B4-BE49-F238E27FC236}">
                <a16:creationId xmlns:a16="http://schemas.microsoft.com/office/drawing/2014/main" id="{5905C509-64E7-4A28-B6E4-CB47FBC60FF4}"/>
              </a:ext>
            </a:extLst>
          </p:cNvPr>
          <p:cNvSpPr txBox="1">
            <a:spLocks/>
          </p:cNvSpPr>
          <p:nvPr/>
        </p:nvSpPr>
        <p:spPr>
          <a:xfrm>
            <a:off x="664829" y="1870859"/>
            <a:ext cx="36000" cy="2520000"/>
          </a:xfrm>
          <a:prstGeom prst="rect">
            <a:avLst/>
          </a:prstGeom>
          <a:solidFill>
            <a:srgbClr val="22777B"/>
          </a:solidFill>
          <a:ln w="9525">
            <a:noFill/>
          </a:ln>
        </p:spPr>
        <p:txBody>
          <a:bodyPr vert="horz" lIns="72000" tIns="72000" rIns="72000" bIns="72000" rtlCol="0">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endParaRPr lang="nl-NL" sz="1000" b="1" dirty="0">
              <a:solidFill>
                <a:srgbClr val="68ABB0"/>
              </a:solidFill>
            </a:endParaRPr>
          </a:p>
        </p:txBody>
      </p:sp>
      <p:sp>
        <p:nvSpPr>
          <p:cNvPr id="32" name="Content Placeholder 2">
            <a:extLst>
              <a:ext uri="{FF2B5EF4-FFF2-40B4-BE49-F238E27FC236}">
                <a16:creationId xmlns:a16="http://schemas.microsoft.com/office/drawing/2014/main" id="{BC7555CC-8239-4C73-92EF-CC48228DEF9A}"/>
              </a:ext>
            </a:extLst>
          </p:cNvPr>
          <p:cNvSpPr txBox="1">
            <a:spLocks/>
          </p:cNvSpPr>
          <p:nvPr/>
        </p:nvSpPr>
        <p:spPr>
          <a:xfrm>
            <a:off x="662779" y="4400952"/>
            <a:ext cx="3229951" cy="262093"/>
          </a:xfrm>
          <a:prstGeom prst="rect">
            <a:avLst/>
          </a:prstGeom>
          <a:noFill/>
          <a:ln w="19050">
            <a:noFill/>
          </a:ln>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b="1" dirty="0">
                <a:solidFill>
                  <a:srgbClr val="22777B"/>
                </a:solidFill>
              </a:rPr>
              <a:t>Randvoorwaarden</a:t>
            </a:r>
          </a:p>
        </p:txBody>
      </p:sp>
      <p:sp>
        <p:nvSpPr>
          <p:cNvPr id="35" name="Content Placeholder 2">
            <a:extLst>
              <a:ext uri="{FF2B5EF4-FFF2-40B4-BE49-F238E27FC236}">
                <a16:creationId xmlns:a16="http://schemas.microsoft.com/office/drawing/2014/main" id="{1624E68D-84CD-4B0F-8E00-499FB5A9B50F}"/>
              </a:ext>
            </a:extLst>
          </p:cNvPr>
          <p:cNvSpPr txBox="1">
            <a:spLocks/>
          </p:cNvSpPr>
          <p:nvPr/>
        </p:nvSpPr>
        <p:spPr>
          <a:xfrm>
            <a:off x="655110" y="4618481"/>
            <a:ext cx="36000" cy="1631216"/>
          </a:xfrm>
          <a:prstGeom prst="rect">
            <a:avLst/>
          </a:prstGeom>
          <a:solidFill>
            <a:srgbClr val="22777B"/>
          </a:solidFill>
          <a:ln w="9525">
            <a:noFill/>
          </a:ln>
        </p:spPr>
        <p:txBody>
          <a:bodyPr vert="horz" lIns="72000" tIns="72000" rIns="72000" bIns="72000" rtlCol="0">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endParaRPr lang="nl-NL" sz="1000" b="1" dirty="0">
              <a:solidFill>
                <a:srgbClr val="68ABB0"/>
              </a:solidFill>
            </a:endParaRPr>
          </a:p>
        </p:txBody>
      </p:sp>
      <p:sp>
        <p:nvSpPr>
          <p:cNvPr id="49" name="TextBox 48">
            <a:extLst>
              <a:ext uri="{FF2B5EF4-FFF2-40B4-BE49-F238E27FC236}">
                <a16:creationId xmlns:a16="http://schemas.microsoft.com/office/drawing/2014/main" id="{3E32AA4A-8964-43B7-8A3B-9F22EFA79CC3}"/>
              </a:ext>
            </a:extLst>
          </p:cNvPr>
          <p:cNvSpPr txBox="1"/>
          <p:nvPr/>
        </p:nvSpPr>
        <p:spPr>
          <a:xfrm>
            <a:off x="700829" y="4646506"/>
            <a:ext cx="3187934" cy="1908215"/>
          </a:xfrm>
          <a:prstGeom prst="rect">
            <a:avLst/>
          </a:prstGeom>
          <a:noFill/>
        </p:spPr>
        <p:txBody>
          <a:bodyPr wrap="square">
            <a:spAutoFit/>
          </a:bodyPr>
          <a:lstStyle/>
          <a:p>
            <a:pPr marL="0" indent="0">
              <a:buNone/>
            </a:pPr>
            <a:r>
              <a:rPr lang="nl-NL" sz="1000" dirty="0"/>
              <a:t>Er is niet veel bekend over de toegevoegde waarde van deelmobiliteit i.c.m. doelgroepenvervoer. Belangrijke aandachtspunten die wel overwogen moeten worden bij de inzet van deelvervoer zijn:</a:t>
            </a:r>
          </a:p>
          <a:p>
            <a:r>
              <a:rPr lang="nl-NL" sz="1000" b="1" dirty="0"/>
              <a:t>Geschiktheid van voertuigen en vervoerder: </a:t>
            </a:r>
            <a:r>
              <a:rPr lang="nl-NL" sz="1000" dirty="0"/>
              <a:t>niet alle deelvoertuigen en platforms zijn dusdanig ontwikkeld dat ze toegankelijk zijn voor mensen met een rolstoel. Daarnaast dienen voor sommige doelgroepen ook de chauffeurs/ vrijwilligers ondersteuning te kunnen bieden</a:t>
            </a:r>
          </a:p>
          <a:p>
            <a:pPr marL="0" indent="0">
              <a:buNone/>
            </a:pPr>
            <a:endParaRPr lang="nl-NL" sz="1000" dirty="0"/>
          </a:p>
          <a:p>
            <a:endParaRPr lang="nl-NL" sz="1000" b="1" dirty="0"/>
          </a:p>
        </p:txBody>
      </p:sp>
    </p:spTree>
    <p:extLst>
      <p:ext uri="{BB962C8B-B14F-4D97-AF65-F5344CB8AC3E}">
        <p14:creationId xmlns:p14="http://schemas.microsoft.com/office/powerpoint/2010/main" val="17789431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A7E2A55-853B-47A9-A999-76B509545684}"/>
              </a:ext>
            </a:extLst>
          </p:cNvPr>
          <p:cNvGraphicFramePr>
            <a:graphicFrameLocks noChangeAspect="1"/>
          </p:cNvGraphicFramePr>
          <p:nvPr>
            <p:custDataLst>
              <p:tags r:id="rId2"/>
            </p:custDataLst>
            <p:extLst>
              <p:ext uri="{D42A27DB-BD31-4B8C-83A1-F6EECF244321}">
                <p14:modId xmlns:p14="http://schemas.microsoft.com/office/powerpoint/2010/main" val="3139833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2"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DA7E2A55-853B-47A9-A999-76B5095456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6450BDB4-A43E-402D-996C-55C79B926CE4}"/>
              </a:ext>
            </a:extLst>
          </p:cNvPr>
          <p:cNvSpPr>
            <a:spLocks noGrp="1"/>
          </p:cNvSpPr>
          <p:nvPr>
            <p:ph type="ftr" sz="quarter" idx="3"/>
          </p:nvPr>
        </p:nvSpPr>
        <p:spPr/>
        <p:txBody>
          <a:bodyPr/>
          <a:lstStyle/>
          <a:p>
            <a:r>
              <a:rPr lang="nl-NL" dirty="0"/>
              <a:t>Bron: Goudappel Coffeng, ‘Verkenning Landschap Sociaal Vervoer 2020’ (24 april 2020); website Publiek Vervoer Groningen-Drenthe (geraadpleegd 10 maart 2021)</a:t>
            </a:r>
          </a:p>
        </p:txBody>
      </p:sp>
      <p:sp>
        <p:nvSpPr>
          <p:cNvPr id="6" name="Slide Number Placeholder 5">
            <a:extLst>
              <a:ext uri="{FF2B5EF4-FFF2-40B4-BE49-F238E27FC236}">
                <a16:creationId xmlns:a16="http://schemas.microsoft.com/office/drawing/2014/main" id="{EA5B4AF5-72CF-4819-8135-F522810EB50A}"/>
              </a:ext>
            </a:extLst>
          </p:cNvPr>
          <p:cNvSpPr>
            <a:spLocks noGrp="1"/>
          </p:cNvSpPr>
          <p:nvPr>
            <p:ph type="sldNum" sz="quarter" idx="12"/>
          </p:nvPr>
        </p:nvSpPr>
        <p:spPr/>
        <p:txBody>
          <a:bodyPr/>
          <a:lstStyle/>
          <a:p>
            <a:fld id="{992CD0B2-8AB2-4C6C-8876-E15753662C9B}" type="slidenum">
              <a:rPr lang="nl-NL" smtClean="0"/>
              <a:pPr/>
              <a:t>19</a:t>
            </a:fld>
            <a:endParaRPr lang="nl-NL" dirty="0"/>
          </a:p>
        </p:txBody>
      </p:sp>
      <p:sp>
        <p:nvSpPr>
          <p:cNvPr id="8" name="Title 7">
            <a:extLst>
              <a:ext uri="{FF2B5EF4-FFF2-40B4-BE49-F238E27FC236}">
                <a16:creationId xmlns:a16="http://schemas.microsoft.com/office/drawing/2014/main" id="{4CF772DC-DC31-4B79-9450-0687029A3727}"/>
              </a:ext>
            </a:extLst>
          </p:cNvPr>
          <p:cNvSpPr>
            <a:spLocks noGrp="1"/>
          </p:cNvSpPr>
          <p:nvPr>
            <p:ph type="title"/>
          </p:nvPr>
        </p:nvSpPr>
        <p:spPr>
          <a:xfrm>
            <a:off x="-1" y="265387"/>
            <a:ext cx="12192001" cy="942979"/>
          </a:xfrm>
          <a:solidFill>
            <a:srgbClr val="22777B"/>
          </a:solidFill>
        </p:spPr>
        <p:txBody>
          <a:bodyPr vert="horz" anchor="ctr"/>
          <a:lstStyle/>
          <a:p>
            <a:r>
              <a:rPr lang="nl-NL" dirty="0">
                <a:solidFill>
                  <a:srgbClr val="FFFFFF"/>
                </a:solidFill>
              </a:rPr>
              <a:t>	</a:t>
            </a:r>
          </a:p>
        </p:txBody>
      </p:sp>
      <p:sp>
        <p:nvSpPr>
          <p:cNvPr id="47" name="TextBox 46">
            <a:extLst>
              <a:ext uri="{FF2B5EF4-FFF2-40B4-BE49-F238E27FC236}">
                <a16:creationId xmlns:a16="http://schemas.microsoft.com/office/drawing/2014/main" id="{4716077D-F49C-442C-BDB1-5D321EBE6829}"/>
              </a:ext>
            </a:extLst>
          </p:cNvPr>
          <p:cNvSpPr txBox="1"/>
          <p:nvPr/>
        </p:nvSpPr>
        <p:spPr>
          <a:xfrm>
            <a:off x="658813" y="274425"/>
            <a:ext cx="6724448" cy="230832"/>
          </a:xfrm>
          <a:prstGeom prst="rect">
            <a:avLst/>
          </a:prstGeom>
          <a:noFill/>
        </p:spPr>
        <p:txBody>
          <a:bodyPr wrap="square">
            <a:spAutoFit/>
          </a:bodyPr>
          <a:lstStyle/>
          <a:p>
            <a:pPr marL="0" indent="0">
              <a:buNone/>
            </a:pPr>
            <a:r>
              <a:rPr lang="nl-NL" sz="1000" b="1">
                <a:solidFill>
                  <a:srgbClr val="FFFFFF"/>
                </a:solidFill>
              </a:rPr>
              <a:t>Integreren </a:t>
            </a:r>
            <a:r>
              <a:rPr lang="nl-NL" sz="1000" b="1" dirty="0">
                <a:solidFill>
                  <a:srgbClr val="FFFFFF"/>
                </a:solidFill>
              </a:rPr>
              <a:t>voorzieningen in één contract</a:t>
            </a:r>
          </a:p>
        </p:txBody>
      </p:sp>
      <p:sp>
        <p:nvSpPr>
          <p:cNvPr id="48" name="TextBox 47">
            <a:extLst>
              <a:ext uri="{FF2B5EF4-FFF2-40B4-BE49-F238E27FC236}">
                <a16:creationId xmlns:a16="http://schemas.microsoft.com/office/drawing/2014/main" id="{4B8BE3FC-F351-4532-B8C6-69DA96834DD2}"/>
              </a:ext>
            </a:extLst>
          </p:cNvPr>
          <p:cNvSpPr txBox="1"/>
          <p:nvPr/>
        </p:nvSpPr>
        <p:spPr>
          <a:xfrm>
            <a:off x="658813" y="617566"/>
            <a:ext cx="10921582" cy="424732"/>
          </a:xfrm>
          <a:prstGeom prst="rect">
            <a:avLst/>
          </a:prstGeom>
          <a:noFill/>
        </p:spPr>
        <p:txBody>
          <a:bodyPr wrap="square" anchor="ctr">
            <a:spAutoFit/>
          </a:bodyPr>
          <a:lstStyle/>
          <a:p>
            <a:pPr marL="0" indent="0">
              <a:buNone/>
            </a:pPr>
            <a:r>
              <a:rPr lang="nl-NL" sz="2400" b="1" dirty="0">
                <a:solidFill>
                  <a:srgbClr val="FFFFFF"/>
                </a:solidFill>
              </a:rPr>
              <a:t>Het samenvoegen van contracten kan leiden tot meer efficiency</a:t>
            </a:r>
          </a:p>
        </p:txBody>
      </p:sp>
      <p:sp>
        <p:nvSpPr>
          <p:cNvPr id="36" name="Content Placeholder 2">
            <a:extLst>
              <a:ext uri="{FF2B5EF4-FFF2-40B4-BE49-F238E27FC236}">
                <a16:creationId xmlns:a16="http://schemas.microsoft.com/office/drawing/2014/main" id="{34F40592-CFFC-4E10-AAD6-1E03BFD091C8}"/>
              </a:ext>
            </a:extLst>
          </p:cNvPr>
          <p:cNvSpPr txBox="1">
            <a:spLocks/>
          </p:cNvSpPr>
          <p:nvPr/>
        </p:nvSpPr>
        <p:spPr>
          <a:xfrm>
            <a:off x="662780" y="1608766"/>
            <a:ext cx="3634450" cy="1483317"/>
          </a:xfrm>
          <a:prstGeom prst="rect">
            <a:avLst/>
          </a:prstGeom>
          <a:noFill/>
          <a:ln w="19050">
            <a:noFill/>
          </a:ln>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b="1" dirty="0">
                <a:solidFill>
                  <a:srgbClr val="22777B"/>
                </a:solidFill>
              </a:rPr>
              <a:t>In het kort</a:t>
            </a:r>
          </a:p>
        </p:txBody>
      </p:sp>
      <p:sp>
        <p:nvSpPr>
          <p:cNvPr id="37" name="Content Placeholder 2">
            <a:extLst>
              <a:ext uri="{FF2B5EF4-FFF2-40B4-BE49-F238E27FC236}">
                <a16:creationId xmlns:a16="http://schemas.microsoft.com/office/drawing/2014/main" id="{A0EC435A-D3E2-457E-861A-CFBEFFBCFBF2}"/>
              </a:ext>
            </a:extLst>
          </p:cNvPr>
          <p:cNvSpPr txBox="1">
            <a:spLocks/>
          </p:cNvSpPr>
          <p:nvPr/>
        </p:nvSpPr>
        <p:spPr>
          <a:xfrm>
            <a:off x="664829" y="1870859"/>
            <a:ext cx="36000" cy="4428000"/>
          </a:xfrm>
          <a:prstGeom prst="rect">
            <a:avLst/>
          </a:prstGeom>
          <a:solidFill>
            <a:srgbClr val="22777B"/>
          </a:solidFill>
          <a:ln w="9525">
            <a:noFill/>
          </a:ln>
        </p:spPr>
        <p:txBody>
          <a:bodyPr vert="horz" lIns="72000" tIns="72000" rIns="72000" bIns="72000" rtlCol="0">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endParaRPr lang="nl-NL" sz="1000" b="1" dirty="0">
              <a:solidFill>
                <a:srgbClr val="68ABB0"/>
              </a:solidFill>
            </a:endParaRPr>
          </a:p>
        </p:txBody>
      </p:sp>
      <p:sp>
        <p:nvSpPr>
          <p:cNvPr id="38" name="Content Placeholder 2">
            <a:extLst>
              <a:ext uri="{FF2B5EF4-FFF2-40B4-BE49-F238E27FC236}">
                <a16:creationId xmlns:a16="http://schemas.microsoft.com/office/drawing/2014/main" id="{8B7407D1-3BB7-4D9C-9101-57377A6F10EB}"/>
              </a:ext>
            </a:extLst>
          </p:cNvPr>
          <p:cNvSpPr txBox="1">
            <a:spLocks/>
          </p:cNvSpPr>
          <p:nvPr/>
        </p:nvSpPr>
        <p:spPr>
          <a:xfrm>
            <a:off x="742375" y="1870860"/>
            <a:ext cx="4715449" cy="4437865"/>
          </a:xfrm>
          <a:prstGeom prst="rect">
            <a:avLst/>
          </a:prstGeom>
          <a:noFill/>
          <a:ln w="9525">
            <a:noFill/>
          </a:ln>
          <a:extLst>
            <a:ext uri="{909E8E84-426E-40DD-AFC4-6F175D3DCCD1}">
              <a14:hiddenFill xmlns:a14="http://schemas.microsoft.com/office/drawing/2010/main">
                <a:solidFill>
                  <a:srgbClr val="95C5C9">
                    <a:alpha val="10000"/>
                  </a:srgb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sz="1100" dirty="0"/>
              <a:t>In de afgelopen en komende jaren richten meer regio’s zich op het samenvoegen van contracten: </a:t>
            </a:r>
          </a:p>
          <a:p>
            <a:r>
              <a:rPr lang="nl-NL" sz="1100" dirty="0"/>
              <a:t>Zo worden in Rotterdam zeven voorzieningen in één contract gebracht onder de verantwoordelijkheid van de gemeente en is Den Haag van plan het voorbeeld van Rotterdam te volgen </a:t>
            </a:r>
          </a:p>
          <a:p>
            <a:r>
              <a:rPr lang="nl-NL" sz="1100" dirty="0"/>
              <a:t>Tegelijkertijd onderzoeken gemeenten ook de mogelijkheden om contracten voor doelgroepenvervoer met flex-vervoer te integreren, zoals in regio West-Brabant</a:t>
            </a:r>
          </a:p>
          <a:p>
            <a:pPr marL="0" indent="0">
              <a:buFont typeface="Wingdings" panose="05000000000000000000" pitchFamily="2" charset="2"/>
              <a:buNone/>
            </a:pPr>
            <a:r>
              <a:rPr lang="nl-NL" sz="1100" dirty="0"/>
              <a:t>Niet alle contracten kunnen geïntegreerd worden. Sommige regelingen betreffen geen vervoersvoorziening maar vergoeding (bijv. Zittend ziekenvervoer), anderen zijn bij het Rijk belegd (bovenregionaal vervoer).</a:t>
            </a:r>
          </a:p>
        </p:txBody>
      </p:sp>
      <p:sp>
        <p:nvSpPr>
          <p:cNvPr id="32" name="Content Placeholder 2">
            <a:extLst>
              <a:ext uri="{FF2B5EF4-FFF2-40B4-BE49-F238E27FC236}">
                <a16:creationId xmlns:a16="http://schemas.microsoft.com/office/drawing/2014/main" id="{D18AE0A0-36F4-43DA-A290-499518C93621}"/>
              </a:ext>
            </a:extLst>
          </p:cNvPr>
          <p:cNvSpPr txBox="1">
            <a:spLocks/>
          </p:cNvSpPr>
          <p:nvPr/>
        </p:nvSpPr>
        <p:spPr>
          <a:xfrm>
            <a:off x="7296150" y="2230780"/>
            <a:ext cx="4234248" cy="936000"/>
          </a:xfrm>
          <a:prstGeom prst="rect">
            <a:avLst/>
          </a:prstGeom>
          <a:solidFill>
            <a:schemeClr val="accent6">
              <a:lumMod val="95000"/>
            </a:schemeClr>
          </a:solidFill>
          <a:ln w="9525">
            <a:solidFill>
              <a:schemeClr val="bg1">
                <a:lumMod val="75000"/>
              </a:schemeClr>
            </a:solidFill>
          </a:ln>
        </p:spPr>
        <p:txBody>
          <a:bodyPr vert="horz" lIns="72000" tIns="72000" rIns="72000" bIns="72000" rtlCol="0" anchor="ctr">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marR="0" lvl="0" indent="0" algn="l" defTabSz="685800" eaLnBrk="1" fontAlgn="auto" latinLnBrk="0" hangingPunct="1">
              <a:lnSpc>
                <a:spcPct val="100000"/>
              </a:lnSpc>
              <a:spcBef>
                <a:spcPts val="0"/>
              </a:spcBef>
              <a:spcAft>
                <a:spcPts val="0"/>
              </a:spcAft>
              <a:buClr>
                <a:schemeClr val="tx2"/>
              </a:buClr>
              <a:buSzTx/>
              <a:buNone/>
              <a:tabLst/>
              <a:defRPr/>
            </a:pPr>
            <a:r>
              <a:rPr lang="nl-NL" sz="1100" b="1" i="0" dirty="0">
                <a:solidFill>
                  <a:srgbClr val="000000"/>
                </a:solidFill>
              </a:rPr>
              <a:t>Betere grip en zicht </a:t>
            </a:r>
            <a:r>
              <a:rPr lang="nl-NL" sz="1100" b="0" dirty="0">
                <a:solidFill>
                  <a:srgbClr val="000000"/>
                </a:solidFill>
              </a:rPr>
              <a:t>op vervoersaanbod en vraag. Hierdoor kan beter gestuurd worden op vervoerders n.a.v. reizigerswensen en -klachten.</a:t>
            </a:r>
          </a:p>
        </p:txBody>
      </p:sp>
      <p:sp>
        <p:nvSpPr>
          <p:cNvPr id="33" name="Content Placeholder 2">
            <a:extLst>
              <a:ext uri="{FF2B5EF4-FFF2-40B4-BE49-F238E27FC236}">
                <a16:creationId xmlns:a16="http://schemas.microsoft.com/office/drawing/2014/main" id="{CE3C3016-43E1-4908-9A50-12F068A20690}"/>
              </a:ext>
            </a:extLst>
          </p:cNvPr>
          <p:cNvSpPr txBox="1">
            <a:spLocks/>
          </p:cNvSpPr>
          <p:nvPr/>
        </p:nvSpPr>
        <p:spPr>
          <a:xfrm>
            <a:off x="7296150" y="3481692"/>
            <a:ext cx="4234248" cy="936000"/>
          </a:xfrm>
          <a:prstGeom prst="rect">
            <a:avLst/>
          </a:prstGeom>
          <a:solidFill>
            <a:schemeClr val="accent6">
              <a:lumMod val="95000"/>
            </a:schemeClr>
          </a:solidFill>
          <a:ln w="9525">
            <a:solidFill>
              <a:schemeClr val="bg1">
                <a:lumMod val="75000"/>
              </a:schemeClr>
            </a:solidFill>
          </a:ln>
        </p:spPr>
        <p:txBody>
          <a:bodyPr vert="horz" lIns="72000" tIns="72000" rIns="72000" bIns="72000" rtlCol="0" anchor="ctr">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l">
              <a:buClr>
                <a:schemeClr val="tx2"/>
              </a:buClr>
              <a:buNone/>
            </a:pPr>
            <a:r>
              <a:rPr lang="nl-NL" sz="1100" b="1" i="0" dirty="0">
                <a:solidFill>
                  <a:srgbClr val="000000"/>
                </a:solidFill>
              </a:rPr>
              <a:t>Efficiency </a:t>
            </a:r>
            <a:r>
              <a:rPr lang="nl-NL" sz="1100" b="0" i="0" dirty="0">
                <a:solidFill>
                  <a:srgbClr val="000000"/>
                </a:solidFill>
              </a:rPr>
              <a:t>door het uitwisselen van voertuigen van </a:t>
            </a:r>
            <a:r>
              <a:rPr lang="nl-NL" sz="1100" b="0" i="0" kern="1200" dirty="0">
                <a:solidFill>
                  <a:srgbClr val="000000"/>
                </a:solidFill>
                <a:latin typeface="+mn-lt"/>
              </a:rPr>
              <a:t>verschillende vervoersvoorzieningen en/of zelfs bundelen van ritten. </a:t>
            </a:r>
          </a:p>
        </p:txBody>
      </p:sp>
      <p:sp>
        <p:nvSpPr>
          <p:cNvPr id="34" name="Content Placeholder 2">
            <a:extLst>
              <a:ext uri="{FF2B5EF4-FFF2-40B4-BE49-F238E27FC236}">
                <a16:creationId xmlns:a16="http://schemas.microsoft.com/office/drawing/2014/main" id="{627CCA55-0CEB-43F1-B6AC-557FC9EFB8F8}"/>
              </a:ext>
            </a:extLst>
          </p:cNvPr>
          <p:cNvSpPr txBox="1">
            <a:spLocks/>
          </p:cNvSpPr>
          <p:nvPr/>
        </p:nvSpPr>
        <p:spPr>
          <a:xfrm>
            <a:off x="7296150" y="4732603"/>
            <a:ext cx="4234248" cy="936000"/>
          </a:xfrm>
          <a:prstGeom prst="rect">
            <a:avLst/>
          </a:prstGeom>
          <a:solidFill>
            <a:schemeClr val="accent6">
              <a:lumMod val="95000"/>
            </a:schemeClr>
          </a:solidFill>
          <a:ln w="9525">
            <a:solidFill>
              <a:schemeClr val="bg1">
                <a:lumMod val="75000"/>
              </a:schemeClr>
            </a:solidFill>
          </a:ln>
        </p:spPr>
        <p:txBody>
          <a:bodyPr vert="horz" lIns="72000" tIns="72000" rIns="72000" bIns="72000" rtlCol="0" anchor="ctr">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Clr>
                <a:schemeClr val="tx2"/>
              </a:buClr>
              <a:buNone/>
            </a:pPr>
            <a:r>
              <a:rPr lang="nl-NL" sz="1100" b="1" i="0" kern="1200" dirty="0">
                <a:solidFill>
                  <a:srgbClr val="000000"/>
                </a:solidFill>
                <a:latin typeface="+mn-lt"/>
                <a:ea typeface="+mn-ea"/>
                <a:cs typeface="+mn-cs"/>
              </a:rPr>
              <a:t>Centreren van verantwoordelijkheid</a:t>
            </a:r>
            <a:r>
              <a:rPr lang="nl-NL" sz="1100" b="0" i="0" kern="1200" dirty="0">
                <a:solidFill>
                  <a:srgbClr val="000000"/>
                </a:solidFill>
                <a:latin typeface="+mn-lt"/>
                <a:ea typeface="+mn-ea"/>
                <a:cs typeface="+mn-cs"/>
              </a:rPr>
              <a:t>: in het geval van vervoer naar dagbesteding geldt dat momenteel zorgaanbieders vaak verantwoordelijk zijn voor vervoer van hun cliënten. Door de taak bij gemeenten te beleggen kunnen zorgaanbieders zich concentreren op hun kerntaak, namelijk de zorg. </a:t>
            </a:r>
            <a:endParaRPr lang="nl-NL" sz="1100" b="1" i="0" kern="1200" dirty="0">
              <a:solidFill>
                <a:srgbClr val="000000"/>
              </a:solidFill>
              <a:latin typeface="+mn-lt"/>
              <a:ea typeface="+mn-ea"/>
              <a:cs typeface="+mn-cs"/>
            </a:endParaRPr>
          </a:p>
        </p:txBody>
      </p:sp>
      <p:grpSp>
        <p:nvGrpSpPr>
          <p:cNvPr id="100" name="Group 99">
            <a:extLst>
              <a:ext uri="{FF2B5EF4-FFF2-40B4-BE49-F238E27FC236}">
                <a16:creationId xmlns:a16="http://schemas.microsoft.com/office/drawing/2014/main" id="{F456433C-21C8-443D-B32E-BF60C999569A}"/>
              </a:ext>
            </a:extLst>
          </p:cNvPr>
          <p:cNvGrpSpPr/>
          <p:nvPr/>
        </p:nvGrpSpPr>
        <p:grpSpPr>
          <a:xfrm>
            <a:off x="6099607" y="3481692"/>
            <a:ext cx="936000" cy="936000"/>
            <a:chOff x="5119066" y="3537502"/>
            <a:chExt cx="936000" cy="936000"/>
          </a:xfrm>
        </p:grpSpPr>
        <p:sp>
          <p:nvSpPr>
            <p:cNvPr id="76" name="Content Placeholder 2">
              <a:extLst>
                <a:ext uri="{FF2B5EF4-FFF2-40B4-BE49-F238E27FC236}">
                  <a16:creationId xmlns:a16="http://schemas.microsoft.com/office/drawing/2014/main" id="{0B213D58-9607-4233-85B3-19E932A14EC1}"/>
                </a:ext>
              </a:extLst>
            </p:cNvPr>
            <p:cNvSpPr txBox="1">
              <a:spLocks/>
            </p:cNvSpPr>
            <p:nvPr/>
          </p:nvSpPr>
          <p:spPr>
            <a:xfrm>
              <a:off x="5119066" y="3537502"/>
              <a:ext cx="936000" cy="936000"/>
            </a:xfrm>
            <a:prstGeom prst="rect">
              <a:avLst/>
            </a:prstGeom>
            <a:solidFill>
              <a:srgbClr val="22777B"/>
            </a:solidFill>
            <a:ln w="9525">
              <a:noFill/>
            </a:ln>
            <a:extLst>
              <a:ext uri="{91240B29-F687-4F45-9708-019B960494DF}">
                <a14:hiddenLine xmlns:a14="http://schemas.microsoft.com/office/drawing/2010/main" w="9525">
                  <a:solidFill>
                    <a:schemeClr val="bg1">
                      <a:lumMod val="50000"/>
                    </a:schemeClr>
                  </a:solidFill>
                </a14:hiddenLine>
              </a:ext>
            </a:extLst>
          </p:spPr>
          <p:txBody>
            <a:bodyPr vert="horz" lIns="72000" tIns="72000" rIns="72000" bIns="72000" rtlCol="0" anchor="b">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marR="0" lvl="0" indent="0" algn="ctr" defTabSz="685800" eaLnBrk="1" fontAlgn="auto" latinLnBrk="0" hangingPunct="1">
                <a:lnSpc>
                  <a:spcPct val="100000"/>
                </a:lnSpc>
                <a:spcBef>
                  <a:spcPts val="0"/>
                </a:spcBef>
                <a:spcAft>
                  <a:spcPts val="0"/>
                </a:spcAft>
                <a:buClr>
                  <a:schemeClr val="tx2"/>
                </a:buClr>
                <a:buSzTx/>
                <a:buNone/>
                <a:tabLst/>
                <a:defRPr/>
              </a:pPr>
              <a:r>
                <a:rPr lang="nl-NL" sz="1100" b="1" dirty="0">
                  <a:solidFill>
                    <a:srgbClr val="FFFFFF"/>
                  </a:solidFill>
                </a:rPr>
                <a:t>Voordelen</a:t>
              </a:r>
            </a:p>
          </p:txBody>
        </p:sp>
        <p:grpSp>
          <p:nvGrpSpPr>
            <p:cNvPr id="75" name="Group 74">
              <a:extLst>
                <a:ext uri="{FF2B5EF4-FFF2-40B4-BE49-F238E27FC236}">
                  <a16:creationId xmlns:a16="http://schemas.microsoft.com/office/drawing/2014/main" id="{2499C306-96B6-41F1-BA6D-BA326CDE472D}"/>
                </a:ext>
              </a:extLst>
            </p:cNvPr>
            <p:cNvGrpSpPr/>
            <p:nvPr/>
          </p:nvGrpSpPr>
          <p:grpSpPr>
            <a:xfrm>
              <a:off x="5327044" y="3728621"/>
              <a:ext cx="520044" cy="477562"/>
              <a:chOff x="5911331" y="2440135"/>
              <a:chExt cx="520044" cy="477562"/>
            </a:xfrm>
          </p:grpSpPr>
          <p:pic>
            <p:nvPicPr>
              <p:cNvPr id="73" name="Graphic 72" descr="Contract with solid fill">
                <a:extLst>
                  <a:ext uri="{FF2B5EF4-FFF2-40B4-BE49-F238E27FC236}">
                    <a16:creationId xmlns:a16="http://schemas.microsoft.com/office/drawing/2014/main" id="{95147BF4-0EE3-4272-BCEC-E68055922C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0664254">
                <a:off x="5911331" y="2440135"/>
                <a:ext cx="477562" cy="477562"/>
              </a:xfrm>
              <a:prstGeom prst="rect">
                <a:avLst/>
              </a:prstGeom>
            </p:spPr>
          </p:pic>
          <p:pic>
            <p:nvPicPr>
              <p:cNvPr id="74" name="Graphic 73" descr="Pen with solid fill">
                <a:extLst>
                  <a:ext uri="{FF2B5EF4-FFF2-40B4-BE49-F238E27FC236}">
                    <a16:creationId xmlns:a16="http://schemas.microsoft.com/office/drawing/2014/main" id="{625F10F9-E3DD-4452-8689-2DEC12F242AB}"/>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177982" y="2492587"/>
                <a:ext cx="253393" cy="253392"/>
              </a:xfrm>
              <a:prstGeom prst="rect">
                <a:avLst/>
              </a:prstGeom>
            </p:spPr>
          </p:pic>
        </p:grpSp>
      </p:grpSp>
      <p:cxnSp>
        <p:nvCxnSpPr>
          <p:cNvPr id="80" name="Connector: Elbow 79">
            <a:extLst>
              <a:ext uri="{FF2B5EF4-FFF2-40B4-BE49-F238E27FC236}">
                <a16:creationId xmlns:a16="http://schemas.microsoft.com/office/drawing/2014/main" id="{DB3C7BFE-0814-4C9A-8620-54816213AE4B}"/>
              </a:ext>
            </a:extLst>
          </p:cNvPr>
          <p:cNvCxnSpPr>
            <a:stCxn id="76" idx="3"/>
            <a:endCxn id="32" idx="1"/>
          </p:cNvCxnSpPr>
          <p:nvPr/>
        </p:nvCxnSpPr>
        <p:spPr>
          <a:xfrm flipV="1">
            <a:off x="7035607" y="2698780"/>
            <a:ext cx="260543" cy="1250912"/>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1" name="Connector: Elbow 80">
            <a:extLst>
              <a:ext uri="{FF2B5EF4-FFF2-40B4-BE49-F238E27FC236}">
                <a16:creationId xmlns:a16="http://schemas.microsoft.com/office/drawing/2014/main" id="{1894E069-4542-4E23-9F1E-010DE758E075}"/>
              </a:ext>
            </a:extLst>
          </p:cNvPr>
          <p:cNvCxnSpPr>
            <a:cxnSpLocks/>
            <a:stCxn id="76" idx="3"/>
            <a:endCxn id="34" idx="1"/>
          </p:cNvCxnSpPr>
          <p:nvPr/>
        </p:nvCxnSpPr>
        <p:spPr>
          <a:xfrm>
            <a:off x="7035607" y="3949692"/>
            <a:ext cx="260543" cy="1250911"/>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F6A764D-5A7B-4D6D-85B7-0578B415844A}"/>
              </a:ext>
            </a:extLst>
          </p:cNvPr>
          <p:cNvCxnSpPr>
            <a:stCxn id="76" idx="3"/>
            <a:endCxn id="33" idx="1"/>
          </p:cNvCxnSpPr>
          <p:nvPr/>
        </p:nvCxnSpPr>
        <p:spPr>
          <a:xfrm>
            <a:off x="7035607" y="3949692"/>
            <a:ext cx="26054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F988E453-FD96-4B8B-A6A3-5FA1D4D5E852}"/>
              </a:ext>
            </a:extLst>
          </p:cNvPr>
          <p:cNvSpPr/>
          <p:nvPr/>
        </p:nvSpPr>
        <p:spPr>
          <a:xfrm>
            <a:off x="856089" y="4062066"/>
            <a:ext cx="2666883" cy="1930953"/>
          </a:xfrm>
          <a:prstGeom prst="rect">
            <a:avLst/>
          </a:prstGeom>
          <a:solidFill>
            <a:schemeClr val="accent6">
              <a:lumMod val="95000"/>
            </a:schemeClr>
          </a:solidFill>
          <a:ln>
            <a:solidFill>
              <a:schemeClr val="bg1">
                <a:lumMod val="75000"/>
              </a:schemeClr>
            </a:solidFill>
          </a:ln>
        </p:spPr>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nSpc>
                <a:spcPct val="150000"/>
              </a:lnSpc>
              <a:buClr>
                <a:schemeClr val="accent6">
                  <a:lumMod val="95000"/>
                </a:schemeClr>
              </a:buClr>
            </a:pPr>
            <a:r>
              <a:rPr kumimoji="0" lang="nl-NL" sz="1100" b="0" i="0" u="none" strike="noStrike" kern="1200" cap="none" spc="0" normalizeH="0" baseline="0" noProof="0" dirty="0">
                <a:ln>
                  <a:noFill/>
                </a:ln>
                <a:effectLst/>
                <a:uLnTx/>
                <a:uFillTx/>
                <a:latin typeface="Corbel" panose="020B0503020204020204" pitchFamily="34" charset="0"/>
                <a:ea typeface="+mn-ea"/>
                <a:cs typeface="+mn-cs"/>
              </a:rPr>
              <a:t>Collectief Wmo-vervoer</a:t>
            </a:r>
          </a:p>
          <a:p>
            <a:pPr>
              <a:lnSpc>
                <a:spcPct val="150000"/>
              </a:lnSpc>
              <a:buClr>
                <a:schemeClr val="accent6">
                  <a:lumMod val="95000"/>
                </a:schemeClr>
              </a:buClr>
            </a:pPr>
            <a:r>
              <a:rPr lang="nl-NL" sz="1100" dirty="0"/>
              <a:t>Beschermd vervoer</a:t>
            </a:r>
          </a:p>
          <a:p>
            <a:pPr>
              <a:lnSpc>
                <a:spcPct val="150000"/>
              </a:lnSpc>
              <a:buClr>
                <a:schemeClr val="accent6">
                  <a:lumMod val="95000"/>
                </a:schemeClr>
              </a:buClr>
            </a:pPr>
            <a:r>
              <a:rPr kumimoji="0" lang="nl-NL" sz="1100" b="0" i="0" u="none" strike="noStrike" kern="1200" cap="none" spc="0" normalizeH="0" baseline="0" noProof="0" dirty="0">
                <a:ln>
                  <a:noFill/>
                </a:ln>
                <a:effectLst/>
                <a:uLnTx/>
                <a:uFillTx/>
                <a:latin typeface="Corbel" panose="020B0503020204020204" pitchFamily="34" charset="0"/>
                <a:ea typeface="+mn-ea"/>
                <a:cs typeface="+mn-cs"/>
              </a:rPr>
              <a:t>Leerlingenvervoer</a:t>
            </a:r>
          </a:p>
          <a:p>
            <a:pPr>
              <a:lnSpc>
                <a:spcPct val="150000"/>
              </a:lnSpc>
              <a:buClr>
                <a:schemeClr val="accent6">
                  <a:lumMod val="95000"/>
                </a:schemeClr>
              </a:buClr>
            </a:pPr>
            <a:r>
              <a:rPr lang="nl-NL" sz="1100" dirty="0"/>
              <a:t>Vervoer specialistische jeugdhulp</a:t>
            </a:r>
          </a:p>
          <a:p>
            <a:pPr>
              <a:lnSpc>
                <a:spcPct val="150000"/>
              </a:lnSpc>
              <a:buClr>
                <a:schemeClr val="accent6">
                  <a:lumMod val="95000"/>
                </a:schemeClr>
              </a:buClr>
            </a:pPr>
            <a:r>
              <a:rPr kumimoji="0" lang="nl-NL" sz="1100" b="0" i="0" u="none" strike="noStrike" kern="1200" cap="none" spc="0" normalizeH="0" baseline="0" noProof="0" dirty="0">
                <a:ln>
                  <a:noFill/>
                </a:ln>
                <a:effectLst/>
                <a:uLnTx/>
                <a:uFillTx/>
                <a:latin typeface="Corbel" panose="020B0503020204020204" pitchFamily="34" charset="0"/>
                <a:ea typeface="+mn-ea"/>
                <a:cs typeface="+mn-cs"/>
              </a:rPr>
              <a:t>Overig vervoer (bijv. schoolzwemmen)</a:t>
            </a:r>
          </a:p>
          <a:p>
            <a:pPr>
              <a:lnSpc>
                <a:spcPct val="150000"/>
              </a:lnSpc>
              <a:buClr>
                <a:schemeClr val="accent6">
                  <a:lumMod val="95000"/>
                </a:schemeClr>
              </a:buClr>
            </a:pPr>
            <a:r>
              <a:rPr kumimoji="0" lang="nl-NL" sz="1100" b="0" i="0" u="none" strike="noStrike" kern="1200" cap="none" spc="0" normalizeH="0" baseline="0" noProof="0" dirty="0">
                <a:ln>
                  <a:noFill/>
                </a:ln>
                <a:effectLst/>
                <a:uLnTx/>
                <a:uFillTx/>
                <a:latin typeface="Corbel" panose="020B0503020204020204" pitchFamily="34" charset="0"/>
                <a:ea typeface="+mn-ea"/>
                <a:cs typeface="+mn-cs"/>
              </a:rPr>
              <a:t>Vervoer dagbesteding/behandeling</a:t>
            </a:r>
          </a:p>
        </p:txBody>
      </p:sp>
      <p:sp>
        <p:nvSpPr>
          <p:cNvPr id="106" name="Freeform: Shape 105">
            <a:extLst>
              <a:ext uri="{FF2B5EF4-FFF2-40B4-BE49-F238E27FC236}">
                <a16:creationId xmlns:a16="http://schemas.microsoft.com/office/drawing/2014/main" id="{ECF51822-1BDD-4B4B-8E99-CC1AFE44BB9C}"/>
              </a:ext>
            </a:extLst>
          </p:cNvPr>
          <p:cNvSpPr/>
          <p:nvPr/>
        </p:nvSpPr>
        <p:spPr>
          <a:xfrm rot="8045">
            <a:off x="933533" y="4234362"/>
            <a:ext cx="120822" cy="92097"/>
          </a:xfrm>
          <a:custGeom>
            <a:avLst/>
            <a:gdLst>
              <a:gd name="connsiteX0" fmla="*/ 120823 w 120822"/>
              <a:gd name="connsiteY0" fmla="*/ 14672 h 92097"/>
              <a:gd name="connsiteX1" fmla="*/ 106441 w 120822"/>
              <a:gd name="connsiteY1" fmla="*/ 0 h 92097"/>
              <a:gd name="connsiteX2" fmla="*/ 41955 w 120822"/>
              <a:gd name="connsiteY2" fmla="*/ 63192 h 92097"/>
              <a:gd name="connsiteX3" fmla="*/ 14528 w 120822"/>
              <a:gd name="connsiteY3" fmla="*/ 35765 h 92097"/>
              <a:gd name="connsiteX4" fmla="*/ 0 w 120822"/>
              <a:gd name="connsiteY4" fmla="*/ 50290 h 92097"/>
              <a:gd name="connsiteX5" fmla="*/ 41808 w 120822"/>
              <a:gd name="connsiteY5" fmla="*/ 92098 h 92097"/>
              <a:gd name="connsiteX6" fmla="*/ 120823 w 120822"/>
              <a:gd name="connsiteY6" fmla="*/ 14672 h 92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822" h="92097">
                <a:moveTo>
                  <a:pt x="120823" y="14672"/>
                </a:moveTo>
                <a:lnTo>
                  <a:pt x="106441" y="0"/>
                </a:lnTo>
                <a:lnTo>
                  <a:pt x="41955" y="63192"/>
                </a:lnTo>
                <a:lnTo>
                  <a:pt x="14528" y="35765"/>
                </a:lnTo>
                <a:lnTo>
                  <a:pt x="0" y="50290"/>
                </a:lnTo>
                <a:lnTo>
                  <a:pt x="41808" y="92098"/>
                </a:lnTo>
                <a:lnTo>
                  <a:pt x="120823" y="14672"/>
                </a:lnTo>
                <a:close/>
              </a:path>
            </a:pathLst>
          </a:custGeom>
          <a:solidFill>
            <a:srgbClr val="95C5C9"/>
          </a:solidFill>
          <a:ln w="3373" cap="flat">
            <a:noFill/>
            <a:prstDash val="solid"/>
            <a:miter/>
          </a:ln>
        </p:spPr>
        <p:txBody>
          <a:bodyPr rtlCol="0" anchor="ctr"/>
          <a:lstStyle/>
          <a:p>
            <a:endParaRPr lang="nl-NL" dirty="0"/>
          </a:p>
        </p:txBody>
      </p:sp>
      <p:sp>
        <p:nvSpPr>
          <p:cNvPr id="114" name="Freeform: Shape 113">
            <a:extLst>
              <a:ext uri="{FF2B5EF4-FFF2-40B4-BE49-F238E27FC236}">
                <a16:creationId xmlns:a16="http://schemas.microsoft.com/office/drawing/2014/main" id="{C62ED7E1-D4C5-4A56-BD3A-D0421A83CA4C}"/>
              </a:ext>
            </a:extLst>
          </p:cNvPr>
          <p:cNvSpPr/>
          <p:nvPr/>
        </p:nvSpPr>
        <p:spPr>
          <a:xfrm rot="8045">
            <a:off x="933533" y="4537300"/>
            <a:ext cx="120822" cy="92097"/>
          </a:xfrm>
          <a:custGeom>
            <a:avLst/>
            <a:gdLst>
              <a:gd name="connsiteX0" fmla="*/ 120823 w 120822"/>
              <a:gd name="connsiteY0" fmla="*/ 14672 h 92097"/>
              <a:gd name="connsiteX1" fmla="*/ 106441 w 120822"/>
              <a:gd name="connsiteY1" fmla="*/ 0 h 92097"/>
              <a:gd name="connsiteX2" fmla="*/ 41955 w 120822"/>
              <a:gd name="connsiteY2" fmla="*/ 63192 h 92097"/>
              <a:gd name="connsiteX3" fmla="*/ 14528 w 120822"/>
              <a:gd name="connsiteY3" fmla="*/ 35765 h 92097"/>
              <a:gd name="connsiteX4" fmla="*/ 0 w 120822"/>
              <a:gd name="connsiteY4" fmla="*/ 50290 h 92097"/>
              <a:gd name="connsiteX5" fmla="*/ 41808 w 120822"/>
              <a:gd name="connsiteY5" fmla="*/ 92098 h 92097"/>
              <a:gd name="connsiteX6" fmla="*/ 120823 w 120822"/>
              <a:gd name="connsiteY6" fmla="*/ 14672 h 92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822" h="92097">
                <a:moveTo>
                  <a:pt x="120823" y="14672"/>
                </a:moveTo>
                <a:lnTo>
                  <a:pt x="106441" y="0"/>
                </a:lnTo>
                <a:lnTo>
                  <a:pt x="41955" y="63192"/>
                </a:lnTo>
                <a:lnTo>
                  <a:pt x="14528" y="35765"/>
                </a:lnTo>
                <a:lnTo>
                  <a:pt x="0" y="50290"/>
                </a:lnTo>
                <a:lnTo>
                  <a:pt x="41808" y="92098"/>
                </a:lnTo>
                <a:lnTo>
                  <a:pt x="120823" y="14672"/>
                </a:lnTo>
                <a:close/>
              </a:path>
            </a:pathLst>
          </a:custGeom>
          <a:solidFill>
            <a:srgbClr val="95C5C9"/>
          </a:solidFill>
          <a:ln w="3373" cap="flat">
            <a:noFill/>
            <a:prstDash val="solid"/>
            <a:miter/>
          </a:ln>
        </p:spPr>
        <p:txBody>
          <a:bodyPr rtlCol="0" anchor="ctr"/>
          <a:lstStyle/>
          <a:p>
            <a:endParaRPr lang="nl-NL" dirty="0"/>
          </a:p>
        </p:txBody>
      </p:sp>
      <p:sp>
        <p:nvSpPr>
          <p:cNvPr id="115" name="Freeform: Shape 114">
            <a:extLst>
              <a:ext uri="{FF2B5EF4-FFF2-40B4-BE49-F238E27FC236}">
                <a16:creationId xmlns:a16="http://schemas.microsoft.com/office/drawing/2014/main" id="{C4A8E23E-C589-480C-ADAA-41D12B4699A3}"/>
              </a:ext>
            </a:extLst>
          </p:cNvPr>
          <p:cNvSpPr/>
          <p:nvPr/>
        </p:nvSpPr>
        <p:spPr>
          <a:xfrm rot="8045">
            <a:off x="933533" y="4840238"/>
            <a:ext cx="120822" cy="92097"/>
          </a:xfrm>
          <a:custGeom>
            <a:avLst/>
            <a:gdLst>
              <a:gd name="connsiteX0" fmla="*/ 120823 w 120822"/>
              <a:gd name="connsiteY0" fmla="*/ 14672 h 92097"/>
              <a:gd name="connsiteX1" fmla="*/ 106441 w 120822"/>
              <a:gd name="connsiteY1" fmla="*/ 0 h 92097"/>
              <a:gd name="connsiteX2" fmla="*/ 41955 w 120822"/>
              <a:gd name="connsiteY2" fmla="*/ 63192 h 92097"/>
              <a:gd name="connsiteX3" fmla="*/ 14528 w 120822"/>
              <a:gd name="connsiteY3" fmla="*/ 35765 h 92097"/>
              <a:gd name="connsiteX4" fmla="*/ 0 w 120822"/>
              <a:gd name="connsiteY4" fmla="*/ 50290 h 92097"/>
              <a:gd name="connsiteX5" fmla="*/ 41808 w 120822"/>
              <a:gd name="connsiteY5" fmla="*/ 92098 h 92097"/>
              <a:gd name="connsiteX6" fmla="*/ 120823 w 120822"/>
              <a:gd name="connsiteY6" fmla="*/ 14672 h 92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822" h="92097">
                <a:moveTo>
                  <a:pt x="120823" y="14672"/>
                </a:moveTo>
                <a:lnTo>
                  <a:pt x="106441" y="0"/>
                </a:lnTo>
                <a:lnTo>
                  <a:pt x="41955" y="63192"/>
                </a:lnTo>
                <a:lnTo>
                  <a:pt x="14528" y="35765"/>
                </a:lnTo>
                <a:lnTo>
                  <a:pt x="0" y="50290"/>
                </a:lnTo>
                <a:lnTo>
                  <a:pt x="41808" y="92098"/>
                </a:lnTo>
                <a:lnTo>
                  <a:pt x="120823" y="14672"/>
                </a:lnTo>
                <a:close/>
              </a:path>
            </a:pathLst>
          </a:custGeom>
          <a:solidFill>
            <a:srgbClr val="95C5C9"/>
          </a:solidFill>
          <a:ln w="3373" cap="flat">
            <a:noFill/>
            <a:prstDash val="solid"/>
            <a:miter/>
          </a:ln>
        </p:spPr>
        <p:txBody>
          <a:bodyPr rtlCol="0" anchor="ctr"/>
          <a:lstStyle/>
          <a:p>
            <a:endParaRPr lang="nl-NL" dirty="0"/>
          </a:p>
        </p:txBody>
      </p:sp>
      <p:sp>
        <p:nvSpPr>
          <p:cNvPr id="116" name="Freeform: Shape 115">
            <a:extLst>
              <a:ext uri="{FF2B5EF4-FFF2-40B4-BE49-F238E27FC236}">
                <a16:creationId xmlns:a16="http://schemas.microsoft.com/office/drawing/2014/main" id="{E06129A1-DCDA-419F-AC2F-B03A2671C947}"/>
              </a:ext>
            </a:extLst>
          </p:cNvPr>
          <p:cNvSpPr/>
          <p:nvPr/>
        </p:nvSpPr>
        <p:spPr>
          <a:xfrm rot="8045">
            <a:off x="933533" y="5143176"/>
            <a:ext cx="120822" cy="92097"/>
          </a:xfrm>
          <a:custGeom>
            <a:avLst/>
            <a:gdLst>
              <a:gd name="connsiteX0" fmla="*/ 120823 w 120822"/>
              <a:gd name="connsiteY0" fmla="*/ 14672 h 92097"/>
              <a:gd name="connsiteX1" fmla="*/ 106441 w 120822"/>
              <a:gd name="connsiteY1" fmla="*/ 0 h 92097"/>
              <a:gd name="connsiteX2" fmla="*/ 41955 w 120822"/>
              <a:gd name="connsiteY2" fmla="*/ 63192 h 92097"/>
              <a:gd name="connsiteX3" fmla="*/ 14528 w 120822"/>
              <a:gd name="connsiteY3" fmla="*/ 35765 h 92097"/>
              <a:gd name="connsiteX4" fmla="*/ 0 w 120822"/>
              <a:gd name="connsiteY4" fmla="*/ 50290 h 92097"/>
              <a:gd name="connsiteX5" fmla="*/ 41808 w 120822"/>
              <a:gd name="connsiteY5" fmla="*/ 92098 h 92097"/>
              <a:gd name="connsiteX6" fmla="*/ 120823 w 120822"/>
              <a:gd name="connsiteY6" fmla="*/ 14672 h 92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822" h="92097">
                <a:moveTo>
                  <a:pt x="120823" y="14672"/>
                </a:moveTo>
                <a:lnTo>
                  <a:pt x="106441" y="0"/>
                </a:lnTo>
                <a:lnTo>
                  <a:pt x="41955" y="63192"/>
                </a:lnTo>
                <a:lnTo>
                  <a:pt x="14528" y="35765"/>
                </a:lnTo>
                <a:lnTo>
                  <a:pt x="0" y="50290"/>
                </a:lnTo>
                <a:lnTo>
                  <a:pt x="41808" y="92098"/>
                </a:lnTo>
                <a:lnTo>
                  <a:pt x="120823" y="14672"/>
                </a:lnTo>
                <a:close/>
              </a:path>
            </a:pathLst>
          </a:custGeom>
          <a:solidFill>
            <a:srgbClr val="95C5C9"/>
          </a:solidFill>
          <a:ln w="3373" cap="flat">
            <a:noFill/>
            <a:prstDash val="solid"/>
            <a:miter/>
          </a:ln>
        </p:spPr>
        <p:txBody>
          <a:bodyPr rtlCol="0" anchor="ctr"/>
          <a:lstStyle/>
          <a:p>
            <a:endParaRPr lang="nl-NL" dirty="0"/>
          </a:p>
        </p:txBody>
      </p:sp>
      <p:sp>
        <p:nvSpPr>
          <p:cNvPr id="117" name="Freeform: Shape 116">
            <a:extLst>
              <a:ext uri="{FF2B5EF4-FFF2-40B4-BE49-F238E27FC236}">
                <a16:creationId xmlns:a16="http://schemas.microsoft.com/office/drawing/2014/main" id="{752F0BD5-8FEE-4616-8DE3-7A3074A77177}"/>
              </a:ext>
            </a:extLst>
          </p:cNvPr>
          <p:cNvSpPr/>
          <p:nvPr/>
        </p:nvSpPr>
        <p:spPr>
          <a:xfrm rot="8045">
            <a:off x="933533" y="5446114"/>
            <a:ext cx="120822" cy="92097"/>
          </a:xfrm>
          <a:custGeom>
            <a:avLst/>
            <a:gdLst>
              <a:gd name="connsiteX0" fmla="*/ 120823 w 120822"/>
              <a:gd name="connsiteY0" fmla="*/ 14672 h 92097"/>
              <a:gd name="connsiteX1" fmla="*/ 106441 w 120822"/>
              <a:gd name="connsiteY1" fmla="*/ 0 h 92097"/>
              <a:gd name="connsiteX2" fmla="*/ 41955 w 120822"/>
              <a:gd name="connsiteY2" fmla="*/ 63192 h 92097"/>
              <a:gd name="connsiteX3" fmla="*/ 14528 w 120822"/>
              <a:gd name="connsiteY3" fmla="*/ 35765 h 92097"/>
              <a:gd name="connsiteX4" fmla="*/ 0 w 120822"/>
              <a:gd name="connsiteY4" fmla="*/ 50290 h 92097"/>
              <a:gd name="connsiteX5" fmla="*/ 41808 w 120822"/>
              <a:gd name="connsiteY5" fmla="*/ 92098 h 92097"/>
              <a:gd name="connsiteX6" fmla="*/ 120823 w 120822"/>
              <a:gd name="connsiteY6" fmla="*/ 14672 h 92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822" h="92097">
                <a:moveTo>
                  <a:pt x="120823" y="14672"/>
                </a:moveTo>
                <a:lnTo>
                  <a:pt x="106441" y="0"/>
                </a:lnTo>
                <a:lnTo>
                  <a:pt x="41955" y="63192"/>
                </a:lnTo>
                <a:lnTo>
                  <a:pt x="14528" y="35765"/>
                </a:lnTo>
                <a:lnTo>
                  <a:pt x="0" y="50290"/>
                </a:lnTo>
                <a:lnTo>
                  <a:pt x="41808" y="92098"/>
                </a:lnTo>
                <a:lnTo>
                  <a:pt x="120823" y="14672"/>
                </a:lnTo>
                <a:close/>
              </a:path>
            </a:pathLst>
          </a:custGeom>
          <a:solidFill>
            <a:srgbClr val="95C5C9"/>
          </a:solidFill>
          <a:ln w="3373" cap="flat">
            <a:noFill/>
            <a:prstDash val="solid"/>
            <a:miter/>
          </a:ln>
        </p:spPr>
        <p:txBody>
          <a:bodyPr rtlCol="0" anchor="ctr"/>
          <a:lstStyle/>
          <a:p>
            <a:endParaRPr lang="nl-NL" dirty="0"/>
          </a:p>
        </p:txBody>
      </p:sp>
      <p:sp>
        <p:nvSpPr>
          <p:cNvPr id="118" name="Freeform: Shape 117">
            <a:extLst>
              <a:ext uri="{FF2B5EF4-FFF2-40B4-BE49-F238E27FC236}">
                <a16:creationId xmlns:a16="http://schemas.microsoft.com/office/drawing/2014/main" id="{F1E507F1-6949-475D-8F79-1E3D95411EE7}"/>
              </a:ext>
            </a:extLst>
          </p:cNvPr>
          <p:cNvSpPr/>
          <p:nvPr/>
        </p:nvSpPr>
        <p:spPr>
          <a:xfrm rot="8045">
            <a:off x="933533" y="5749053"/>
            <a:ext cx="120822" cy="92097"/>
          </a:xfrm>
          <a:custGeom>
            <a:avLst/>
            <a:gdLst>
              <a:gd name="connsiteX0" fmla="*/ 120823 w 120822"/>
              <a:gd name="connsiteY0" fmla="*/ 14672 h 92097"/>
              <a:gd name="connsiteX1" fmla="*/ 106441 w 120822"/>
              <a:gd name="connsiteY1" fmla="*/ 0 h 92097"/>
              <a:gd name="connsiteX2" fmla="*/ 41955 w 120822"/>
              <a:gd name="connsiteY2" fmla="*/ 63192 h 92097"/>
              <a:gd name="connsiteX3" fmla="*/ 14528 w 120822"/>
              <a:gd name="connsiteY3" fmla="*/ 35765 h 92097"/>
              <a:gd name="connsiteX4" fmla="*/ 0 w 120822"/>
              <a:gd name="connsiteY4" fmla="*/ 50290 h 92097"/>
              <a:gd name="connsiteX5" fmla="*/ 41808 w 120822"/>
              <a:gd name="connsiteY5" fmla="*/ 92098 h 92097"/>
              <a:gd name="connsiteX6" fmla="*/ 120823 w 120822"/>
              <a:gd name="connsiteY6" fmla="*/ 14672 h 92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822" h="92097">
                <a:moveTo>
                  <a:pt x="120823" y="14672"/>
                </a:moveTo>
                <a:lnTo>
                  <a:pt x="106441" y="0"/>
                </a:lnTo>
                <a:lnTo>
                  <a:pt x="41955" y="63192"/>
                </a:lnTo>
                <a:lnTo>
                  <a:pt x="14528" y="35765"/>
                </a:lnTo>
                <a:lnTo>
                  <a:pt x="0" y="50290"/>
                </a:lnTo>
                <a:lnTo>
                  <a:pt x="41808" y="92098"/>
                </a:lnTo>
                <a:lnTo>
                  <a:pt x="120823" y="14672"/>
                </a:lnTo>
                <a:close/>
              </a:path>
            </a:pathLst>
          </a:custGeom>
          <a:solidFill>
            <a:srgbClr val="95C5C9"/>
          </a:solidFill>
          <a:ln w="3373" cap="flat">
            <a:noFill/>
            <a:prstDash val="solid"/>
            <a:miter/>
          </a:ln>
        </p:spPr>
        <p:txBody>
          <a:bodyPr rtlCol="0" anchor="ctr"/>
          <a:lstStyle/>
          <a:p>
            <a:endParaRPr lang="nl-NL" dirty="0"/>
          </a:p>
        </p:txBody>
      </p:sp>
      <p:pic>
        <p:nvPicPr>
          <p:cNvPr id="120" name="Graphic 119" descr="Pen with solid fill">
            <a:extLst>
              <a:ext uri="{FF2B5EF4-FFF2-40B4-BE49-F238E27FC236}">
                <a16:creationId xmlns:a16="http://schemas.microsoft.com/office/drawing/2014/main" id="{E952281E-444D-451A-8018-70093C40945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245302">
            <a:off x="2559708" y="3735142"/>
            <a:ext cx="1182922" cy="1182917"/>
          </a:xfrm>
          <a:prstGeom prst="rect">
            <a:avLst/>
          </a:prstGeom>
        </p:spPr>
      </p:pic>
      <p:cxnSp>
        <p:nvCxnSpPr>
          <p:cNvPr id="136" name="Connector: Curved 135">
            <a:extLst>
              <a:ext uri="{FF2B5EF4-FFF2-40B4-BE49-F238E27FC236}">
                <a16:creationId xmlns:a16="http://schemas.microsoft.com/office/drawing/2014/main" id="{A01BD3A9-C0A6-4FF0-9E57-74024BDC22B6}"/>
              </a:ext>
            </a:extLst>
          </p:cNvPr>
          <p:cNvCxnSpPr>
            <a:cxnSpLocks/>
            <a:stCxn id="141" idx="2"/>
            <a:endCxn id="101" idx="3"/>
          </p:cNvCxnSpPr>
          <p:nvPr/>
        </p:nvCxnSpPr>
        <p:spPr>
          <a:xfrm rot="5400000">
            <a:off x="3804036" y="4434717"/>
            <a:ext cx="311762" cy="873890"/>
          </a:xfrm>
          <a:prstGeom prst="curvedConnector2">
            <a:avLst/>
          </a:prstGeom>
          <a:ln>
            <a:solidFill>
              <a:schemeClr val="tx1">
                <a:lumMod val="75000"/>
                <a:lumOff val="2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A1BC11DE-EE88-4E44-A494-0CD56AEC1AFD}"/>
              </a:ext>
            </a:extLst>
          </p:cNvPr>
          <p:cNvSpPr txBox="1"/>
          <p:nvPr/>
        </p:nvSpPr>
        <p:spPr>
          <a:xfrm rot="993209">
            <a:off x="3771900" y="4308475"/>
            <a:ext cx="1368425" cy="415925"/>
          </a:xfrm>
          <a:prstGeom prst="rect">
            <a:avLst/>
          </a:prstGeom>
        </p:spPr>
        <p:txBody>
          <a:bodyPr vert="horz" wrap="square" lIns="91440" tIns="45720" rIns="91440" bIns="45720" rtlCol="0">
            <a:noAutofit/>
          </a:bodyPr>
          <a:lstStyle/>
          <a:p>
            <a:pPr marL="0" indent="0">
              <a:buNone/>
            </a:pPr>
            <a:r>
              <a:rPr lang="nl-NL" sz="1100" i="1" dirty="0">
                <a:latin typeface="+mj-lt"/>
              </a:rPr>
              <a:t>Voorzieningen die in één contract kunnen</a:t>
            </a:r>
          </a:p>
        </p:txBody>
      </p:sp>
      <p:grpSp>
        <p:nvGrpSpPr>
          <p:cNvPr id="52" name="Group 51">
            <a:extLst>
              <a:ext uri="{FF2B5EF4-FFF2-40B4-BE49-F238E27FC236}">
                <a16:creationId xmlns:a16="http://schemas.microsoft.com/office/drawing/2014/main" id="{C3D0BA2E-2753-4763-B26B-8FC23723D688}"/>
              </a:ext>
            </a:extLst>
          </p:cNvPr>
          <p:cNvGrpSpPr/>
          <p:nvPr/>
        </p:nvGrpSpPr>
        <p:grpSpPr>
          <a:xfrm>
            <a:off x="701659" y="55733"/>
            <a:ext cx="2040807" cy="176387"/>
            <a:chOff x="701659" y="55733"/>
            <a:chExt cx="2040807" cy="176387"/>
          </a:xfrm>
        </p:grpSpPr>
        <p:sp>
          <p:nvSpPr>
            <p:cNvPr id="53" name="Rectangle: Rounded Corners 52">
              <a:extLst>
                <a:ext uri="{FF2B5EF4-FFF2-40B4-BE49-F238E27FC236}">
                  <a16:creationId xmlns:a16="http://schemas.microsoft.com/office/drawing/2014/main" id="{F8DDA638-2B36-45A2-846C-3DC4A4B33CA5}"/>
                </a:ext>
              </a:extLst>
            </p:cNvPr>
            <p:cNvSpPr/>
            <p:nvPr/>
          </p:nvSpPr>
          <p:spPr>
            <a:xfrm>
              <a:off x="93125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a:t>
              </a:r>
            </a:p>
          </p:txBody>
        </p:sp>
        <p:sp>
          <p:nvSpPr>
            <p:cNvPr id="54" name="Rectangle: Rounded Corners 53">
              <a:extLst>
                <a:ext uri="{FF2B5EF4-FFF2-40B4-BE49-F238E27FC236}">
                  <a16:creationId xmlns:a16="http://schemas.microsoft.com/office/drawing/2014/main" id="{15C4C0B3-61E7-4C94-A299-B78704D9A2F4}"/>
                </a:ext>
              </a:extLst>
            </p:cNvPr>
            <p:cNvSpPr/>
            <p:nvPr/>
          </p:nvSpPr>
          <p:spPr>
            <a:xfrm>
              <a:off x="116084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2</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55" name="Rectangle: Rounded Corners 54">
              <a:extLst>
                <a:ext uri="{FF2B5EF4-FFF2-40B4-BE49-F238E27FC236}">
                  <a16:creationId xmlns:a16="http://schemas.microsoft.com/office/drawing/2014/main" id="{D9087ED4-F087-49D8-BBD2-27C38752E373}"/>
                </a:ext>
              </a:extLst>
            </p:cNvPr>
            <p:cNvSpPr/>
            <p:nvPr/>
          </p:nvSpPr>
          <p:spPr>
            <a:xfrm>
              <a:off x="1390441"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3</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56" name="Rectangle: Rounded Corners 55">
              <a:extLst>
                <a:ext uri="{FF2B5EF4-FFF2-40B4-BE49-F238E27FC236}">
                  <a16:creationId xmlns:a16="http://schemas.microsoft.com/office/drawing/2014/main" id="{942321AA-73C9-4EC8-B532-1263EE28AE15}"/>
                </a:ext>
              </a:extLst>
            </p:cNvPr>
            <p:cNvSpPr/>
            <p:nvPr/>
          </p:nvSpPr>
          <p:spPr>
            <a:xfrm>
              <a:off x="1620035" y="55733"/>
              <a:ext cx="204053" cy="176387"/>
            </a:xfrm>
            <a:prstGeom prst="roundRect">
              <a:avLst/>
            </a:prstGeom>
            <a:solidFill>
              <a:srgbClr val="EC6224"/>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4</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57" name="Rectangle: Rounded Corners 56">
              <a:extLst>
                <a:ext uri="{FF2B5EF4-FFF2-40B4-BE49-F238E27FC236}">
                  <a16:creationId xmlns:a16="http://schemas.microsoft.com/office/drawing/2014/main" id="{229D4FBA-2CD6-4D1D-8B6E-D12D91993480}"/>
                </a:ext>
              </a:extLst>
            </p:cNvPr>
            <p:cNvSpPr/>
            <p:nvPr/>
          </p:nvSpPr>
          <p:spPr>
            <a:xfrm>
              <a:off x="184962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5</a:t>
              </a:r>
            </a:p>
          </p:txBody>
        </p:sp>
        <p:sp>
          <p:nvSpPr>
            <p:cNvPr id="58" name="Rectangle: Rounded Corners 57">
              <a:extLst>
                <a:ext uri="{FF2B5EF4-FFF2-40B4-BE49-F238E27FC236}">
                  <a16:creationId xmlns:a16="http://schemas.microsoft.com/office/drawing/2014/main" id="{891EB6F1-BA75-4481-9589-B512D3424A90}"/>
                </a:ext>
              </a:extLst>
            </p:cNvPr>
            <p:cNvSpPr/>
            <p:nvPr/>
          </p:nvSpPr>
          <p:spPr>
            <a:xfrm>
              <a:off x="207922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6</a:t>
              </a:r>
            </a:p>
          </p:txBody>
        </p:sp>
        <p:sp>
          <p:nvSpPr>
            <p:cNvPr id="59" name="Rectangle: Rounded Corners 58">
              <a:extLst>
                <a:ext uri="{FF2B5EF4-FFF2-40B4-BE49-F238E27FC236}">
                  <a16:creationId xmlns:a16="http://schemas.microsoft.com/office/drawing/2014/main" id="{95D3D1AC-50E1-4DBC-ADCC-AAF0D0E8227F}"/>
                </a:ext>
              </a:extLst>
            </p:cNvPr>
            <p:cNvSpPr/>
            <p:nvPr/>
          </p:nvSpPr>
          <p:spPr>
            <a:xfrm>
              <a:off x="230881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7</a:t>
              </a:r>
            </a:p>
          </p:txBody>
        </p:sp>
        <p:sp>
          <p:nvSpPr>
            <p:cNvPr id="60" name="Rectangle: Rounded Corners 59">
              <a:extLst>
                <a:ext uri="{FF2B5EF4-FFF2-40B4-BE49-F238E27FC236}">
                  <a16:creationId xmlns:a16="http://schemas.microsoft.com/office/drawing/2014/main" id="{5AE55A2C-2498-4CBF-8DFF-A4E5F96CC14F}"/>
                </a:ext>
              </a:extLst>
            </p:cNvPr>
            <p:cNvSpPr/>
            <p:nvPr/>
          </p:nvSpPr>
          <p:spPr>
            <a:xfrm>
              <a:off x="253841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8</a:t>
              </a:r>
            </a:p>
          </p:txBody>
        </p:sp>
        <p:grpSp>
          <p:nvGrpSpPr>
            <p:cNvPr id="61" name="Group 60">
              <a:extLst>
                <a:ext uri="{FF2B5EF4-FFF2-40B4-BE49-F238E27FC236}">
                  <a16:creationId xmlns:a16="http://schemas.microsoft.com/office/drawing/2014/main" id="{611A962E-4407-4B05-9B28-D01504E534D3}"/>
                </a:ext>
              </a:extLst>
            </p:cNvPr>
            <p:cNvGrpSpPr/>
            <p:nvPr/>
          </p:nvGrpSpPr>
          <p:grpSpPr>
            <a:xfrm>
              <a:off x="701659" y="55733"/>
              <a:ext cx="204053" cy="176387"/>
              <a:chOff x="701659" y="55733"/>
              <a:chExt cx="204053" cy="176387"/>
            </a:xfrm>
          </p:grpSpPr>
          <p:sp>
            <p:nvSpPr>
              <p:cNvPr id="62" name="Rectangle: Rounded Corners 61">
                <a:extLst>
                  <a:ext uri="{FF2B5EF4-FFF2-40B4-BE49-F238E27FC236}">
                    <a16:creationId xmlns:a16="http://schemas.microsoft.com/office/drawing/2014/main" id="{56F2E8BA-A15B-4657-A082-86A6B689FEF8}"/>
                  </a:ext>
                </a:extLst>
              </p:cNvPr>
              <p:cNvSpPr/>
              <p:nvPr/>
            </p:nvSpPr>
            <p:spPr>
              <a:xfrm>
                <a:off x="70165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63" name="Graphic 62" descr="Home with solid fill">
                <a:hlinkClick r:id="rId13" action="ppaction://hlinksldjump"/>
                <a:extLst>
                  <a:ext uri="{FF2B5EF4-FFF2-40B4-BE49-F238E27FC236}">
                    <a16:creationId xmlns:a16="http://schemas.microsoft.com/office/drawing/2014/main" id="{5D3B2273-A46E-4D4F-94BA-0DB92E7ADB82}"/>
                  </a:ext>
                </a:extLst>
              </p:cNvPr>
              <p:cNvPicPr>
                <a:picLocks noChangeAspect="1"/>
              </p:cNvPicPr>
              <p:nvPr/>
            </p:nvPicPr>
            <p:blipFill>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34263" y="63707"/>
                <a:ext cx="136149" cy="136149"/>
              </a:xfrm>
              <a:prstGeom prst="rect">
                <a:avLst/>
              </a:prstGeom>
            </p:spPr>
          </p:pic>
        </p:grpSp>
      </p:grpSp>
      <p:grpSp>
        <p:nvGrpSpPr>
          <p:cNvPr id="44" name="Group 43">
            <a:extLst>
              <a:ext uri="{FF2B5EF4-FFF2-40B4-BE49-F238E27FC236}">
                <a16:creationId xmlns:a16="http://schemas.microsoft.com/office/drawing/2014/main" id="{FB21720C-0B87-4EA6-9400-4BAAAD186070}"/>
              </a:ext>
            </a:extLst>
          </p:cNvPr>
          <p:cNvGrpSpPr/>
          <p:nvPr/>
        </p:nvGrpSpPr>
        <p:grpSpPr>
          <a:xfrm>
            <a:off x="9318171" y="1231811"/>
            <a:ext cx="2223360" cy="369332"/>
            <a:chOff x="9318171" y="1231811"/>
            <a:chExt cx="2223360" cy="369332"/>
          </a:xfrm>
        </p:grpSpPr>
        <p:sp>
          <p:nvSpPr>
            <p:cNvPr id="45" name="Rectangle 44">
              <a:extLst>
                <a:ext uri="{FF2B5EF4-FFF2-40B4-BE49-F238E27FC236}">
                  <a16:creationId xmlns:a16="http://schemas.microsoft.com/office/drawing/2014/main" id="{62932661-3462-42D7-85D0-4B2CB46D91E3}"/>
                </a:ext>
              </a:extLst>
            </p:cNvPr>
            <p:cNvSpPr/>
            <p:nvPr/>
          </p:nvSpPr>
          <p:spPr>
            <a:xfrm>
              <a:off x="9318171" y="1231811"/>
              <a:ext cx="2223359" cy="324000"/>
            </a:xfrm>
            <a:prstGeom prst="rect">
              <a:avLst/>
            </a:prstGeom>
            <a:solidFill>
              <a:schemeClr val="bg1">
                <a:lumMod val="95000"/>
              </a:schemeClr>
            </a:solidFill>
            <a:ln>
              <a:solidFill>
                <a:schemeClr val="bg1">
                  <a:lumMod val="50000"/>
                </a:schemeClr>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endParaRPr kumimoji="0" lang="nl-NL" sz="10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6" name="TextBox 45">
              <a:hlinkClick r:id="rId16" action="ppaction://hlinksldjump"/>
              <a:extLst>
                <a:ext uri="{FF2B5EF4-FFF2-40B4-BE49-F238E27FC236}">
                  <a16:creationId xmlns:a16="http://schemas.microsoft.com/office/drawing/2014/main" id="{1BF55279-6EFD-48B0-ABCB-E6F26CE0478C}"/>
                </a:ext>
              </a:extLst>
            </p:cNvPr>
            <p:cNvSpPr txBox="1"/>
            <p:nvPr/>
          </p:nvSpPr>
          <p:spPr>
            <a:xfrm>
              <a:off x="9552231" y="1231811"/>
              <a:ext cx="1989300" cy="369332"/>
            </a:xfrm>
            <a:prstGeom prst="rect">
              <a:avLst/>
            </a:prstGeom>
            <a:noFill/>
          </p:spPr>
          <p:txBody>
            <a:bodyPr wrap="square">
              <a:spAutoFit/>
            </a:bodyPr>
            <a:lstStyle/>
            <a:p>
              <a:pPr marL="0" indent="0">
                <a:buClr>
                  <a:schemeClr val="tx2"/>
                </a:buClr>
                <a:buNone/>
              </a:pPr>
              <a:r>
                <a:rPr lang="en-NL" sz="1000" dirty="0" err="1"/>
                <a:t>Zie</a:t>
              </a:r>
              <a:r>
                <a:rPr lang="en-NL" sz="1000" dirty="0"/>
                <a:t> </a:t>
              </a:r>
              <a:r>
                <a:rPr lang="en-NL" sz="1000" dirty="0" err="1"/>
                <a:t>bijlage</a:t>
              </a:r>
              <a:r>
                <a:rPr lang="en-NL" sz="1000" dirty="0"/>
                <a:t> </a:t>
              </a:r>
              <a:r>
                <a:rPr lang="en-US" sz="1000" dirty="0"/>
                <a:t>voor </a:t>
              </a:r>
              <a:r>
                <a:rPr kumimoji="0" lang="en-US" sz="1000" i="0" u="none" strike="noStrike" kern="1200" cap="none" spc="0" normalizeH="0" baseline="0" noProof="0" dirty="0" err="1">
                  <a:ln>
                    <a:noFill/>
                  </a:ln>
                  <a:effectLst/>
                  <a:uLnTx/>
                  <a:uFillTx/>
                  <a:latin typeface="Corbel" panose="020B0503020204020204" pitchFamily="34" charset="0"/>
                  <a:ea typeface="+mn-ea"/>
                  <a:cs typeface="+mn-cs"/>
                </a:rPr>
                <a:t>combinatie</a:t>
              </a:r>
              <a:r>
                <a:rPr kumimoji="0" lang="en-US" sz="1000" i="0" u="none" strike="noStrike" kern="1200" cap="none" spc="0" normalizeH="0" baseline="0" noProof="0" dirty="0">
                  <a:ln>
                    <a:noFill/>
                  </a:ln>
                  <a:effectLst/>
                  <a:uLnTx/>
                  <a:uFillTx/>
                  <a:latin typeface="Corbel" panose="020B0503020204020204" pitchFamily="34" charset="0"/>
                  <a:ea typeface="+mn-ea"/>
                  <a:cs typeface="+mn-cs"/>
                </a:rPr>
                <a:t> </a:t>
              </a:r>
              <a:r>
                <a:rPr kumimoji="0" lang="en-US" sz="1000" i="0" u="none" strike="noStrike" kern="1200" cap="none" spc="0" normalizeH="0" baseline="0" noProof="0" dirty="0" err="1">
                  <a:ln>
                    <a:noFill/>
                  </a:ln>
                  <a:effectLst/>
                  <a:uLnTx/>
                  <a:uFillTx/>
                  <a:latin typeface="Corbel" panose="020B0503020204020204" pitchFamily="34" charset="0"/>
                  <a:ea typeface="+mn-ea"/>
                  <a:cs typeface="+mn-cs"/>
                </a:rPr>
                <a:t>Wmo</a:t>
              </a:r>
              <a:r>
                <a:rPr kumimoji="0" lang="en-US" sz="1000" i="0" u="none" strike="noStrike" kern="1200" cap="none" spc="0" normalizeH="0" baseline="0" noProof="0" dirty="0">
                  <a:ln>
                    <a:noFill/>
                  </a:ln>
                  <a:effectLst/>
                  <a:uLnTx/>
                  <a:uFillTx/>
                  <a:latin typeface="Corbel" panose="020B0503020204020204" pitchFamily="34" charset="0"/>
                  <a:ea typeface="+mn-ea"/>
                  <a:cs typeface="+mn-cs"/>
                </a:rPr>
                <a:t>- met </a:t>
              </a:r>
              <a:r>
                <a:rPr kumimoji="0" lang="en-US" sz="1000" i="0" u="none" strike="noStrike" kern="1200" cap="none" spc="0" normalizeH="0" baseline="0" noProof="0" dirty="0" err="1">
                  <a:ln>
                    <a:noFill/>
                  </a:ln>
                  <a:effectLst/>
                  <a:uLnTx/>
                  <a:uFillTx/>
                  <a:latin typeface="Corbel" panose="020B0503020204020204" pitchFamily="34" charset="0"/>
                  <a:ea typeface="+mn-ea"/>
                  <a:cs typeface="+mn-cs"/>
                </a:rPr>
                <a:t>leerlingenvervoer</a:t>
              </a:r>
              <a:endParaRPr kumimoji="0" lang="nl-NL" sz="1000" i="0" u="none" strike="noStrike" kern="1200" cap="none" spc="0" normalizeH="0" baseline="0" noProof="0" dirty="0">
                <a:ln>
                  <a:noFill/>
                </a:ln>
                <a:effectLst/>
                <a:uLnTx/>
                <a:uFillTx/>
                <a:latin typeface="Corbel" panose="020B0503020204020204" pitchFamily="34" charset="0"/>
                <a:ea typeface="+mn-ea"/>
                <a:cs typeface="+mn-cs"/>
              </a:endParaRPr>
            </a:p>
          </p:txBody>
        </p:sp>
        <p:grpSp>
          <p:nvGrpSpPr>
            <p:cNvPr id="49" name="Group 48">
              <a:extLst>
                <a:ext uri="{FF2B5EF4-FFF2-40B4-BE49-F238E27FC236}">
                  <a16:creationId xmlns:a16="http://schemas.microsoft.com/office/drawing/2014/main" id="{8E22154A-3631-4726-B96F-DE36D5C36347}"/>
                </a:ext>
              </a:extLst>
            </p:cNvPr>
            <p:cNvGrpSpPr/>
            <p:nvPr/>
          </p:nvGrpSpPr>
          <p:grpSpPr>
            <a:xfrm rot="397024">
              <a:off x="9331534" y="1279534"/>
              <a:ext cx="238474" cy="245716"/>
              <a:chOff x="8511607" y="5943020"/>
              <a:chExt cx="320191" cy="329914"/>
            </a:xfrm>
          </p:grpSpPr>
          <p:sp>
            <p:nvSpPr>
              <p:cNvPr id="50" name="Oval 49">
                <a:extLst>
                  <a:ext uri="{FF2B5EF4-FFF2-40B4-BE49-F238E27FC236}">
                    <a16:creationId xmlns:a16="http://schemas.microsoft.com/office/drawing/2014/main" id="{5E4CA3A7-F191-4234-AA5A-6908736A44F5}"/>
                  </a:ext>
                </a:extLst>
              </p:cNvPr>
              <p:cNvSpPr/>
              <p:nvPr/>
            </p:nvSpPr>
            <p:spPr>
              <a:xfrm>
                <a:off x="8599696" y="5943020"/>
                <a:ext cx="72000" cy="72000"/>
              </a:xfrm>
              <a:prstGeom prst="ellipse">
                <a:avLst/>
              </a:prstGeom>
              <a:solidFill>
                <a:schemeClr val="bg1"/>
              </a:solidFill>
              <a:ln w="6350">
                <a:solidFill>
                  <a:schemeClr val="tx1"/>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51" name="Graphic 50" descr="Right pointing backhand index with solid fill">
                <a:hlinkClick r:id="rId17" action="ppaction://hlinksldjump"/>
                <a:extLst>
                  <a:ext uri="{FF2B5EF4-FFF2-40B4-BE49-F238E27FC236}">
                    <a16:creationId xmlns:a16="http://schemas.microsoft.com/office/drawing/2014/main" id="{9C31084A-424E-45E1-99AB-CBC4BEC34648}"/>
                  </a:ext>
                </a:extLst>
              </p:cNvPr>
              <p:cNvPicPr>
                <a:picLocks noChangeAspect="1"/>
              </p:cNvPicPr>
              <p:nvPr/>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rot="16200000">
                <a:off x="8511607" y="5952743"/>
                <a:ext cx="320191" cy="320191"/>
              </a:xfrm>
              <a:prstGeom prst="rect">
                <a:avLst/>
              </a:prstGeom>
            </p:spPr>
          </p:pic>
        </p:grpSp>
      </p:grpSp>
    </p:spTree>
    <p:extLst>
      <p:ext uri="{BB962C8B-B14F-4D97-AF65-F5344CB8AC3E}">
        <p14:creationId xmlns:p14="http://schemas.microsoft.com/office/powerpoint/2010/main" val="40537269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DF12A57-C8F4-4A6F-9DCA-1F3B99FDEE57}"/>
              </a:ext>
            </a:extLst>
          </p:cNvPr>
          <p:cNvGraphicFramePr>
            <a:graphicFrameLocks noChangeAspect="1"/>
          </p:cNvGraphicFramePr>
          <p:nvPr>
            <p:custDataLst>
              <p:tags r:id="rId2"/>
            </p:custDataLst>
            <p:extLst>
              <p:ext uri="{D42A27DB-BD31-4B8C-83A1-F6EECF244321}">
                <p14:modId xmlns:p14="http://schemas.microsoft.com/office/powerpoint/2010/main" val="214577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4"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id="{6DF12A57-C8F4-4A6F-9DCA-1F3B99FDEE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54FB4FF2-C8D0-44BA-8454-A24B923306D7}"/>
              </a:ext>
            </a:extLst>
          </p:cNvPr>
          <p:cNvSpPr>
            <a:spLocks noGrp="1"/>
          </p:cNvSpPr>
          <p:nvPr>
            <p:ph type="sldNum" sz="quarter" idx="12"/>
          </p:nvPr>
        </p:nvSpPr>
        <p:spPr/>
        <p:txBody>
          <a:bodyPr/>
          <a:lstStyle/>
          <a:p>
            <a:fld id="{992CD0B2-8AB2-4C6C-8876-E15753662C9B}" type="slidenum">
              <a:rPr lang="nl-NL" noProof="0" smtClean="0"/>
              <a:pPr/>
              <a:t>2</a:t>
            </a:fld>
            <a:endParaRPr lang="nl-NL" noProof="0" dirty="0"/>
          </a:p>
        </p:txBody>
      </p:sp>
      <p:sp>
        <p:nvSpPr>
          <p:cNvPr id="10" name="Content Placeholder 2">
            <a:extLst>
              <a:ext uri="{FF2B5EF4-FFF2-40B4-BE49-F238E27FC236}">
                <a16:creationId xmlns:a16="http://schemas.microsoft.com/office/drawing/2014/main" id="{CFB7F16D-7796-4610-BC0D-A4AF19CBDCD0}"/>
              </a:ext>
            </a:extLst>
          </p:cNvPr>
          <p:cNvSpPr txBox="1">
            <a:spLocks/>
          </p:cNvSpPr>
          <p:nvPr/>
        </p:nvSpPr>
        <p:spPr>
          <a:xfrm>
            <a:off x="664699" y="1600972"/>
            <a:ext cx="2148169" cy="1256658"/>
          </a:xfrm>
          <a:prstGeom prst="rect">
            <a:avLst/>
          </a:prstGeom>
          <a:solidFill>
            <a:srgbClr val="408E94"/>
          </a:solidFill>
          <a:ln w="9525">
            <a:noFill/>
          </a:ln>
        </p:spPr>
        <p:txBody>
          <a:bodyPr vert="horz" lIns="72000" tIns="72000" rIns="72000" bIns="72000" rtlCol="0" anchor="ctr">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marR="0" lvl="0" indent="0" algn="ctr" defTabSz="685800" eaLnBrk="1" fontAlgn="auto" latinLnBrk="0" hangingPunct="1">
              <a:lnSpc>
                <a:spcPct val="100000"/>
              </a:lnSpc>
              <a:spcBef>
                <a:spcPts val="0"/>
              </a:spcBef>
              <a:spcAft>
                <a:spcPts val="0"/>
              </a:spcAft>
              <a:buClr>
                <a:schemeClr val="tx2"/>
              </a:buClr>
              <a:buSzTx/>
              <a:buNone/>
              <a:tabLst/>
              <a:defRPr/>
            </a:pPr>
            <a:r>
              <a:rPr lang="en-NL" b="1">
                <a:solidFill>
                  <a:srgbClr val="FFFFFF"/>
                </a:solidFill>
              </a:rPr>
              <a:t>Doel van dit document</a:t>
            </a:r>
            <a:endParaRPr lang="nl-NL" b="1" dirty="0">
              <a:solidFill>
                <a:srgbClr val="FFFFFF"/>
              </a:solidFill>
            </a:endParaRPr>
          </a:p>
        </p:txBody>
      </p:sp>
      <p:sp>
        <p:nvSpPr>
          <p:cNvPr id="11" name="Content Placeholder 2">
            <a:extLst>
              <a:ext uri="{FF2B5EF4-FFF2-40B4-BE49-F238E27FC236}">
                <a16:creationId xmlns:a16="http://schemas.microsoft.com/office/drawing/2014/main" id="{4F31ABD5-09AA-4656-A999-95C3685ED5E8}"/>
              </a:ext>
            </a:extLst>
          </p:cNvPr>
          <p:cNvSpPr txBox="1">
            <a:spLocks/>
          </p:cNvSpPr>
          <p:nvPr/>
        </p:nvSpPr>
        <p:spPr>
          <a:xfrm>
            <a:off x="660820" y="3579745"/>
            <a:ext cx="2148168" cy="1256658"/>
          </a:xfrm>
          <a:prstGeom prst="rect">
            <a:avLst/>
          </a:prstGeom>
          <a:solidFill>
            <a:srgbClr val="408E94"/>
          </a:solidFill>
          <a:ln w="9525">
            <a:noFill/>
          </a:ln>
        </p:spPr>
        <p:txBody>
          <a:bodyPr vert="horz" lIns="72000" tIns="72000" rIns="72000" bIns="72000" rtlCol="0" anchor="ctr">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marR="0" lvl="0" indent="0" algn="ctr" defTabSz="685800" eaLnBrk="1" fontAlgn="auto" latinLnBrk="0" hangingPunct="1">
              <a:lnSpc>
                <a:spcPct val="100000"/>
              </a:lnSpc>
              <a:spcBef>
                <a:spcPts val="0"/>
              </a:spcBef>
              <a:spcAft>
                <a:spcPts val="0"/>
              </a:spcAft>
              <a:buClr>
                <a:schemeClr val="tx2"/>
              </a:buClr>
              <a:buSzTx/>
              <a:buNone/>
              <a:tabLst/>
              <a:defRPr/>
            </a:pPr>
            <a:r>
              <a:rPr lang="en-NL" b="1">
                <a:solidFill>
                  <a:srgbClr val="FFFFFF"/>
                </a:solidFill>
              </a:rPr>
              <a:t>Methodologie</a:t>
            </a:r>
            <a:endParaRPr lang="nl-NL" b="1" dirty="0">
              <a:solidFill>
                <a:srgbClr val="FFFFFF"/>
              </a:solidFill>
            </a:endParaRPr>
          </a:p>
        </p:txBody>
      </p:sp>
      <p:sp>
        <p:nvSpPr>
          <p:cNvPr id="14" name="TextBox 13">
            <a:extLst>
              <a:ext uri="{FF2B5EF4-FFF2-40B4-BE49-F238E27FC236}">
                <a16:creationId xmlns:a16="http://schemas.microsoft.com/office/drawing/2014/main" id="{C90FC1EC-68CD-4C29-8869-BC098AF628CE}"/>
              </a:ext>
            </a:extLst>
          </p:cNvPr>
          <p:cNvSpPr txBox="1"/>
          <p:nvPr/>
        </p:nvSpPr>
        <p:spPr>
          <a:xfrm>
            <a:off x="2812868" y="1592263"/>
            <a:ext cx="8720320" cy="1256658"/>
          </a:xfrm>
          <a:prstGeom prst="rect">
            <a:avLst/>
          </a:prstGeom>
        </p:spPr>
        <p:txBody>
          <a:bodyPr vert="horz" wrap="square" lIns="91440" tIns="45720" rIns="91440" bIns="45720" rtlCol="0">
            <a:noAutofit/>
          </a:bodyPr>
          <a:lstStyle/>
          <a:p>
            <a:pPr algn="l"/>
            <a:r>
              <a:rPr lang="en-NL"/>
              <a:t>Sinds 2015 zijn gemeenten verantwoordelijk voor het meeste doelgroepenvervoer. Sindsdien werken zij hard aan het optimaal inrichten hiervan, zodat kwetsbare mensen zo goed mogelijk van vervoer gebruik van kunnen maken en tegelijkertijd de voorzieningen betaalbaar blijven voor de maatschappij</a:t>
            </a:r>
          </a:p>
          <a:p>
            <a:pPr algn="l"/>
            <a:r>
              <a:rPr lang="en-NL"/>
              <a:t>Dit document geeft een introductie van het doelgroepenvervoer, de kansen en uitdagingen daarbij en een selectie van strategische opties. Met deze inzichten kunnen gemeenten een strategie opstellen om innovaties toe te passen en het doelgroepenvervoer verder te verbeteren</a:t>
            </a:r>
            <a:endParaRPr lang="nl-NL" noProof="0" dirty="0"/>
          </a:p>
        </p:txBody>
      </p:sp>
      <p:sp>
        <p:nvSpPr>
          <p:cNvPr id="15" name="TextBox 14">
            <a:extLst>
              <a:ext uri="{FF2B5EF4-FFF2-40B4-BE49-F238E27FC236}">
                <a16:creationId xmlns:a16="http://schemas.microsoft.com/office/drawing/2014/main" id="{164AB68C-FCC1-4DEC-BA19-C990FADC98E3}"/>
              </a:ext>
            </a:extLst>
          </p:cNvPr>
          <p:cNvSpPr txBox="1"/>
          <p:nvPr/>
        </p:nvSpPr>
        <p:spPr>
          <a:xfrm>
            <a:off x="2812868" y="3579745"/>
            <a:ext cx="8720320" cy="1256658"/>
          </a:xfrm>
          <a:prstGeom prst="rect">
            <a:avLst/>
          </a:prstGeom>
        </p:spPr>
        <p:txBody>
          <a:bodyPr vert="horz" wrap="square" lIns="91440" tIns="45720" rIns="91440" bIns="45720" rtlCol="0">
            <a:noAutofit/>
          </a:bodyPr>
          <a:lstStyle/>
          <a:p>
            <a:pPr algn="l"/>
            <a:r>
              <a:rPr lang="en-NL" noProof="0"/>
              <a:t>De inzichten in dit document zijn gebaseerd op projectwerk van </a:t>
            </a:r>
            <a:r>
              <a:rPr lang="nl-NL" noProof="0"/>
              <a:t>It's Public</a:t>
            </a:r>
            <a:r>
              <a:rPr lang="en-NL" noProof="0"/>
              <a:t>, aangevuld met publieke data. Het is onze missie om open source te werken. We maken onze </a:t>
            </a:r>
            <a:r>
              <a:rPr lang="en-NL"/>
              <a:t>inzichten en methodes daarom zoveel mogelijk publiek toegankelijk</a:t>
            </a:r>
          </a:p>
          <a:p>
            <a:pPr algn="l"/>
            <a:r>
              <a:rPr lang="en-NL"/>
              <a:t>Organisaties en personen in het publieke domein worden van harte aangemoedigd om gebruik te maken van de inzichten en materialen om hun kennis, beleid en uitvoering verder te verbeteren</a:t>
            </a:r>
          </a:p>
        </p:txBody>
      </p:sp>
    </p:spTree>
    <p:extLst>
      <p:ext uri="{BB962C8B-B14F-4D97-AF65-F5344CB8AC3E}">
        <p14:creationId xmlns:p14="http://schemas.microsoft.com/office/powerpoint/2010/main" val="9559216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A7E2A55-853B-47A9-A999-76B509545684}"/>
              </a:ext>
            </a:extLst>
          </p:cNvPr>
          <p:cNvGraphicFramePr>
            <a:graphicFrameLocks noChangeAspect="1"/>
          </p:cNvGraphicFramePr>
          <p:nvPr>
            <p:custDataLst>
              <p:tags r:id="rId2"/>
            </p:custDataLst>
            <p:extLst>
              <p:ext uri="{D42A27DB-BD31-4B8C-83A1-F6EECF244321}">
                <p14:modId xmlns:p14="http://schemas.microsoft.com/office/powerpoint/2010/main" val="2437820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DA7E2A55-853B-47A9-A999-76B5095456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8" name="Content Placeholder 2">
            <a:extLst>
              <a:ext uri="{FF2B5EF4-FFF2-40B4-BE49-F238E27FC236}">
                <a16:creationId xmlns:a16="http://schemas.microsoft.com/office/drawing/2014/main" id="{9F00D62A-A64B-47C9-A215-B4D73889DCB4}"/>
              </a:ext>
            </a:extLst>
          </p:cNvPr>
          <p:cNvSpPr txBox="1">
            <a:spLocks/>
          </p:cNvSpPr>
          <p:nvPr/>
        </p:nvSpPr>
        <p:spPr>
          <a:xfrm>
            <a:off x="662780" y="3356725"/>
            <a:ext cx="5367002" cy="2952000"/>
          </a:xfrm>
          <a:prstGeom prst="rect">
            <a:avLst/>
          </a:prstGeom>
          <a:noFill/>
          <a:ln w="19050">
            <a:noFill/>
          </a:ln>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b="1" dirty="0">
                <a:solidFill>
                  <a:srgbClr val="22777B"/>
                </a:solidFill>
              </a:rPr>
              <a:t>Randvoorwaarden</a:t>
            </a:r>
          </a:p>
        </p:txBody>
      </p:sp>
      <p:sp>
        <p:nvSpPr>
          <p:cNvPr id="65" name="Content Placeholder 2">
            <a:extLst>
              <a:ext uri="{FF2B5EF4-FFF2-40B4-BE49-F238E27FC236}">
                <a16:creationId xmlns:a16="http://schemas.microsoft.com/office/drawing/2014/main" id="{737FEC3E-0727-43E1-8CB8-CF99200F2C7B}"/>
              </a:ext>
            </a:extLst>
          </p:cNvPr>
          <p:cNvSpPr txBox="1">
            <a:spLocks/>
          </p:cNvSpPr>
          <p:nvPr/>
        </p:nvSpPr>
        <p:spPr>
          <a:xfrm>
            <a:off x="662780" y="1606211"/>
            <a:ext cx="5148000" cy="1483317"/>
          </a:xfrm>
          <a:prstGeom prst="rect">
            <a:avLst/>
          </a:prstGeom>
          <a:noFill/>
          <a:ln w="19050">
            <a:noFill/>
          </a:ln>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b="1" dirty="0">
                <a:solidFill>
                  <a:srgbClr val="22777B"/>
                </a:solidFill>
              </a:rPr>
              <a:t>In het kort</a:t>
            </a:r>
          </a:p>
        </p:txBody>
      </p:sp>
      <p:sp>
        <p:nvSpPr>
          <p:cNvPr id="84" name="Rectangle 83">
            <a:extLst>
              <a:ext uri="{FF2B5EF4-FFF2-40B4-BE49-F238E27FC236}">
                <a16:creationId xmlns:a16="http://schemas.microsoft.com/office/drawing/2014/main" id="{A1BD0942-A641-4B94-B25F-C3CA16A90D70}"/>
              </a:ext>
            </a:extLst>
          </p:cNvPr>
          <p:cNvSpPr/>
          <p:nvPr/>
        </p:nvSpPr>
        <p:spPr>
          <a:xfrm>
            <a:off x="651593" y="1898011"/>
            <a:ext cx="5433219" cy="1483317"/>
          </a:xfrm>
          <a:prstGeom prst="rect">
            <a:avLst/>
          </a:prstGeom>
          <a:noFill/>
          <a:ln>
            <a:noFill/>
          </a:ln>
          <a:extLst>
            <a:ext uri="{909E8E84-426E-40DD-AFC4-6F175D3DCCD1}">
              <a14:hiddenFill xmlns:a14="http://schemas.microsoft.com/office/drawing/2010/main">
                <a:solidFill>
                  <a:srgbClr val="95C5C9"/>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3" name="Content Placeholder 2">
            <a:extLst>
              <a:ext uri="{FF2B5EF4-FFF2-40B4-BE49-F238E27FC236}">
                <a16:creationId xmlns:a16="http://schemas.microsoft.com/office/drawing/2014/main" id="{7B117B2E-14BE-46A5-806A-1345A264A3BC}"/>
              </a:ext>
            </a:extLst>
          </p:cNvPr>
          <p:cNvSpPr>
            <a:spLocks noGrp="1"/>
          </p:cNvSpPr>
          <p:nvPr>
            <p:ph sz="quarter" idx="31"/>
          </p:nvPr>
        </p:nvSpPr>
        <p:spPr>
          <a:xfrm>
            <a:off x="698830" y="1870859"/>
            <a:ext cx="3610436" cy="1418400"/>
          </a:xfrm>
          <a:prstGeom prst="rect">
            <a:avLst/>
          </a:prstGeom>
          <a:noFill/>
          <a:ln w="9525">
            <a:noFill/>
          </a:ln>
          <a:extLst>
            <a:ext uri="{909E8E84-426E-40DD-AFC4-6F175D3DCCD1}">
              <a14:hiddenFill xmlns:a14="http://schemas.microsoft.com/office/drawing/2010/main">
                <a:solidFill>
                  <a:srgbClr val="95C5C9">
                    <a:alpha val="10000"/>
                  </a:srgbClr>
                </a:solidFill>
              </a14:hiddenFill>
            </a:ext>
          </a:extLst>
        </p:spPr>
        <p:txBody>
          <a:bodyPr tIns="36000" bIns="36000">
            <a:noAutofit/>
          </a:bodyPr>
          <a:lstStyle/>
          <a:p>
            <a:pPr marL="0" indent="0">
              <a:buNone/>
            </a:pPr>
            <a:r>
              <a:rPr lang="nl-NL" sz="1000" dirty="0"/>
              <a:t>Met behulp van datamonitoring kunnen overheden een gefundeerd beleid ontwikkelen en aansturen op de performance van vervoerders. Deze monitoring richt zich (o.a.) op:</a:t>
            </a:r>
          </a:p>
          <a:p>
            <a:pPr marL="171450" indent="-171450">
              <a:buFont typeface="Wingdings" panose="05000000000000000000" pitchFamily="2" charset="2"/>
              <a:buChar char="§"/>
            </a:pPr>
            <a:r>
              <a:rPr lang="nl-NL" sz="1000" dirty="0"/>
              <a:t>Reispatronen: bestemmingen en vertreklocaties, gebruik per vervoersvoorziening, aantal kms, tijdstippen (spits- en daluren).</a:t>
            </a:r>
          </a:p>
          <a:p>
            <a:pPr marL="171450" indent="-171450">
              <a:buFont typeface="Wingdings" panose="05000000000000000000" pitchFamily="2" charset="2"/>
              <a:buChar char="§"/>
            </a:pPr>
            <a:r>
              <a:rPr lang="nl-NL" sz="1000" dirty="0"/>
              <a:t>Profiel van de reiziger: leeftijdscategorieën, beperkingen, redenen gebruik van doelgroepenvervoer of juist OV </a:t>
            </a:r>
          </a:p>
          <a:p>
            <a:pPr marL="0" indent="0">
              <a:buNone/>
            </a:pPr>
            <a:endParaRPr lang="nl-NL" sz="1000" dirty="0"/>
          </a:p>
        </p:txBody>
      </p:sp>
      <p:sp>
        <p:nvSpPr>
          <p:cNvPr id="5" name="Footer Placeholder 4">
            <a:extLst>
              <a:ext uri="{FF2B5EF4-FFF2-40B4-BE49-F238E27FC236}">
                <a16:creationId xmlns:a16="http://schemas.microsoft.com/office/drawing/2014/main" id="{6450BDB4-A43E-402D-996C-55C79B926CE4}"/>
              </a:ext>
            </a:extLst>
          </p:cNvPr>
          <p:cNvSpPr>
            <a:spLocks noGrp="1"/>
          </p:cNvSpPr>
          <p:nvPr>
            <p:ph type="ftr" sz="quarter" idx="3"/>
          </p:nvPr>
        </p:nvSpPr>
        <p:spPr/>
        <p:txBody>
          <a:bodyPr/>
          <a:lstStyle/>
          <a:p>
            <a:r>
              <a:rPr lang="nl-NL" dirty="0"/>
              <a:t>Bron: Goudappel Coffeng, ‘Verkenning Landschap Sociaal Vervoer 2020’ (24 april 2020); website Publiek Vervoer Groningen-Drenthe (geraadpleegd 10 maart 2021)</a:t>
            </a:r>
          </a:p>
        </p:txBody>
      </p:sp>
      <p:sp>
        <p:nvSpPr>
          <p:cNvPr id="6" name="Slide Number Placeholder 5">
            <a:extLst>
              <a:ext uri="{FF2B5EF4-FFF2-40B4-BE49-F238E27FC236}">
                <a16:creationId xmlns:a16="http://schemas.microsoft.com/office/drawing/2014/main" id="{EA5B4AF5-72CF-4819-8135-F522810EB50A}"/>
              </a:ext>
            </a:extLst>
          </p:cNvPr>
          <p:cNvSpPr>
            <a:spLocks noGrp="1"/>
          </p:cNvSpPr>
          <p:nvPr>
            <p:ph type="sldNum" sz="quarter" idx="12"/>
          </p:nvPr>
        </p:nvSpPr>
        <p:spPr/>
        <p:txBody>
          <a:bodyPr/>
          <a:lstStyle/>
          <a:p>
            <a:fld id="{992CD0B2-8AB2-4C6C-8876-E15753662C9B}" type="slidenum">
              <a:rPr lang="nl-NL" smtClean="0"/>
              <a:pPr/>
              <a:t>20</a:t>
            </a:fld>
            <a:endParaRPr lang="nl-NL" dirty="0"/>
          </a:p>
        </p:txBody>
      </p:sp>
      <p:sp>
        <p:nvSpPr>
          <p:cNvPr id="8" name="Title 7">
            <a:extLst>
              <a:ext uri="{FF2B5EF4-FFF2-40B4-BE49-F238E27FC236}">
                <a16:creationId xmlns:a16="http://schemas.microsoft.com/office/drawing/2014/main" id="{4CF772DC-DC31-4B79-9450-0687029A3727}"/>
              </a:ext>
            </a:extLst>
          </p:cNvPr>
          <p:cNvSpPr>
            <a:spLocks noGrp="1"/>
          </p:cNvSpPr>
          <p:nvPr>
            <p:ph type="title"/>
          </p:nvPr>
        </p:nvSpPr>
        <p:spPr>
          <a:xfrm>
            <a:off x="-1" y="265387"/>
            <a:ext cx="12192001" cy="942979"/>
          </a:xfrm>
          <a:solidFill>
            <a:srgbClr val="22777B"/>
          </a:solidFill>
        </p:spPr>
        <p:txBody>
          <a:bodyPr vert="horz" anchor="ctr"/>
          <a:lstStyle/>
          <a:p>
            <a:r>
              <a:rPr lang="nl-NL" dirty="0">
                <a:solidFill>
                  <a:srgbClr val="FFFFFF"/>
                </a:solidFill>
              </a:rPr>
              <a:t>	</a:t>
            </a:r>
          </a:p>
        </p:txBody>
      </p:sp>
      <p:sp>
        <p:nvSpPr>
          <p:cNvPr id="75" name="Content Placeholder 2">
            <a:extLst>
              <a:ext uri="{FF2B5EF4-FFF2-40B4-BE49-F238E27FC236}">
                <a16:creationId xmlns:a16="http://schemas.microsoft.com/office/drawing/2014/main" id="{86BFB595-C26D-406A-9756-BE4D262E449C}"/>
              </a:ext>
            </a:extLst>
          </p:cNvPr>
          <p:cNvSpPr txBox="1">
            <a:spLocks/>
          </p:cNvSpPr>
          <p:nvPr/>
        </p:nvSpPr>
        <p:spPr>
          <a:xfrm>
            <a:off x="664829" y="1870859"/>
            <a:ext cx="36000" cy="1418400"/>
          </a:xfrm>
          <a:prstGeom prst="rect">
            <a:avLst/>
          </a:prstGeom>
          <a:solidFill>
            <a:srgbClr val="22777B"/>
          </a:solidFill>
          <a:ln w="9525">
            <a:noFill/>
          </a:ln>
        </p:spPr>
        <p:txBody>
          <a:bodyPr vert="horz" lIns="72000" tIns="72000" rIns="72000" bIns="72000" rtlCol="0">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endParaRPr lang="nl-NL" sz="1000" b="1" dirty="0">
              <a:solidFill>
                <a:srgbClr val="68ABB0"/>
              </a:solidFill>
            </a:endParaRPr>
          </a:p>
        </p:txBody>
      </p:sp>
      <p:sp>
        <p:nvSpPr>
          <p:cNvPr id="47" name="TextBox 46">
            <a:extLst>
              <a:ext uri="{FF2B5EF4-FFF2-40B4-BE49-F238E27FC236}">
                <a16:creationId xmlns:a16="http://schemas.microsoft.com/office/drawing/2014/main" id="{4716077D-F49C-442C-BDB1-5D321EBE6829}"/>
              </a:ext>
            </a:extLst>
          </p:cNvPr>
          <p:cNvSpPr txBox="1"/>
          <p:nvPr/>
        </p:nvSpPr>
        <p:spPr>
          <a:xfrm>
            <a:off x="658813" y="274425"/>
            <a:ext cx="6724448" cy="230832"/>
          </a:xfrm>
          <a:prstGeom prst="rect">
            <a:avLst/>
          </a:prstGeom>
          <a:noFill/>
        </p:spPr>
        <p:txBody>
          <a:bodyPr wrap="square">
            <a:spAutoFit/>
          </a:bodyPr>
          <a:lstStyle/>
          <a:p>
            <a:pPr marL="0" indent="0">
              <a:buNone/>
            </a:pPr>
            <a:r>
              <a:rPr lang="nl-NL" sz="1000" b="1" dirty="0">
                <a:solidFill>
                  <a:srgbClr val="FFFFFF"/>
                </a:solidFill>
              </a:rPr>
              <a:t>Managen contract</a:t>
            </a:r>
          </a:p>
        </p:txBody>
      </p:sp>
      <p:sp>
        <p:nvSpPr>
          <p:cNvPr id="48" name="TextBox 47">
            <a:extLst>
              <a:ext uri="{FF2B5EF4-FFF2-40B4-BE49-F238E27FC236}">
                <a16:creationId xmlns:a16="http://schemas.microsoft.com/office/drawing/2014/main" id="{4B8BE3FC-F351-4532-B8C6-69DA96834DD2}"/>
              </a:ext>
            </a:extLst>
          </p:cNvPr>
          <p:cNvSpPr txBox="1"/>
          <p:nvPr/>
        </p:nvSpPr>
        <p:spPr>
          <a:xfrm>
            <a:off x="658813" y="451368"/>
            <a:ext cx="10921582" cy="757130"/>
          </a:xfrm>
          <a:prstGeom prst="rect">
            <a:avLst/>
          </a:prstGeom>
          <a:noFill/>
        </p:spPr>
        <p:txBody>
          <a:bodyPr wrap="square" anchor="ctr">
            <a:spAutoFit/>
          </a:bodyPr>
          <a:lstStyle/>
          <a:p>
            <a:pPr marL="0" indent="0">
              <a:buNone/>
            </a:pPr>
            <a:r>
              <a:rPr lang="nl-NL" sz="2400" b="1" dirty="0">
                <a:solidFill>
                  <a:srgbClr val="FFFFFF"/>
                </a:solidFill>
              </a:rPr>
              <a:t>Met behulp van datamonitoring vergaren gemeenten belangrijke inzichten in de vraag en wensen van de doelgroep</a:t>
            </a:r>
          </a:p>
        </p:txBody>
      </p:sp>
      <p:sp>
        <p:nvSpPr>
          <p:cNvPr id="60" name="Content Placeholder 2">
            <a:extLst>
              <a:ext uri="{FF2B5EF4-FFF2-40B4-BE49-F238E27FC236}">
                <a16:creationId xmlns:a16="http://schemas.microsoft.com/office/drawing/2014/main" id="{34E668A6-F276-439E-A84A-309A4AD22A1C}"/>
              </a:ext>
            </a:extLst>
          </p:cNvPr>
          <p:cNvSpPr txBox="1">
            <a:spLocks/>
          </p:cNvSpPr>
          <p:nvPr/>
        </p:nvSpPr>
        <p:spPr>
          <a:xfrm>
            <a:off x="698830" y="3608725"/>
            <a:ext cx="3610437" cy="2700000"/>
          </a:xfrm>
          <a:prstGeom prst="rect">
            <a:avLst/>
          </a:prstGeom>
          <a:noFill/>
          <a:ln w="6350">
            <a:noFill/>
            <a:prstDash val="solid"/>
          </a:ln>
          <a:extLst>
            <a:ext uri="{909E8E84-426E-40DD-AFC4-6F175D3DCCD1}">
              <a14:hiddenFill xmlns:a14="http://schemas.microsoft.com/office/drawing/2010/main">
                <a:solidFill>
                  <a:schemeClr val="accent6">
                    <a:lumMod val="95000"/>
                  </a:schemeClr>
                </a:solidFill>
              </a14:hiddenFill>
            </a:ext>
            <a:ext uri="{91240B29-F687-4F45-9708-019B960494DF}">
              <a14:hiddenLine xmlns:a14="http://schemas.microsoft.com/office/drawing/2010/main" w="6350">
                <a:solidFill>
                  <a:srgbClr val="22777B"/>
                </a:solidFill>
                <a:prstDash val="solid"/>
              </a14:hiddenLine>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defRPr lang="nl-NL"/>
            </a:defPPr>
            <a:lvl1pPr marL="0" marR="0" lvl="0" indent="0" fontAlgn="auto">
              <a:spcAft>
                <a:spcPts val="0"/>
              </a:spcAft>
              <a:buClr>
                <a:srgbClr val="22777B"/>
              </a:buClr>
              <a:buSzTx/>
              <a:buNone/>
              <a:tabLst/>
              <a:defRPr kumimoji="0" sz="1000" b="0" i="0" u="none" strike="noStrike" cap="none" spc="0" normalizeH="0" baseline="0">
                <a:ln>
                  <a:noFill/>
                </a:ln>
                <a:effectLst/>
                <a:uLnTx/>
                <a:uFillTx/>
              </a:defRPr>
            </a:lvl1pPr>
          </a:lstStyle>
          <a:p>
            <a:r>
              <a:rPr lang="nl-NL" dirty="0"/>
              <a:t>Voorwaarden om deze monitoring te realiseren zijn:</a:t>
            </a:r>
          </a:p>
          <a:p>
            <a:pPr marL="171450" indent="-171450">
              <a:buFont typeface="Wingdings" panose="05000000000000000000" pitchFamily="2" charset="2"/>
              <a:buChar char="§"/>
            </a:pPr>
            <a:r>
              <a:rPr lang="nl-NL" b="1" dirty="0"/>
              <a:t>Afspraken met vervoerders doelgroepenvervoer over eigenaarschap data: </a:t>
            </a:r>
            <a:r>
              <a:rPr lang="nl-NL" dirty="0"/>
              <a:t>vervoerders zijn niet altijd bereid om data te delen. Gemeenten moeten daarom via aanbestedingen aansturen op dataverzameling en hierover contractueel afspraken maken.</a:t>
            </a:r>
          </a:p>
          <a:p>
            <a:pPr marL="171450" indent="-171450">
              <a:buFont typeface="Wingdings" panose="05000000000000000000" pitchFamily="2" charset="2"/>
              <a:buChar char="§"/>
            </a:pPr>
            <a:r>
              <a:rPr lang="nl-NL" b="1" dirty="0"/>
              <a:t>Afspraken met uitvoerders OV (en andere vervoersvoorzieningen)</a:t>
            </a:r>
            <a:r>
              <a:rPr lang="nl-NL" dirty="0"/>
              <a:t>: idealiter vergaren overheden ook inzichten in reispatronen bij andere vervoersvoorzieningen. Op basis hiervan kunnen mogelijkheden onderzocht worden voor integreren van doelgroepenvervoer en andere vervoersvormen.</a:t>
            </a:r>
            <a:endParaRPr lang="nl-NL" b="1" dirty="0"/>
          </a:p>
          <a:p>
            <a:endParaRPr lang="nl-NL" dirty="0"/>
          </a:p>
        </p:txBody>
      </p:sp>
      <p:cxnSp>
        <p:nvCxnSpPr>
          <p:cNvPr id="46" name="Straight Arrow Connector 45">
            <a:extLst>
              <a:ext uri="{FF2B5EF4-FFF2-40B4-BE49-F238E27FC236}">
                <a16:creationId xmlns:a16="http://schemas.microsoft.com/office/drawing/2014/main" id="{929EA7E9-3AF5-4F6C-AE3C-EA280B96AE2B}"/>
              </a:ext>
            </a:extLst>
          </p:cNvPr>
          <p:cNvCxnSpPr>
            <a:cxnSpLocks/>
          </p:cNvCxnSpPr>
          <p:nvPr/>
        </p:nvCxnSpPr>
        <p:spPr>
          <a:xfrm flipH="1">
            <a:off x="8012097" y="2773113"/>
            <a:ext cx="506263" cy="597098"/>
          </a:xfrm>
          <a:prstGeom prst="straightConnector1">
            <a:avLst/>
          </a:prstGeom>
          <a:ln w="6350">
            <a:solidFill>
              <a:srgbClr val="22777B"/>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Content Placeholder 2">
            <a:extLst>
              <a:ext uri="{FF2B5EF4-FFF2-40B4-BE49-F238E27FC236}">
                <a16:creationId xmlns:a16="http://schemas.microsoft.com/office/drawing/2014/main" id="{CA4129D6-6D9F-4D38-96EF-F664F2CB1670}"/>
              </a:ext>
            </a:extLst>
          </p:cNvPr>
          <p:cNvSpPr txBox="1">
            <a:spLocks/>
          </p:cNvSpPr>
          <p:nvPr/>
        </p:nvSpPr>
        <p:spPr>
          <a:xfrm>
            <a:off x="664829" y="3608725"/>
            <a:ext cx="36000" cy="1769977"/>
          </a:xfrm>
          <a:prstGeom prst="rect">
            <a:avLst/>
          </a:prstGeom>
          <a:solidFill>
            <a:srgbClr val="22777B"/>
          </a:solidFill>
          <a:ln w="9525">
            <a:noFill/>
          </a:ln>
        </p:spPr>
        <p:txBody>
          <a:bodyPr vert="horz" lIns="72000" tIns="72000" rIns="72000" bIns="72000" rtlCol="0">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endParaRPr lang="nl-NL" sz="1000" b="1" dirty="0"/>
          </a:p>
        </p:txBody>
      </p:sp>
      <p:cxnSp>
        <p:nvCxnSpPr>
          <p:cNvPr id="95" name="Straight Arrow Connector 94">
            <a:extLst>
              <a:ext uri="{FF2B5EF4-FFF2-40B4-BE49-F238E27FC236}">
                <a16:creationId xmlns:a16="http://schemas.microsoft.com/office/drawing/2014/main" id="{49999642-3645-4A62-91C8-017718726D8F}"/>
              </a:ext>
            </a:extLst>
          </p:cNvPr>
          <p:cNvCxnSpPr>
            <a:cxnSpLocks/>
          </p:cNvCxnSpPr>
          <p:nvPr/>
        </p:nvCxnSpPr>
        <p:spPr>
          <a:xfrm flipH="1">
            <a:off x="8012097" y="3260278"/>
            <a:ext cx="506263" cy="292452"/>
          </a:xfrm>
          <a:prstGeom prst="straightConnector1">
            <a:avLst/>
          </a:prstGeom>
          <a:ln w="6350">
            <a:solidFill>
              <a:srgbClr val="22777B"/>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73B8ED2-A50F-47D6-9A0A-EF5B39F96EBA}"/>
              </a:ext>
            </a:extLst>
          </p:cNvPr>
          <p:cNvCxnSpPr>
            <a:cxnSpLocks/>
          </p:cNvCxnSpPr>
          <p:nvPr/>
        </p:nvCxnSpPr>
        <p:spPr>
          <a:xfrm flipH="1">
            <a:off x="8039471" y="3747443"/>
            <a:ext cx="451514" cy="0"/>
          </a:xfrm>
          <a:prstGeom prst="straightConnector1">
            <a:avLst/>
          </a:prstGeom>
          <a:ln w="6350">
            <a:solidFill>
              <a:srgbClr val="22777B"/>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442CAB8C-E6E5-4F66-A81B-90A589266777}"/>
              </a:ext>
            </a:extLst>
          </p:cNvPr>
          <p:cNvCxnSpPr>
            <a:cxnSpLocks/>
          </p:cNvCxnSpPr>
          <p:nvPr/>
        </p:nvCxnSpPr>
        <p:spPr>
          <a:xfrm flipH="1" flipV="1">
            <a:off x="8051503" y="3950556"/>
            <a:ext cx="451514" cy="284052"/>
          </a:xfrm>
          <a:prstGeom prst="straightConnector1">
            <a:avLst/>
          </a:prstGeom>
          <a:ln w="6350">
            <a:solidFill>
              <a:srgbClr val="22777B"/>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7" name="Picture 6" descr="Graphical user interface, map&#10;&#10;Description automatically generated">
            <a:extLst>
              <a:ext uri="{FF2B5EF4-FFF2-40B4-BE49-F238E27FC236}">
                <a16:creationId xmlns:a16="http://schemas.microsoft.com/office/drawing/2014/main" id="{48AE74F3-A67F-4A8E-8752-1A65BFAE3AE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rot="21188675">
            <a:off x="4418669" y="2538705"/>
            <a:ext cx="3606320" cy="2141605"/>
          </a:xfrm>
          <a:prstGeom prst="rect">
            <a:avLst/>
          </a:prstGeom>
          <a:ln>
            <a:solidFill>
              <a:schemeClr val="accent1"/>
            </a:solidFill>
          </a:ln>
        </p:spPr>
      </p:pic>
      <p:sp>
        <p:nvSpPr>
          <p:cNvPr id="54" name="Content Placeholder 2">
            <a:extLst>
              <a:ext uri="{FF2B5EF4-FFF2-40B4-BE49-F238E27FC236}">
                <a16:creationId xmlns:a16="http://schemas.microsoft.com/office/drawing/2014/main" id="{8D30A185-8F9E-495D-B519-8DA435875EBD}"/>
              </a:ext>
            </a:extLst>
          </p:cNvPr>
          <p:cNvSpPr txBox="1">
            <a:spLocks/>
          </p:cNvSpPr>
          <p:nvPr/>
        </p:nvSpPr>
        <p:spPr>
          <a:xfrm>
            <a:off x="8494296" y="2611113"/>
            <a:ext cx="3024000" cy="324000"/>
          </a:xfrm>
          <a:prstGeom prst="rect">
            <a:avLst/>
          </a:prstGeom>
          <a:solidFill>
            <a:schemeClr val="bg1">
              <a:lumMod val="95000"/>
            </a:schemeClr>
          </a:solidFill>
          <a:ln w="6350">
            <a:solidFill>
              <a:srgbClr val="22777B"/>
            </a:solidFill>
            <a:prstDash val="soli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nl-NL"/>
            </a:defPPr>
            <a:lvl1pPr marL="0" marR="0" lvl="0" indent="0" fontAlgn="auto">
              <a:spcAft>
                <a:spcPts val="0"/>
              </a:spcAft>
              <a:buClr>
                <a:srgbClr val="22777B"/>
              </a:buClr>
              <a:buSzTx/>
              <a:buNone/>
              <a:tabLst/>
              <a:defRPr kumimoji="0" sz="1000" b="0" i="0" u="none" strike="noStrike" cap="none" spc="0" normalizeH="0" baseline="0">
                <a:ln>
                  <a:noFill/>
                </a:ln>
                <a:effectLst/>
                <a:uLnTx/>
                <a:uFillTx/>
              </a:defRPr>
            </a:lvl1pPr>
          </a:lstStyle>
          <a:p>
            <a:r>
              <a:rPr lang="nl-NL" dirty="0"/>
              <a:t>Een gedetailleerder beleid dat aansluit op behoeftes en wensen van de doelgroep</a:t>
            </a:r>
          </a:p>
        </p:txBody>
      </p:sp>
      <p:sp>
        <p:nvSpPr>
          <p:cNvPr id="55" name="Rectangle 54">
            <a:extLst>
              <a:ext uri="{FF2B5EF4-FFF2-40B4-BE49-F238E27FC236}">
                <a16:creationId xmlns:a16="http://schemas.microsoft.com/office/drawing/2014/main" id="{3490ECAA-F7BA-4FDD-9E4B-4B37891BD048}"/>
              </a:ext>
            </a:extLst>
          </p:cNvPr>
          <p:cNvSpPr/>
          <p:nvPr/>
        </p:nvSpPr>
        <p:spPr>
          <a:xfrm>
            <a:off x="8494296" y="2267948"/>
            <a:ext cx="3024000" cy="180000"/>
          </a:xfrm>
          <a:prstGeom prst="rect">
            <a:avLst/>
          </a:prstGeom>
          <a:solidFill>
            <a:srgbClr val="22777B"/>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delen</a:t>
            </a:r>
          </a:p>
        </p:txBody>
      </p:sp>
      <p:sp>
        <p:nvSpPr>
          <p:cNvPr id="86" name="Content Placeholder 2">
            <a:extLst>
              <a:ext uri="{FF2B5EF4-FFF2-40B4-BE49-F238E27FC236}">
                <a16:creationId xmlns:a16="http://schemas.microsoft.com/office/drawing/2014/main" id="{31F26FF5-782C-4D67-8323-0037D4F4B09E}"/>
              </a:ext>
            </a:extLst>
          </p:cNvPr>
          <p:cNvSpPr txBox="1">
            <a:spLocks/>
          </p:cNvSpPr>
          <p:nvPr/>
        </p:nvSpPr>
        <p:spPr>
          <a:xfrm>
            <a:off x="8494296" y="3098278"/>
            <a:ext cx="3024000" cy="324000"/>
          </a:xfrm>
          <a:prstGeom prst="rect">
            <a:avLst/>
          </a:prstGeom>
          <a:solidFill>
            <a:schemeClr val="bg1">
              <a:lumMod val="95000"/>
            </a:schemeClr>
          </a:solidFill>
          <a:ln w="6350">
            <a:solidFill>
              <a:srgbClr val="22777B"/>
            </a:solidFill>
            <a:prstDash val="soli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nl-NL"/>
            </a:defPPr>
            <a:lvl1pPr marL="0" marR="0" lvl="0" indent="0" fontAlgn="auto">
              <a:spcAft>
                <a:spcPts val="0"/>
              </a:spcAft>
              <a:buClr>
                <a:srgbClr val="22777B"/>
              </a:buClr>
              <a:buSzTx/>
              <a:buNone/>
              <a:tabLst/>
              <a:defRPr kumimoji="0" sz="1000" b="0" i="0" u="none" strike="noStrike" cap="none" spc="0" normalizeH="0" baseline="0">
                <a:ln>
                  <a:noFill/>
                </a:ln>
                <a:effectLst/>
                <a:uLnTx/>
                <a:uFillTx/>
              </a:defRPr>
            </a:lvl1pPr>
          </a:lstStyle>
          <a:p>
            <a:r>
              <a:rPr lang="nl-NL" dirty="0"/>
              <a:t>Een efficiënter beleid waarbij kostenbesparingen gerealiseerd kunnen worden.</a:t>
            </a:r>
          </a:p>
        </p:txBody>
      </p:sp>
      <p:sp>
        <p:nvSpPr>
          <p:cNvPr id="89" name="Content Placeholder 2">
            <a:extLst>
              <a:ext uri="{FF2B5EF4-FFF2-40B4-BE49-F238E27FC236}">
                <a16:creationId xmlns:a16="http://schemas.microsoft.com/office/drawing/2014/main" id="{CAE9D418-0951-4308-AD57-330E2116088D}"/>
              </a:ext>
            </a:extLst>
          </p:cNvPr>
          <p:cNvSpPr txBox="1">
            <a:spLocks/>
          </p:cNvSpPr>
          <p:nvPr/>
        </p:nvSpPr>
        <p:spPr>
          <a:xfrm>
            <a:off x="8494296" y="3585443"/>
            <a:ext cx="3024000" cy="324000"/>
          </a:xfrm>
          <a:prstGeom prst="rect">
            <a:avLst/>
          </a:prstGeom>
          <a:solidFill>
            <a:schemeClr val="bg1">
              <a:lumMod val="95000"/>
            </a:schemeClr>
          </a:solidFill>
          <a:ln w="6350">
            <a:solidFill>
              <a:srgbClr val="22777B"/>
            </a:solidFill>
            <a:prstDash val="soli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nl-NL"/>
            </a:defPPr>
            <a:lvl1pPr marL="0" marR="0" lvl="0" indent="0" fontAlgn="auto">
              <a:spcAft>
                <a:spcPts val="0"/>
              </a:spcAft>
              <a:buClr>
                <a:srgbClr val="22777B"/>
              </a:buClr>
              <a:buSzTx/>
              <a:buNone/>
              <a:tabLst/>
              <a:defRPr kumimoji="0" sz="1000" b="0" i="0" u="none" strike="noStrike" cap="none" spc="0" normalizeH="0" baseline="0">
                <a:ln>
                  <a:noFill/>
                </a:ln>
                <a:effectLst/>
                <a:uLnTx/>
                <a:uFillTx/>
              </a:defRPr>
            </a:lvl1pPr>
          </a:lstStyle>
          <a:p>
            <a:r>
              <a:rPr lang="nl-NL" dirty="0"/>
              <a:t>Gerichte sturing op de performance van vervoerders</a:t>
            </a:r>
          </a:p>
        </p:txBody>
      </p:sp>
      <p:sp>
        <p:nvSpPr>
          <p:cNvPr id="90" name="Content Placeholder 2">
            <a:extLst>
              <a:ext uri="{FF2B5EF4-FFF2-40B4-BE49-F238E27FC236}">
                <a16:creationId xmlns:a16="http://schemas.microsoft.com/office/drawing/2014/main" id="{BD9BFCAB-6151-4D13-AB9B-10DAE2224E5E}"/>
              </a:ext>
            </a:extLst>
          </p:cNvPr>
          <p:cNvSpPr txBox="1">
            <a:spLocks/>
          </p:cNvSpPr>
          <p:nvPr/>
        </p:nvSpPr>
        <p:spPr>
          <a:xfrm>
            <a:off x="8494296" y="4072608"/>
            <a:ext cx="3024000" cy="324000"/>
          </a:xfrm>
          <a:prstGeom prst="rect">
            <a:avLst/>
          </a:prstGeom>
          <a:solidFill>
            <a:schemeClr val="bg1">
              <a:lumMod val="95000"/>
            </a:schemeClr>
          </a:solidFill>
          <a:ln w="6350">
            <a:solidFill>
              <a:srgbClr val="22777B"/>
            </a:solidFill>
            <a:prstDash val="soli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nl-NL"/>
            </a:defPPr>
            <a:lvl1pPr marL="0" marR="0" lvl="0" indent="0" fontAlgn="auto">
              <a:spcAft>
                <a:spcPts val="0"/>
              </a:spcAft>
              <a:buClr>
                <a:srgbClr val="22777B"/>
              </a:buClr>
              <a:buSzTx/>
              <a:buNone/>
              <a:tabLst/>
              <a:defRPr kumimoji="0" sz="1000" b="0" i="0" u="none" strike="noStrike" cap="none" spc="0" normalizeH="0" baseline="0">
                <a:ln>
                  <a:noFill/>
                </a:ln>
                <a:effectLst/>
                <a:uLnTx/>
                <a:uFillTx/>
              </a:defRPr>
            </a:lvl1pPr>
          </a:lstStyle>
          <a:p>
            <a:r>
              <a:rPr lang="nl-NL" dirty="0"/>
              <a:t>Inzichten in knelpunten (lange wachttijden, no-shows, lage bezettingsgraad)</a:t>
            </a:r>
          </a:p>
        </p:txBody>
      </p:sp>
      <p:sp>
        <p:nvSpPr>
          <p:cNvPr id="164" name="Speech Bubble: Rectangle 163">
            <a:extLst>
              <a:ext uri="{FF2B5EF4-FFF2-40B4-BE49-F238E27FC236}">
                <a16:creationId xmlns:a16="http://schemas.microsoft.com/office/drawing/2014/main" id="{3E080E87-515E-4C74-AEEE-7F6AD75F7EEA}"/>
              </a:ext>
            </a:extLst>
          </p:cNvPr>
          <p:cNvSpPr/>
          <p:nvPr/>
        </p:nvSpPr>
        <p:spPr>
          <a:xfrm rot="458575">
            <a:off x="6758815" y="4929181"/>
            <a:ext cx="2958455" cy="1172727"/>
          </a:xfrm>
          <a:prstGeom prst="wedgeRectCallout">
            <a:avLst>
              <a:gd name="adj1" fmla="val -65156"/>
              <a:gd name="adj2" fmla="val -38637"/>
            </a:avLst>
          </a:prstGeom>
          <a:solidFill>
            <a:schemeClr val="bg1">
              <a:lumMod val="95000"/>
            </a:schemeClr>
          </a:solidFill>
          <a:ln w="9525">
            <a:noFill/>
          </a:ln>
          <a:extLst>
            <a:ext uri="{91240B29-F687-4F45-9708-019B960494DF}">
              <a14:hiddenLine xmlns:a14="http://schemas.microsoft.com/office/drawing/2010/main" w="9525">
                <a:solidFill>
                  <a:schemeClr val="accent6">
                    <a:lumMod val="65000"/>
                  </a:schemeClr>
                </a:solidFill>
              </a14:hiddenLine>
            </a:ext>
          </a:ex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indent="0">
              <a:buClr>
                <a:schemeClr val="tx2"/>
              </a:buClr>
              <a:buNone/>
            </a:pPr>
            <a:r>
              <a:rPr lang="nl-NL" sz="1000" dirty="0"/>
              <a:t>In regio </a:t>
            </a:r>
            <a:r>
              <a:rPr lang="nl-NL" sz="1000" b="1" dirty="0"/>
              <a:t>Groningen-Drenthe </a:t>
            </a:r>
            <a:r>
              <a:rPr lang="nl-NL" sz="1000" dirty="0"/>
              <a:t>is </a:t>
            </a:r>
            <a:r>
              <a:rPr lang="nl-NL" sz="1000" b="1" dirty="0"/>
              <a:t>Publiek Vervoer </a:t>
            </a:r>
            <a:r>
              <a:rPr lang="nl-NL" sz="1000" dirty="0"/>
              <a:t>verantwoordelijk voor monitoring. Zij vergelijken de rittenbakken en combinatiegraad van de verschillende gemeenten. In de toekomst hopen zij ook de bezettingsgraad van OV te monitoren en de kosten- en ritefficiëntie te kunnen bepalen o.b.v herkomst- en bestemmingspatronen.</a:t>
            </a:r>
            <a:endParaRPr kumimoji="0" lang="nl-NL" sz="1000" i="0" u="none" strike="noStrike" kern="1200" cap="none" spc="0" normalizeH="0" baseline="0" noProof="0" dirty="0">
              <a:ln>
                <a:noFill/>
              </a:ln>
              <a:effectLst/>
              <a:uLnTx/>
              <a:uFillTx/>
            </a:endParaRPr>
          </a:p>
        </p:txBody>
      </p:sp>
      <p:grpSp>
        <p:nvGrpSpPr>
          <p:cNvPr id="28" name="Group 27">
            <a:extLst>
              <a:ext uri="{FF2B5EF4-FFF2-40B4-BE49-F238E27FC236}">
                <a16:creationId xmlns:a16="http://schemas.microsoft.com/office/drawing/2014/main" id="{847E42FA-4712-47C4-AF2F-54FC25486695}"/>
              </a:ext>
            </a:extLst>
          </p:cNvPr>
          <p:cNvGrpSpPr/>
          <p:nvPr/>
        </p:nvGrpSpPr>
        <p:grpSpPr>
          <a:xfrm>
            <a:off x="701659" y="55733"/>
            <a:ext cx="2040807" cy="176387"/>
            <a:chOff x="701659" y="55733"/>
            <a:chExt cx="2040807" cy="176387"/>
          </a:xfrm>
        </p:grpSpPr>
        <p:sp>
          <p:nvSpPr>
            <p:cNvPr id="29" name="Rectangle: Rounded Corners 28">
              <a:extLst>
                <a:ext uri="{FF2B5EF4-FFF2-40B4-BE49-F238E27FC236}">
                  <a16:creationId xmlns:a16="http://schemas.microsoft.com/office/drawing/2014/main" id="{4E464966-3F05-4329-BEEC-9604D89F8028}"/>
                </a:ext>
              </a:extLst>
            </p:cNvPr>
            <p:cNvSpPr/>
            <p:nvPr/>
          </p:nvSpPr>
          <p:spPr>
            <a:xfrm>
              <a:off x="93125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a:t>
              </a:r>
            </a:p>
          </p:txBody>
        </p:sp>
        <p:sp>
          <p:nvSpPr>
            <p:cNvPr id="30" name="Rectangle: Rounded Corners 29">
              <a:extLst>
                <a:ext uri="{FF2B5EF4-FFF2-40B4-BE49-F238E27FC236}">
                  <a16:creationId xmlns:a16="http://schemas.microsoft.com/office/drawing/2014/main" id="{5D767BAF-39A9-4578-93C2-8FA21F48C23D}"/>
                </a:ext>
              </a:extLst>
            </p:cNvPr>
            <p:cNvSpPr/>
            <p:nvPr/>
          </p:nvSpPr>
          <p:spPr>
            <a:xfrm>
              <a:off x="116084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2</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31" name="Rectangle: Rounded Corners 30">
              <a:extLst>
                <a:ext uri="{FF2B5EF4-FFF2-40B4-BE49-F238E27FC236}">
                  <a16:creationId xmlns:a16="http://schemas.microsoft.com/office/drawing/2014/main" id="{521B12DB-0EA7-47BF-9DE8-F7A44AFD055A}"/>
                </a:ext>
              </a:extLst>
            </p:cNvPr>
            <p:cNvSpPr/>
            <p:nvPr/>
          </p:nvSpPr>
          <p:spPr>
            <a:xfrm>
              <a:off x="1390441"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3</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32" name="Rectangle: Rounded Corners 31">
              <a:extLst>
                <a:ext uri="{FF2B5EF4-FFF2-40B4-BE49-F238E27FC236}">
                  <a16:creationId xmlns:a16="http://schemas.microsoft.com/office/drawing/2014/main" id="{C8FC23F1-90C8-41CC-BB5B-C10FF64AC05D}"/>
                </a:ext>
              </a:extLst>
            </p:cNvPr>
            <p:cNvSpPr/>
            <p:nvPr/>
          </p:nvSpPr>
          <p:spPr>
            <a:xfrm>
              <a:off x="1620035"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4</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33" name="Rectangle: Rounded Corners 32">
              <a:extLst>
                <a:ext uri="{FF2B5EF4-FFF2-40B4-BE49-F238E27FC236}">
                  <a16:creationId xmlns:a16="http://schemas.microsoft.com/office/drawing/2014/main" id="{8FE8F9A5-5439-4869-82EA-A198EF1AEA9B}"/>
                </a:ext>
              </a:extLst>
            </p:cNvPr>
            <p:cNvSpPr/>
            <p:nvPr/>
          </p:nvSpPr>
          <p:spPr>
            <a:xfrm>
              <a:off x="1849629" y="55733"/>
              <a:ext cx="204053" cy="176387"/>
            </a:xfrm>
            <a:prstGeom prst="roundRect">
              <a:avLst/>
            </a:prstGeom>
            <a:solidFill>
              <a:srgbClr val="EC6224"/>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5</a:t>
              </a:r>
            </a:p>
          </p:txBody>
        </p:sp>
        <p:sp>
          <p:nvSpPr>
            <p:cNvPr id="34" name="Rectangle: Rounded Corners 33">
              <a:extLst>
                <a:ext uri="{FF2B5EF4-FFF2-40B4-BE49-F238E27FC236}">
                  <a16:creationId xmlns:a16="http://schemas.microsoft.com/office/drawing/2014/main" id="{10095D48-E2EA-492B-AC6F-A225B0756857}"/>
                </a:ext>
              </a:extLst>
            </p:cNvPr>
            <p:cNvSpPr/>
            <p:nvPr/>
          </p:nvSpPr>
          <p:spPr>
            <a:xfrm>
              <a:off x="207922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6</a:t>
              </a:r>
            </a:p>
          </p:txBody>
        </p:sp>
        <p:sp>
          <p:nvSpPr>
            <p:cNvPr id="35" name="Rectangle: Rounded Corners 34">
              <a:extLst>
                <a:ext uri="{FF2B5EF4-FFF2-40B4-BE49-F238E27FC236}">
                  <a16:creationId xmlns:a16="http://schemas.microsoft.com/office/drawing/2014/main" id="{23E78D4E-1CEC-4649-B86E-F2E6CCD221B8}"/>
                </a:ext>
              </a:extLst>
            </p:cNvPr>
            <p:cNvSpPr/>
            <p:nvPr/>
          </p:nvSpPr>
          <p:spPr>
            <a:xfrm>
              <a:off x="230881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7</a:t>
              </a:r>
            </a:p>
          </p:txBody>
        </p:sp>
        <p:sp>
          <p:nvSpPr>
            <p:cNvPr id="36" name="Rectangle: Rounded Corners 35">
              <a:extLst>
                <a:ext uri="{FF2B5EF4-FFF2-40B4-BE49-F238E27FC236}">
                  <a16:creationId xmlns:a16="http://schemas.microsoft.com/office/drawing/2014/main" id="{87B9EBD4-8B9E-4F48-8105-15C6AAF5B441}"/>
                </a:ext>
              </a:extLst>
            </p:cNvPr>
            <p:cNvSpPr/>
            <p:nvPr/>
          </p:nvSpPr>
          <p:spPr>
            <a:xfrm>
              <a:off x="253841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8</a:t>
              </a:r>
            </a:p>
          </p:txBody>
        </p:sp>
        <p:grpSp>
          <p:nvGrpSpPr>
            <p:cNvPr id="37" name="Group 36">
              <a:extLst>
                <a:ext uri="{FF2B5EF4-FFF2-40B4-BE49-F238E27FC236}">
                  <a16:creationId xmlns:a16="http://schemas.microsoft.com/office/drawing/2014/main" id="{23EEED9A-DA4B-4B98-B536-762C468B12BC}"/>
                </a:ext>
              </a:extLst>
            </p:cNvPr>
            <p:cNvGrpSpPr/>
            <p:nvPr/>
          </p:nvGrpSpPr>
          <p:grpSpPr>
            <a:xfrm>
              <a:off x="701659" y="55733"/>
              <a:ext cx="204053" cy="176387"/>
              <a:chOff x="701659" y="55733"/>
              <a:chExt cx="204053" cy="176387"/>
            </a:xfrm>
          </p:grpSpPr>
          <p:sp>
            <p:nvSpPr>
              <p:cNvPr id="38" name="Rectangle: Rounded Corners 37">
                <a:extLst>
                  <a:ext uri="{FF2B5EF4-FFF2-40B4-BE49-F238E27FC236}">
                    <a16:creationId xmlns:a16="http://schemas.microsoft.com/office/drawing/2014/main" id="{BC63B022-21FD-4FBF-8405-54090D0D62F9}"/>
                  </a:ext>
                </a:extLst>
              </p:cNvPr>
              <p:cNvSpPr/>
              <p:nvPr/>
            </p:nvSpPr>
            <p:spPr>
              <a:xfrm>
                <a:off x="70165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39" name="Graphic 38" descr="Home with solid fill">
                <a:hlinkClick r:id="rId8" action="ppaction://hlinksldjump"/>
                <a:extLst>
                  <a:ext uri="{FF2B5EF4-FFF2-40B4-BE49-F238E27FC236}">
                    <a16:creationId xmlns:a16="http://schemas.microsoft.com/office/drawing/2014/main" id="{43F017F0-A827-4FA6-9305-674BE270D105}"/>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34263" y="63707"/>
                <a:ext cx="136149" cy="136149"/>
              </a:xfrm>
              <a:prstGeom prst="rect">
                <a:avLst/>
              </a:prstGeom>
            </p:spPr>
          </p:pic>
        </p:grpSp>
      </p:grpSp>
    </p:spTree>
    <p:extLst>
      <p:ext uri="{BB962C8B-B14F-4D97-AF65-F5344CB8AC3E}">
        <p14:creationId xmlns:p14="http://schemas.microsoft.com/office/powerpoint/2010/main" val="20110461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A7E2A55-853B-47A9-A999-76B509545684}"/>
              </a:ext>
            </a:extLst>
          </p:cNvPr>
          <p:cNvGraphicFramePr>
            <a:graphicFrameLocks noChangeAspect="1"/>
          </p:cNvGraphicFramePr>
          <p:nvPr>
            <p:custDataLst>
              <p:tags r:id="rId2"/>
            </p:custDataLst>
            <p:extLst>
              <p:ext uri="{D42A27DB-BD31-4B8C-83A1-F6EECF244321}">
                <p14:modId xmlns:p14="http://schemas.microsoft.com/office/powerpoint/2010/main" val="1691653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0"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DA7E2A55-853B-47A9-A999-76B5095456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5" name="Content Placeholder 2">
            <a:extLst>
              <a:ext uri="{FF2B5EF4-FFF2-40B4-BE49-F238E27FC236}">
                <a16:creationId xmlns:a16="http://schemas.microsoft.com/office/drawing/2014/main" id="{737FEC3E-0727-43E1-8CB8-CF99200F2C7B}"/>
              </a:ext>
            </a:extLst>
          </p:cNvPr>
          <p:cNvSpPr txBox="1">
            <a:spLocks/>
          </p:cNvSpPr>
          <p:nvPr/>
        </p:nvSpPr>
        <p:spPr>
          <a:xfrm>
            <a:off x="663374" y="1600586"/>
            <a:ext cx="5148000" cy="1483317"/>
          </a:xfrm>
          <a:prstGeom prst="rect">
            <a:avLst/>
          </a:prstGeom>
          <a:noFill/>
          <a:ln w="19050">
            <a:noFill/>
          </a:ln>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b="1" dirty="0">
                <a:solidFill>
                  <a:srgbClr val="22777B"/>
                </a:solidFill>
              </a:rPr>
              <a:t>In het kort</a:t>
            </a:r>
          </a:p>
        </p:txBody>
      </p:sp>
      <p:sp>
        <p:nvSpPr>
          <p:cNvPr id="84" name="Rectangle 83">
            <a:extLst>
              <a:ext uri="{FF2B5EF4-FFF2-40B4-BE49-F238E27FC236}">
                <a16:creationId xmlns:a16="http://schemas.microsoft.com/office/drawing/2014/main" id="{A1BD0942-A641-4B94-B25F-C3CA16A90D70}"/>
              </a:ext>
            </a:extLst>
          </p:cNvPr>
          <p:cNvSpPr/>
          <p:nvPr/>
        </p:nvSpPr>
        <p:spPr>
          <a:xfrm>
            <a:off x="651593" y="1898011"/>
            <a:ext cx="5433219" cy="1483317"/>
          </a:xfrm>
          <a:prstGeom prst="rect">
            <a:avLst/>
          </a:prstGeom>
          <a:noFill/>
          <a:ln>
            <a:noFill/>
          </a:ln>
          <a:extLst>
            <a:ext uri="{909E8E84-426E-40DD-AFC4-6F175D3DCCD1}">
              <a14:hiddenFill xmlns:a14="http://schemas.microsoft.com/office/drawing/2010/main">
                <a:solidFill>
                  <a:srgbClr val="95C5C9"/>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3" name="Content Placeholder 2">
            <a:extLst>
              <a:ext uri="{FF2B5EF4-FFF2-40B4-BE49-F238E27FC236}">
                <a16:creationId xmlns:a16="http://schemas.microsoft.com/office/drawing/2014/main" id="{7B117B2E-14BE-46A5-806A-1345A264A3BC}"/>
              </a:ext>
            </a:extLst>
          </p:cNvPr>
          <p:cNvSpPr>
            <a:spLocks noGrp="1"/>
          </p:cNvSpPr>
          <p:nvPr>
            <p:ph sz="quarter" idx="31"/>
          </p:nvPr>
        </p:nvSpPr>
        <p:spPr>
          <a:xfrm>
            <a:off x="716845" y="1870859"/>
            <a:ext cx="5360400" cy="1013571"/>
          </a:xfrm>
          <a:prstGeom prst="rect">
            <a:avLst/>
          </a:prstGeom>
          <a:solidFill>
            <a:schemeClr val="bg1"/>
          </a:solidFill>
          <a:ln w="9525">
            <a:noFill/>
          </a:ln>
        </p:spPr>
        <p:txBody>
          <a:bodyPr tIns="0" bIns="0">
            <a:noAutofit/>
          </a:bodyPr>
          <a:lstStyle/>
          <a:p>
            <a:pPr marL="0" indent="0">
              <a:buNone/>
            </a:pPr>
            <a:r>
              <a:rPr lang="nl-NL" sz="1000" dirty="0"/>
              <a:t>Een regiecentrale is één centrale plek waar ritten aangenomen en gepland worden en waar (indien callcenter / app worden opgenomen) ook reisadvies kan worden gegeven. De regiecentrale creëert als het ware een slim zenuwcentrum tussen beleid en uitvoering. De taken en organisatie hiervan kunnen naar wens ingevuld worden door gemeenten. Het meenemen van zoveel mogelijk voorzieningen biedt de meeste mogelijkheden voor de gebruiker en het verhogen van efficiëntie.</a:t>
            </a:r>
          </a:p>
          <a:p>
            <a:pPr marL="0" indent="0">
              <a:buNone/>
            </a:pPr>
            <a:r>
              <a:rPr lang="nl-NL" sz="1000" dirty="0"/>
              <a:t>Het is tot slot mogelijk aanbestedingen, contractmanagement en indicatie door de regiecentrale te laten uitvoeren; dit is vooral nuttig bij regionale samenwerking.</a:t>
            </a:r>
          </a:p>
        </p:txBody>
      </p:sp>
      <p:sp>
        <p:nvSpPr>
          <p:cNvPr id="5" name="Footer Placeholder 4">
            <a:extLst>
              <a:ext uri="{FF2B5EF4-FFF2-40B4-BE49-F238E27FC236}">
                <a16:creationId xmlns:a16="http://schemas.microsoft.com/office/drawing/2014/main" id="{6450BDB4-A43E-402D-996C-55C79B926CE4}"/>
              </a:ext>
            </a:extLst>
          </p:cNvPr>
          <p:cNvSpPr>
            <a:spLocks noGrp="1"/>
          </p:cNvSpPr>
          <p:nvPr>
            <p:ph type="ftr" sz="quarter" idx="3"/>
          </p:nvPr>
        </p:nvSpPr>
        <p:spPr>
          <a:xfrm>
            <a:off x="662780" y="6598736"/>
            <a:ext cx="10868400" cy="122400"/>
          </a:xfrm>
        </p:spPr>
        <p:txBody>
          <a:bodyPr/>
          <a:lstStyle/>
          <a:p>
            <a:r>
              <a:rPr lang="nl-NL" dirty="0"/>
              <a:t>Bron: KpVV CROW, ‘Regiecentrale: wat is het en hoe werkt het?’ (datum onbekend); Goudappel Coffeng, ‘Verkenning Landschap Sociaal Vervoer 2020’ (24 april 2020)</a:t>
            </a:r>
          </a:p>
        </p:txBody>
      </p:sp>
      <p:sp>
        <p:nvSpPr>
          <p:cNvPr id="6" name="Slide Number Placeholder 5">
            <a:extLst>
              <a:ext uri="{FF2B5EF4-FFF2-40B4-BE49-F238E27FC236}">
                <a16:creationId xmlns:a16="http://schemas.microsoft.com/office/drawing/2014/main" id="{EA5B4AF5-72CF-4819-8135-F522810EB50A}"/>
              </a:ext>
            </a:extLst>
          </p:cNvPr>
          <p:cNvSpPr>
            <a:spLocks noGrp="1"/>
          </p:cNvSpPr>
          <p:nvPr>
            <p:ph type="sldNum" sz="quarter" idx="12"/>
          </p:nvPr>
        </p:nvSpPr>
        <p:spPr/>
        <p:txBody>
          <a:bodyPr/>
          <a:lstStyle/>
          <a:p>
            <a:fld id="{992CD0B2-8AB2-4C6C-8876-E15753662C9B}" type="slidenum">
              <a:rPr lang="nl-NL" smtClean="0"/>
              <a:pPr/>
              <a:t>21</a:t>
            </a:fld>
            <a:endParaRPr lang="nl-NL" dirty="0"/>
          </a:p>
        </p:txBody>
      </p:sp>
      <p:sp>
        <p:nvSpPr>
          <p:cNvPr id="8" name="Title 7">
            <a:extLst>
              <a:ext uri="{FF2B5EF4-FFF2-40B4-BE49-F238E27FC236}">
                <a16:creationId xmlns:a16="http://schemas.microsoft.com/office/drawing/2014/main" id="{4CF772DC-DC31-4B79-9450-0687029A3727}"/>
              </a:ext>
            </a:extLst>
          </p:cNvPr>
          <p:cNvSpPr>
            <a:spLocks noGrp="1"/>
          </p:cNvSpPr>
          <p:nvPr>
            <p:ph type="title"/>
          </p:nvPr>
        </p:nvSpPr>
        <p:spPr>
          <a:xfrm>
            <a:off x="-1" y="265387"/>
            <a:ext cx="12192001" cy="942979"/>
          </a:xfrm>
          <a:solidFill>
            <a:srgbClr val="22777B"/>
          </a:solidFill>
        </p:spPr>
        <p:txBody>
          <a:bodyPr vert="horz" anchor="ctr"/>
          <a:lstStyle/>
          <a:p>
            <a:r>
              <a:rPr lang="nl-NL" dirty="0">
                <a:solidFill>
                  <a:srgbClr val="FFFFFF"/>
                </a:solidFill>
              </a:rPr>
              <a:t>	</a:t>
            </a:r>
          </a:p>
        </p:txBody>
      </p:sp>
      <p:sp>
        <p:nvSpPr>
          <p:cNvPr id="75" name="Content Placeholder 2">
            <a:extLst>
              <a:ext uri="{FF2B5EF4-FFF2-40B4-BE49-F238E27FC236}">
                <a16:creationId xmlns:a16="http://schemas.microsoft.com/office/drawing/2014/main" id="{86BFB595-C26D-406A-9756-BE4D262E449C}"/>
              </a:ext>
            </a:extLst>
          </p:cNvPr>
          <p:cNvSpPr txBox="1">
            <a:spLocks/>
          </p:cNvSpPr>
          <p:nvPr/>
        </p:nvSpPr>
        <p:spPr>
          <a:xfrm>
            <a:off x="672916" y="3126878"/>
            <a:ext cx="36000" cy="2016000"/>
          </a:xfrm>
          <a:prstGeom prst="rect">
            <a:avLst/>
          </a:prstGeom>
          <a:solidFill>
            <a:srgbClr val="22777B"/>
          </a:solidFill>
          <a:ln w="9525">
            <a:noFill/>
          </a:ln>
        </p:spPr>
        <p:txBody>
          <a:bodyPr vert="horz" lIns="72000" tIns="72000" rIns="72000" bIns="72000" rtlCol="0">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endParaRPr lang="nl-NL" sz="1000" b="1" dirty="0">
              <a:solidFill>
                <a:srgbClr val="68ABB0"/>
              </a:solidFill>
            </a:endParaRPr>
          </a:p>
        </p:txBody>
      </p:sp>
      <p:sp>
        <p:nvSpPr>
          <p:cNvPr id="60" name="Content Placeholder 2">
            <a:extLst>
              <a:ext uri="{FF2B5EF4-FFF2-40B4-BE49-F238E27FC236}">
                <a16:creationId xmlns:a16="http://schemas.microsoft.com/office/drawing/2014/main" id="{34E668A6-F276-439E-A84A-309A4AD22A1C}"/>
              </a:ext>
            </a:extLst>
          </p:cNvPr>
          <p:cNvSpPr txBox="1">
            <a:spLocks/>
          </p:cNvSpPr>
          <p:nvPr/>
        </p:nvSpPr>
        <p:spPr>
          <a:xfrm>
            <a:off x="716845" y="3126878"/>
            <a:ext cx="5360400" cy="2042187"/>
          </a:xfrm>
          <a:prstGeom prst="rect">
            <a:avLst/>
          </a:prstGeom>
          <a:solidFill>
            <a:schemeClr val="bg1"/>
          </a:solidFill>
          <a:ln w="9525">
            <a:noFill/>
          </a:ln>
        </p:spPr>
        <p:txBody>
          <a:bodyPr vert="horz" lIns="72000" tIns="0" rIns="72000" bIns="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sz="1000" dirty="0"/>
              <a:t>Een regiecentrale creëert een meer integraal (doelgroepen)vervoer, met als voordelen:</a:t>
            </a:r>
          </a:p>
          <a:p>
            <a:r>
              <a:rPr lang="nl-NL" sz="1000" b="1" dirty="0"/>
              <a:t>Integrale, efficiënte planning</a:t>
            </a:r>
            <a:r>
              <a:rPr lang="nl-NL" sz="1000" dirty="0"/>
              <a:t>:</a:t>
            </a:r>
            <a:r>
              <a:rPr lang="nl-NL" sz="1000" b="1" dirty="0"/>
              <a:t> </a:t>
            </a:r>
            <a:r>
              <a:rPr lang="nl-NL" sz="1000" dirty="0"/>
              <a:t>met volledig zicht op vraag en aanbod kan capaciteit op- of afschaald worden, kunnen voorzieningen gecombineerd worden en voertuigen efficiënt worden ingezet voor verschillende doelgroepen (bijv. volgtijdelijke bundeling</a:t>
            </a:r>
            <a:r>
              <a:rPr lang="nl-NL" sz="1000" baseline="30000" dirty="0"/>
              <a:t>1</a:t>
            </a:r>
            <a:r>
              <a:rPr lang="nl-NL" sz="1000" dirty="0"/>
              <a:t>)</a:t>
            </a:r>
            <a:endParaRPr lang="nl-NL" sz="1000" b="1" dirty="0"/>
          </a:p>
          <a:p>
            <a:r>
              <a:rPr lang="nl-NL" sz="1000" b="1" dirty="0"/>
              <a:t>Gemak voor gebruikers: </a:t>
            </a:r>
            <a:r>
              <a:rPr lang="nl-NL" sz="1000" dirty="0"/>
              <a:t>alle informatie en boekingen worden aangeboden via één loket</a:t>
            </a:r>
            <a:endParaRPr lang="nl-NL" sz="1000" b="1" dirty="0"/>
          </a:p>
          <a:p>
            <a:r>
              <a:rPr lang="nl-NL" sz="1000" b="1" dirty="0"/>
              <a:t>Onafhankelijk reisadvies op maat ondersteunt verschuiving naar OV</a:t>
            </a:r>
            <a:r>
              <a:rPr lang="nl-NL" sz="1000" dirty="0"/>
              <a:t>: regiecentrales kunnen reizigers wijzen op de beste optie incl. (betere) alternatieven voor Wmo-vervoer die minder kosten zoals OV en deelmobiliteit. Ook is het mogelijk een indicatie per reis af te geven</a:t>
            </a:r>
            <a:endParaRPr lang="nl-NL" sz="1000" b="1" dirty="0"/>
          </a:p>
          <a:p>
            <a:r>
              <a:rPr lang="nl-NL" sz="1000" b="1" dirty="0"/>
              <a:t>Concentratie van expertise op één plek</a:t>
            </a:r>
            <a:r>
              <a:rPr lang="nl-NL" sz="1000" dirty="0"/>
              <a:t>: door opbouw van kennis kan geïnvesteerd worden in hoogwaardige monitoring en data-analyse om efficiëntie te verhogen. Ook overheadkosten zijn bij meerdere voorzieningen en regio’s makkelijker te verlagen</a:t>
            </a:r>
          </a:p>
          <a:p>
            <a:r>
              <a:rPr lang="nl-NL" sz="1000" b="1" dirty="0"/>
              <a:t>Vervoerscapaciteit is flexibeler en meer open voor kleine vervoerders</a:t>
            </a:r>
            <a:r>
              <a:rPr lang="nl-NL" sz="1000" dirty="0"/>
              <a:t>: er kan makkelijker een vaste capaciteit worden ingekocht in combinatie met een flexibele schil </a:t>
            </a:r>
          </a:p>
        </p:txBody>
      </p:sp>
      <p:sp>
        <p:nvSpPr>
          <p:cNvPr id="47" name="TextBox 46">
            <a:extLst>
              <a:ext uri="{FF2B5EF4-FFF2-40B4-BE49-F238E27FC236}">
                <a16:creationId xmlns:a16="http://schemas.microsoft.com/office/drawing/2014/main" id="{4716077D-F49C-442C-BDB1-5D321EBE6829}"/>
              </a:ext>
            </a:extLst>
          </p:cNvPr>
          <p:cNvSpPr txBox="1"/>
          <p:nvPr/>
        </p:nvSpPr>
        <p:spPr>
          <a:xfrm>
            <a:off x="658813" y="274425"/>
            <a:ext cx="6724448" cy="230832"/>
          </a:xfrm>
          <a:prstGeom prst="rect">
            <a:avLst/>
          </a:prstGeom>
          <a:noFill/>
        </p:spPr>
        <p:txBody>
          <a:bodyPr wrap="square">
            <a:spAutoFit/>
          </a:bodyPr>
          <a:lstStyle/>
          <a:p>
            <a:pPr marL="0" indent="0">
              <a:buNone/>
            </a:pPr>
            <a:r>
              <a:rPr lang="nl-NL" sz="1000" b="1">
                <a:solidFill>
                  <a:srgbClr val="FFFFFF"/>
                </a:solidFill>
              </a:rPr>
              <a:t>Inrichten </a:t>
            </a:r>
            <a:r>
              <a:rPr lang="nl-NL" sz="1000" b="1" dirty="0">
                <a:solidFill>
                  <a:srgbClr val="FFFFFF"/>
                </a:solidFill>
              </a:rPr>
              <a:t>regiecentrale</a:t>
            </a:r>
          </a:p>
        </p:txBody>
      </p:sp>
      <p:sp>
        <p:nvSpPr>
          <p:cNvPr id="48" name="TextBox 47">
            <a:extLst>
              <a:ext uri="{FF2B5EF4-FFF2-40B4-BE49-F238E27FC236}">
                <a16:creationId xmlns:a16="http://schemas.microsoft.com/office/drawing/2014/main" id="{4B8BE3FC-F351-4532-B8C6-69DA96834DD2}"/>
              </a:ext>
            </a:extLst>
          </p:cNvPr>
          <p:cNvSpPr txBox="1"/>
          <p:nvPr/>
        </p:nvSpPr>
        <p:spPr>
          <a:xfrm>
            <a:off x="658813" y="617566"/>
            <a:ext cx="10921582" cy="424732"/>
          </a:xfrm>
          <a:prstGeom prst="rect">
            <a:avLst/>
          </a:prstGeom>
          <a:noFill/>
        </p:spPr>
        <p:txBody>
          <a:bodyPr wrap="square" anchor="ctr">
            <a:spAutoFit/>
          </a:bodyPr>
          <a:lstStyle/>
          <a:p>
            <a:pPr marL="0" indent="0">
              <a:buNone/>
            </a:pPr>
            <a:r>
              <a:rPr lang="nl-NL" sz="2400" b="1" dirty="0">
                <a:solidFill>
                  <a:srgbClr val="FFFFFF"/>
                </a:solidFill>
              </a:rPr>
              <a:t>Regiecentrale als slim zenuwcentrum tussen beleid en uitvoering </a:t>
            </a:r>
          </a:p>
        </p:txBody>
      </p:sp>
      <p:cxnSp>
        <p:nvCxnSpPr>
          <p:cNvPr id="13" name="Straight Arrow Connector 12">
            <a:extLst>
              <a:ext uri="{FF2B5EF4-FFF2-40B4-BE49-F238E27FC236}">
                <a16:creationId xmlns:a16="http://schemas.microsoft.com/office/drawing/2014/main" id="{447B87B2-221E-4D4F-BEBF-B974418C2A45}"/>
              </a:ext>
            </a:extLst>
          </p:cNvPr>
          <p:cNvCxnSpPr>
            <a:cxnSpLocks/>
          </p:cNvCxnSpPr>
          <p:nvPr/>
        </p:nvCxnSpPr>
        <p:spPr>
          <a:xfrm rot="5400000">
            <a:off x="6804498" y="3248647"/>
            <a:ext cx="453640" cy="0"/>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E934F7D9-EE9C-452C-8FDA-317709494241}"/>
              </a:ext>
            </a:extLst>
          </p:cNvPr>
          <p:cNvCxnSpPr>
            <a:cxnSpLocks/>
          </p:cNvCxnSpPr>
          <p:nvPr/>
        </p:nvCxnSpPr>
        <p:spPr>
          <a:xfrm rot="5400000">
            <a:off x="6804498" y="4976699"/>
            <a:ext cx="453640" cy="0"/>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C03BE47A-8D4E-49EF-BF2A-332C39F3D9E9}"/>
              </a:ext>
            </a:extLst>
          </p:cNvPr>
          <p:cNvSpPr/>
          <p:nvPr/>
        </p:nvSpPr>
        <p:spPr>
          <a:xfrm>
            <a:off x="6475074" y="5372725"/>
            <a:ext cx="1080000" cy="936000"/>
          </a:xfrm>
          <a:prstGeom prst="rect">
            <a:avLst/>
          </a:prstGeom>
          <a:solidFill>
            <a:schemeClr val="accent5"/>
          </a:solidFill>
          <a:ln w="9525">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lang="nl-NL" sz="1000" b="1" dirty="0"/>
              <a:t>Vervoerders</a:t>
            </a:r>
            <a:endParaRPr kumimoji="0" lang="nl-NL" sz="1000" b="1" i="0" u="none" strike="noStrike" kern="1200" cap="none" spc="0" normalizeH="0" baseline="0" noProof="0" dirty="0">
              <a:ln>
                <a:noFill/>
              </a:ln>
              <a:effectLst/>
              <a:uLnTx/>
              <a:uFillTx/>
              <a:latin typeface="Corbel" panose="020B0503020204020204" pitchFamily="34" charset="0"/>
              <a:ea typeface="+mn-ea"/>
              <a:cs typeface="+mn-cs"/>
            </a:endParaRPr>
          </a:p>
        </p:txBody>
      </p:sp>
      <p:grpSp>
        <p:nvGrpSpPr>
          <p:cNvPr id="17" name="Group 16">
            <a:extLst>
              <a:ext uri="{FF2B5EF4-FFF2-40B4-BE49-F238E27FC236}">
                <a16:creationId xmlns:a16="http://schemas.microsoft.com/office/drawing/2014/main" id="{976B3512-F6E5-46EC-840E-17C2879AE8E3}"/>
              </a:ext>
            </a:extLst>
          </p:cNvPr>
          <p:cNvGrpSpPr/>
          <p:nvPr/>
        </p:nvGrpSpPr>
        <p:grpSpPr>
          <a:xfrm>
            <a:off x="6475074" y="3621792"/>
            <a:ext cx="1080000" cy="936000"/>
            <a:chOff x="6137446" y="3647485"/>
            <a:chExt cx="1080000" cy="936000"/>
          </a:xfrm>
        </p:grpSpPr>
        <p:sp>
          <p:nvSpPr>
            <p:cNvPr id="24" name="Rectangle 23">
              <a:extLst>
                <a:ext uri="{FF2B5EF4-FFF2-40B4-BE49-F238E27FC236}">
                  <a16:creationId xmlns:a16="http://schemas.microsoft.com/office/drawing/2014/main" id="{2B753FFB-972C-4890-AAF0-DC9688C67F76}"/>
                </a:ext>
              </a:extLst>
            </p:cNvPr>
            <p:cNvSpPr/>
            <p:nvPr/>
          </p:nvSpPr>
          <p:spPr>
            <a:xfrm>
              <a:off x="6137446" y="3647485"/>
              <a:ext cx="1080000" cy="936000"/>
            </a:xfrm>
            <a:prstGeom prst="rect">
              <a:avLst/>
            </a:prstGeom>
            <a:solidFill>
              <a:schemeClr val="accent5"/>
            </a:solidFill>
            <a:ln w="9525">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effectLst/>
                  <a:uLnTx/>
                  <a:uFillTx/>
                  <a:latin typeface="Corbel" panose="020B0503020204020204" pitchFamily="34" charset="0"/>
                  <a:ea typeface="+mn-ea"/>
                  <a:cs typeface="+mn-cs"/>
                </a:rPr>
                <a:t>Regiecentrale</a:t>
              </a:r>
              <a:endParaRPr kumimoji="0" lang="nl-NL" sz="100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12" name="Graphic 11" descr="Call center with solid fill">
              <a:extLst>
                <a:ext uri="{FF2B5EF4-FFF2-40B4-BE49-F238E27FC236}">
                  <a16:creationId xmlns:a16="http://schemas.microsoft.com/office/drawing/2014/main" id="{CC502D81-9292-4491-BE66-D12191D4CE2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35702" y="3943412"/>
              <a:ext cx="483488" cy="483488"/>
            </a:xfrm>
            <a:prstGeom prst="rect">
              <a:avLst/>
            </a:prstGeom>
          </p:spPr>
        </p:pic>
      </p:grpSp>
      <p:grpSp>
        <p:nvGrpSpPr>
          <p:cNvPr id="16" name="Group 15">
            <a:extLst>
              <a:ext uri="{FF2B5EF4-FFF2-40B4-BE49-F238E27FC236}">
                <a16:creationId xmlns:a16="http://schemas.microsoft.com/office/drawing/2014/main" id="{FCCB941B-9744-4374-B075-F027699FD915}"/>
              </a:ext>
            </a:extLst>
          </p:cNvPr>
          <p:cNvGrpSpPr/>
          <p:nvPr/>
        </p:nvGrpSpPr>
        <p:grpSpPr>
          <a:xfrm>
            <a:off x="6475074" y="1870859"/>
            <a:ext cx="1080000" cy="936000"/>
            <a:chOff x="6318312" y="1916621"/>
            <a:chExt cx="1080000" cy="936000"/>
          </a:xfrm>
        </p:grpSpPr>
        <p:sp>
          <p:nvSpPr>
            <p:cNvPr id="37" name="Rectangle 36">
              <a:extLst>
                <a:ext uri="{FF2B5EF4-FFF2-40B4-BE49-F238E27FC236}">
                  <a16:creationId xmlns:a16="http://schemas.microsoft.com/office/drawing/2014/main" id="{EAFA8D22-C0DB-4B03-94F5-73F6AB467DE0}"/>
                </a:ext>
              </a:extLst>
            </p:cNvPr>
            <p:cNvSpPr/>
            <p:nvPr/>
          </p:nvSpPr>
          <p:spPr>
            <a:xfrm>
              <a:off x="6318312" y="1916621"/>
              <a:ext cx="1080000" cy="936000"/>
            </a:xfrm>
            <a:prstGeom prst="rect">
              <a:avLst/>
            </a:prstGeom>
            <a:solidFill>
              <a:schemeClr val="accent5"/>
            </a:solidFill>
            <a:ln w="9525">
              <a:solidFill>
                <a:srgbClr val="22777B"/>
              </a:solidFill>
            </a:ln>
          </p:spPr>
          <p:txBody>
            <a:bodyPr rot="0" spcFirstLastPara="0" vertOverflow="overflow" horzOverflow="overflow" vert="horz" wrap="square" lIns="36000" tIns="72000" rIns="36000" bIns="72000" numCol="1" spcCol="0" rtlCol="0" fromWordArt="0" anchor="t"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effectLst/>
                  <a:uLnTx/>
                  <a:uFillTx/>
                  <a:latin typeface="Corbel" panose="020B0503020204020204" pitchFamily="34" charset="0"/>
                  <a:ea typeface="+mn-ea"/>
                  <a:cs typeface="+mn-cs"/>
                </a:rPr>
                <a:t>Gemeente(n)</a:t>
              </a:r>
            </a:p>
          </p:txBody>
        </p:sp>
        <p:pic>
          <p:nvPicPr>
            <p:cNvPr id="15" name="Graphic 14" descr="Schoolhouse with solid fill">
              <a:extLst>
                <a:ext uri="{FF2B5EF4-FFF2-40B4-BE49-F238E27FC236}">
                  <a16:creationId xmlns:a16="http://schemas.microsoft.com/office/drawing/2014/main" id="{ABDC3202-641D-4D64-A69B-06207D795A3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39351" y="2173091"/>
              <a:ext cx="637923" cy="637923"/>
            </a:xfrm>
            <a:prstGeom prst="rect">
              <a:avLst/>
            </a:prstGeom>
          </p:spPr>
        </p:pic>
      </p:grpSp>
      <p:graphicFrame>
        <p:nvGraphicFramePr>
          <p:cNvPr id="43" name="Table 8">
            <a:extLst>
              <a:ext uri="{FF2B5EF4-FFF2-40B4-BE49-F238E27FC236}">
                <a16:creationId xmlns:a16="http://schemas.microsoft.com/office/drawing/2014/main" id="{E165D6AF-3396-4B96-B8B4-7097158AABAB}"/>
              </a:ext>
            </a:extLst>
          </p:cNvPr>
          <p:cNvGraphicFramePr>
            <a:graphicFrameLocks noGrp="1"/>
          </p:cNvGraphicFramePr>
          <p:nvPr>
            <p:extLst>
              <p:ext uri="{D42A27DB-BD31-4B8C-83A1-F6EECF244321}">
                <p14:modId xmlns:p14="http://schemas.microsoft.com/office/powerpoint/2010/main" val="2406275817"/>
              </p:ext>
            </p:extLst>
          </p:nvPr>
        </p:nvGraphicFramePr>
        <p:xfrm>
          <a:off x="7899621" y="2869694"/>
          <a:ext cx="3635617" cy="2448095"/>
        </p:xfrm>
        <a:graphic>
          <a:graphicData uri="http://schemas.openxmlformats.org/drawingml/2006/table">
            <a:tbl>
              <a:tblPr firstRow="1" bandRow="1">
                <a:tableStyleId>{5C22544A-7EE6-4342-B048-85BDC9FD1C3A}</a:tableStyleId>
              </a:tblPr>
              <a:tblGrid>
                <a:gridCol w="765408">
                  <a:extLst>
                    <a:ext uri="{9D8B030D-6E8A-4147-A177-3AD203B41FA5}">
                      <a16:colId xmlns:a16="http://schemas.microsoft.com/office/drawing/2014/main" val="2887523933"/>
                    </a:ext>
                  </a:extLst>
                </a:gridCol>
                <a:gridCol w="2490651">
                  <a:extLst>
                    <a:ext uri="{9D8B030D-6E8A-4147-A177-3AD203B41FA5}">
                      <a16:colId xmlns:a16="http://schemas.microsoft.com/office/drawing/2014/main" val="3353491691"/>
                    </a:ext>
                  </a:extLst>
                </a:gridCol>
                <a:gridCol w="379558">
                  <a:extLst>
                    <a:ext uri="{9D8B030D-6E8A-4147-A177-3AD203B41FA5}">
                      <a16:colId xmlns:a16="http://schemas.microsoft.com/office/drawing/2014/main" val="1472547455"/>
                    </a:ext>
                  </a:extLst>
                </a:gridCol>
              </a:tblGrid>
              <a:tr h="216969">
                <a:tc rowSpan="5">
                  <a:txBody>
                    <a:bodyPr/>
                    <a:lstStyle/>
                    <a:p>
                      <a:pPr algn="ctr" rtl="0"/>
                      <a:r>
                        <a:rPr lang="nl-NL" sz="1000" b="0" i="0" u="none" dirty="0">
                          <a:solidFill>
                            <a:srgbClr val="000000"/>
                          </a:solidFill>
                        </a:rPr>
                        <a:t>Mogelijke taken</a:t>
                      </a:r>
                    </a:p>
                  </a:txBody>
                  <a:tcPr marL="0" marR="0" marT="0" marB="0" anchor="ctr">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FE3E6"/>
                    </a:solidFill>
                  </a:tcPr>
                </a:tc>
                <a:tc>
                  <a:txBody>
                    <a:bodyPr/>
                    <a:lstStyle/>
                    <a:p>
                      <a:pPr rtl="0"/>
                      <a:r>
                        <a:rPr lang="nl-NL" sz="1000" b="0" i="0" dirty="0">
                          <a:solidFill>
                            <a:srgbClr val="000000"/>
                          </a:solidFill>
                        </a:rPr>
                        <a:t>Bepalen inkoopstrategie en aanbesteden</a:t>
                      </a:r>
                    </a:p>
                  </a:txBody>
                  <a:tcPr marL="36000" marR="36000" marT="18000" marB="18000" anchor="ctr">
                    <a:lnL w="9525"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rtl="0"/>
                      <a:endParaRPr lang="nl-NL" sz="1000" b="0" i="0" dirty="0">
                        <a:solidFill>
                          <a:srgbClr val="000000"/>
                        </a:solidFill>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340031272"/>
                  </a:ext>
                </a:extLst>
              </a:tr>
              <a:tr h="216969">
                <a:tc vMerge="1">
                  <a:txBody>
                    <a:bodyPr/>
                    <a:lstStyle/>
                    <a:p>
                      <a:endParaRPr lang="nl-NL"/>
                    </a:p>
                  </a:txBody>
                  <a:tcPr>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E3E6"/>
                    </a:solidFill>
                  </a:tcPr>
                </a:tc>
                <a:tc>
                  <a:txBody>
                    <a:bodyPr/>
                    <a:lstStyle/>
                    <a:p>
                      <a:pPr rtl="0"/>
                      <a:r>
                        <a:rPr lang="nl-NL" sz="1000" b="0" i="0" dirty="0">
                          <a:solidFill>
                            <a:srgbClr val="000000"/>
                          </a:solidFill>
                        </a:rPr>
                        <a:t>Managen contract</a:t>
                      </a:r>
                    </a:p>
                  </a:txBody>
                  <a:tcPr marL="36000" marR="36000" marT="18000" marB="18000" anchor="ctr">
                    <a:lnL w="9525"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rtl="0"/>
                      <a:endParaRPr lang="nl-NL" sz="1000" b="0" i="0" dirty="0">
                        <a:solidFill>
                          <a:srgbClr val="000000"/>
                        </a:solidFill>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613929394"/>
                  </a:ext>
                </a:extLst>
              </a:tr>
              <a:tr h="216969">
                <a:tc vMerge="1">
                  <a:txBody>
                    <a:bodyPr/>
                    <a:lstStyle/>
                    <a:p>
                      <a:endParaRPr lang="nl-NL"/>
                    </a:p>
                  </a:txBody>
                  <a:tcPr/>
                </a:tc>
                <a:tc>
                  <a:txBody>
                    <a:bodyPr/>
                    <a:lstStyle/>
                    <a:p>
                      <a:pPr rtl="0"/>
                      <a:r>
                        <a:rPr lang="nl-NL" sz="1000" b="0" i="0" dirty="0">
                          <a:solidFill>
                            <a:srgbClr val="000000"/>
                          </a:solidFill>
                        </a:rPr>
                        <a:t>Indiceren</a:t>
                      </a:r>
                    </a:p>
                  </a:txBody>
                  <a:tcPr marL="36000" marR="36000" marT="18000" marB="18000" anchor="ctr">
                    <a:lnL w="9525"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rtl="0"/>
                      <a:endParaRPr lang="nl-NL" sz="1000" b="0" i="0" dirty="0">
                        <a:solidFill>
                          <a:srgbClr val="000000"/>
                        </a:solidFill>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431356361"/>
                  </a:ext>
                </a:extLst>
              </a:tr>
              <a:tr h="216969">
                <a:tc vMerge="1">
                  <a:txBody>
                    <a:bodyPr/>
                    <a:lstStyle/>
                    <a:p>
                      <a:endParaRPr lang="nl-NL" sz="1000" dirty="0"/>
                    </a:p>
                  </a:txBody>
                  <a:tcPr>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E3E6"/>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b="0" i="0" dirty="0">
                          <a:solidFill>
                            <a:srgbClr val="000000"/>
                          </a:solidFill>
                        </a:rPr>
                        <a:t>Organiseren boekingsproces</a:t>
                      </a:r>
                    </a:p>
                  </a:txBody>
                  <a:tcPr marL="36000" marR="36000" marT="18000" marB="18000" anchor="ctr">
                    <a:lnL w="9525"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nl-NL" sz="1000" b="0" i="0" dirty="0">
                        <a:solidFill>
                          <a:srgbClr val="000000"/>
                        </a:solidFill>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565840093"/>
                  </a:ext>
                </a:extLst>
              </a:tr>
              <a:tr h="216969">
                <a:tc vMerge="1">
                  <a:txBody>
                    <a:bodyPr/>
                    <a:lstStyle/>
                    <a:p>
                      <a:endParaRPr lang="nl-NL" sz="1000" dirty="0"/>
                    </a:p>
                  </a:txBody>
                  <a:tcPr>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E3E6"/>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b="0" i="0" dirty="0">
                          <a:solidFill>
                            <a:srgbClr val="000000"/>
                          </a:solidFill>
                        </a:rPr>
                        <a:t>Plannen rit (operationele en tactische regie)</a:t>
                      </a:r>
                    </a:p>
                  </a:txBody>
                  <a:tcPr marL="36000" marR="36000" marT="18000" marB="18000" anchor="ctr">
                    <a:lnL w="9525"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nl-NL" sz="1000" b="0" i="0" dirty="0">
                        <a:solidFill>
                          <a:srgbClr val="000000"/>
                        </a:solidFill>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041243921"/>
                  </a:ext>
                </a:extLst>
              </a:tr>
              <a:tr h="216969">
                <a:tc rowSpan="4">
                  <a:txBody>
                    <a:bodyPr/>
                    <a:lstStyle/>
                    <a:p>
                      <a:pPr algn="ctr" rtl="0"/>
                      <a:r>
                        <a:rPr lang="nl-NL" sz="1000" b="0" i="0" u="none" dirty="0">
                          <a:solidFill>
                            <a:srgbClr val="000000"/>
                          </a:solidFill>
                        </a:rPr>
                        <a:t>Mogelijke voorzieningen</a:t>
                      </a:r>
                    </a:p>
                  </a:txBody>
                  <a:tcPr marL="0" marR="0" marT="0" marB="0" anchor="ctr">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FE3E6"/>
                    </a:solidFill>
                  </a:tcPr>
                </a:tc>
                <a:tc>
                  <a:txBody>
                    <a:bodyPr/>
                    <a:lstStyle/>
                    <a:p>
                      <a:pPr rtl="0"/>
                      <a:r>
                        <a:rPr lang="nl-NL" sz="1000" b="0" i="0" dirty="0">
                          <a:solidFill>
                            <a:srgbClr val="000000"/>
                          </a:solidFill>
                        </a:rPr>
                        <a:t>Collectief Wmo-vervoer</a:t>
                      </a:r>
                    </a:p>
                  </a:txBody>
                  <a:tcPr marL="36000" marR="36000" marT="18000" marB="18000" anchor="ctr">
                    <a:lnL w="9525"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rtl="0"/>
                      <a:endParaRPr lang="nl-NL" sz="1000" b="0" i="0" dirty="0">
                        <a:solidFill>
                          <a:srgbClr val="000000"/>
                        </a:solidFill>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357829121"/>
                  </a:ext>
                </a:extLst>
              </a:tr>
              <a:tr h="229256">
                <a:tc vMerge="1">
                  <a:txBody>
                    <a:bodyPr/>
                    <a:lstStyle/>
                    <a:p>
                      <a:endParaRPr lang="nl-NL"/>
                    </a:p>
                  </a:txBody>
                  <a:tcPr/>
                </a:tc>
                <a:tc>
                  <a:txBody>
                    <a:bodyPr/>
                    <a:lstStyle/>
                    <a:p>
                      <a:pPr rtl="0"/>
                      <a:r>
                        <a:rPr lang="nl-NL" sz="1000" b="0" i="0" dirty="0">
                          <a:solidFill>
                            <a:srgbClr val="000000"/>
                          </a:solidFill>
                        </a:rPr>
                        <a:t>Meerdere voorzieningen doelgroepenvervoer</a:t>
                      </a:r>
                    </a:p>
                  </a:txBody>
                  <a:tcPr marL="36000" marR="36000" marT="18000" marB="18000" anchor="ctr">
                    <a:lnL w="9525"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rtl="0"/>
                      <a:endParaRPr lang="nl-NL" sz="1000" b="0" i="0" dirty="0">
                        <a:solidFill>
                          <a:srgbClr val="000000"/>
                        </a:solidFill>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600943446"/>
                  </a:ext>
                </a:extLst>
              </a:tr>
              <a:tr h="229256">
                <a:tc vMerge="1">
                  <a:txBody>
                    <a:bodyPr/>
                    <a:lstStyle/>
                    <a:p>
                      <a:endParaRPr lang="nl-NL"/>
                    </a:p>
                  </a:txBody>
                  <a:tcPr/>
                </a:tc>
                <a:tc>
                  <a:txBody>
                    <a:bodyPr/>
                    <a:lstStyle/>
                    <a:p>
                      <a:pPr rtl="0"/>
                      <a:r>
                        <a:rPr lang="nl-NL" sz="1000" b="0" i="0" dirty="0">
                          <a:solidFill>
                            <a:srgbClr val="000000"/>
                          </a:solidFill>
                        </a:rPr>
                        <a:t>Flex. mobiliteitsvoorzieningen</a:t>
                      </a:r>
                    </a:p>
                  </a:txBody>
                  <a:tcPr marL="36000" marR="36000" marT="18000" marB="18000" anchor="ctr">
                    <a:lnL w="9525"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rtl="0"/>
                      <a:endParaRPr lang="nl-NL" sz="1000" b="0" i="0" dirty="0">
                        <a:solidFill>
                          <a:srgbClr val="000000"/>
                        </a:solidFill>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023766797"/>
                  </a:ext>
                </a:extLst>
              </a:tr>
              <a:tr h="229256">
                <a:tc vMerge="1">
                  <a:txBody>
                    <a:bodyPr/>
                    <a:lstStyle/>
                    <a:p>
                      <a:endParaRPr lang="nl-NL" dirty="0"/>
                    </a:p>
                  </a:txBody>
                  <a:tcPr/>
                </a:tc>
                <a:tc>
                  <a:txBody>
                    <a:bodyPr/>
                    <a:lstStyle/>
                    <a:p>
                      <a:pPr rtl="0"/>
                      <a:r>
                        <a:rPr lang="nl-NL" sz="1000" b="0" i="0" dirty="0">
                          <a:solidFill>
                            <a:srgbClr val="000000"/>
                          </a:solidFill>
                        </a:rPr>
                        <a:t>Openbaar vervoer</a:t>
                      </a:r>
                    </a:p>
                  </a:txBody>
                  <a:tcPr marL="36000" marR="36000" marT="18000" marB="18000" anchor="ctr">
                    <a:lnL w="9525"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rtl="0"/>
                      <a:endParaRPr lang="nl-NL" sz="1000" b="0" i="0" dirty="0">
                        <a:solidFill>
                          <a:srgbClr val="000000"/>
                        </a:solidFill>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753601147"/>
                  </a:ext>
                </a:extLst>
              </a:tr>
              <a:tr h="458513">
                <a:tc>
                  <a:txBody>
                    <a:bodyPr/>
                    <a:lstStyle/>
                    <a:p>
                      <a:pPr algn="ctr" rtl="0"/>
                      <a:r>
                        <a:rPr lang="nl-NL" sz="1000" b="0" i="0" u="none" dirty="0">
                          <a:solidFill>
                            <a:srgbClr val="000000"/>
                          </a:solidFill>
                        </a:rPr>
                        <a:t>Exploitatie</a:t>
                      </a:r>
                    </a:p>
                  </a:txBody>
                  <a:tcPr marL="0" marR="0" marT="0" marB="0" anchor="ctr">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rgbClr val="CFE3E6"/>
                    </a:solidFill>
                  </a:tcPr>
                </a:tc>
                <a:tc>
                  <a:txBody>
                    <a:bodyPr/>
                    <a:lstStyle/>
                    <a:p>
                      <a:pPr rtl="0"/>
                      <a:r>
                        <a:rPr lang="nl-NL" sz="1000" b="0" i="0" dirty="0">
                          <a:solidFill>
                            <a:srgbClr val="000000"/>
                          </a:solidFill>
                        </a:rPr>
                        <a:t>Uitvoering bij gemeente of aanbesteed aan marktpartij</a:t>
                      </a:r>
                    </a:p>
                  </a:txBody>
                  <a:tcPr marL="36000" marR="36000" marT="18000" marB="18000" anchor="ctr">
                    <a:lnL w="9525"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rtl="0"/>
                      <a:r>
                        <a:rPr lang="nl-NL" sz="1000" b="0" i="1" dirty="0">
                          <a:solidFill>
                            <a:srgbClr val="000000"/>
                          </a:solidFill>
                        </a:rPr>
                        <a:t>Markt</a:t>
                      </a: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972275076"/>
                  </a:ext>
                </a:extLst>
              </a:tr>
            </a:tbl>
          </a:graphicData>
        </a:graphic>
      </p:graphicFrame>
      <p:sp>
        <p:nvSpPr>
          <p:cNvPr id="7" name="Right Brace 6">
            <a:extLst>
              <a:ext uri="{FF2B5EF4-FFF2-40B4-BE49-F238E27FC236}">
                <a16:creationId xmlns:a16="http://schemas.microsoft.com/office/drawing/2014/main" id="{B5EE87DE-0F42-4694-A4FE-AC9FD1A573DB}"/>
              </a:ext>
            </a:extLst>
          </p:cNvPr>
          <p:cNvSpPr/>
          <p:nvPr/>
        </p:nvSpPr>
        <p:spPr>
          <a:xfrm flipH="1">
            <a:off x="7662360" y="2869694"/>
            <a:ext cx="190908" cy="242085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grpSp>
        <p:nvGrpSpPr>
          <p:cNvPr id="45" name="Group 44">
            <a:extLst>
              <a:ext uri="{FF2B5EF4-FFF2-40B4-BE49-F238E27FC236}">
                <a16:creationId xmlns:a16="http://schemas.microsoft.com/office/drawing/2014/main" id="{AD2A4BEC-E4E1-4D6A-98E1-4DA5B60F6BAE}"/>
              </a:ext>
            </a:extLst>
          </p:cNvPr>
          <p:cNvGrpSpPr/>
          <p:nvPr/>
        </p:nvGrpSpPr>
        <p:grpSpPr>
          <a:xfrm>
            <a:off x="701659" y="55733"/>
            <a:ext cx="2040807" cy="176387"/>
            <a:chOff x="701659" y="55733"/>
            <a:chExt cx="2040807" cy="176387"/>
          </a:xfrm>
        </p:grpSpPr>
        <p:sp>
          <p:nvSpPr>
            <p:cNvPr id="46" name="Rectangle: Rounded Corners 45">
              <a:extLst>
                <a:ext uri="{FF2B5EF4-FFF2-40B4-BE49-F238E27FC236}">
                  <a16:creationId xmlns:a16="http://schemas.microsoft.com/office/drawing/2014/main" id="{21C1ABA8-3F20-4A37-BE50-2E94AABE954E}"/>
                </a:ext>
              </a:extLst>
            </p:cNvPr>
            <p:cNvSpPr/>
            <p:nvPr/>
          </p:nvSpPr>
          <p:spPr>
            <a:xfrm>
              <a:off x="93125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a:t>
              </a:r>
            </a:p>
          </p:txBody>
        </p:sp>
        <p:sp>
          <p:nvSpPr>
            <p:cNvPr id="49" name="Rectangle: Rounded Corners 48">
              <a:extLst>
                <a:ext uri="{FF2B5EF4-FFF2-40B4-BE49-F238E27FC236}">
                  <a16:creationId xmlns:a16="http://schemas.microsoft.com/office/drawing/2014/main" id="{36F3DEC4-3366-4CFC-BD0B-FDA8A8CB4FAF}"/>
                </a:ext>
              </a:extLst>
            </p:cNvPr>
            <p:cNvSpPr/>
            <p:nvPr/>
          </p:nvSpPr>
          <p:spPr>
            <a:xfrm>
              <a:off x="116084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2</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50" name="Rectangle: Rounded Corners 49">
              <a:extLst>
                <a:ext uri="{FF2B5EF4-FFF2-40B4-BE49-F238E27FC236}">
                  <a16:creationId xmlns:a16="http://schemas.microsoft.com/office/drawing/2014/main" id="{EB5D5AFF-FD60-4B2D-80A8-1EAC361C70CE}"/>
                </a:ext>
              </a:extLst>
            </p:cNvPr>
            <p:cNvSpPr/>
            <p:nvPr/>
          </p:nvSpPr>
          <p:spPr>
            <a:xfrm>
              <a:off x="1390441"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3</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51" name="Rectangle: Rounded Corners 50">
              <a:extLst>
                <a:ext uri="{FF2B5EF4-FFF2-40B4-BE49-F238E27FC236}">
                  <a16:creationId xmlns:a16="http://schemas.microsoft.com/office/drawing/2014/main" id="{90892683-53F9-447D-946D-8CFC8ACA5BC2}"/>
                </a:ext>
              </a:extLst>
            </p:cNvPr>
            <p:cNvSpPr/>
            <p:nvPr/>
          </p:nvSpPr>
          <p:spPr>
            <a:xfrm>
              <a:off x="1620035"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4</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52" name="Rectangle: Rounded Corners 51">
              <a:extLst>
                <a:ext uri="{FF2B5EF4-FFF2-40B4-BE49-F238E27FC236}">
                  <a16:creationId xmlns:a16="http://schemas.microsoft.com/office/drawing/2014/main" id="{D14C55A4-3FA4-45FA-92F4-AF307E85E6A1}"/>
                </a:ext>
              </a:extLst>
            </p:cNvPr>
            <p:cNvSpPr/>
            <p:nvPr/>
          </p:nvSpPr>
          <p:spPr>
            <a:xfrm>
              <a:off x="184962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5</a:t>
              </a:r>
            </a:p>
          </p:txBody>
        </p:sp>
        <p:sp>
          <p:nvSpPr>
            <p:cNvPr id="53" name="Rectangle: Rounded Corners 52">
              <a:extLst>
                <a:ext uri="{FF2B5EF4-FFF2-40B4-BE49-F238E27FC236}">
                  <a16:creationId xmlns:a16="http://schemas.microsoft.com/office/drawing/2014/main" id="{FCCB771C-D2F8-40F3-AEB9-9262A3016E3A}"/>
                </a:ext>
              </a:extLst>
            </p:cNvPr>
            <p:cNvSpPr/>
            <p:nvPr/>
          </p:nvSpPr>
          <p:spPr>
            <a:xfrm>
              <a:off x="2079223" y="55733"/>
              <a:ext cx="204053" cy="176387"/>
            </a:xfrm>
            <a:prstGeom prst="roundRect">
              <a:avLst/>
            </a:prstGeom>
            <a:solidFill>
              <a:srgbClr val="EC6224"/>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6</a:t>
              </a:r>
            </a:p>
          </p:txBody>
        </p:sp>
        <p:sp>
          <p:nvSpPr>
            <p:cNvPr id="54" name="Rectangle: Rounded Corners 53">
              <a:extLst>
                <a:ext uri="{FF2B5EF4-FFF2-40B4-BE49-F238E27FC236}">
                  <a16:creationId xmlns:a16="http://schemas.microsoft.com/office/drawing/2014/main" id="{A5F99972-1077-40FC-8100-B4FB49744A20}"/>
                </a:ext>
              </a:extLst>
            </p:cNvPr>
            <p:cNvSpPr/>
            <p:nvPr/>
          </p:nvSpPr>
          <p:spPr>
            <a:xfrm>
              <a:off x="230881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7</a:t>
              </a:r>
            </a:p>
          </p:txBody>
        </p:sp>
        <p:sp>
          <p:nvSpPr>
            <p:cNvPr id="55" name="Rectangle: Rounded Corners 54">
              <a:extLst>
                <a:ext uri="{FF2B5EF4-FFF2-40B4-BE49-F238E27FC236}">
                  <a16:creationId xmlns:a16="http://schemas.microsoft.com/office/drawing/2014/main" id="{4E719BA5-A2F8-44F5-9539-7CAD00BE042C}"/>
                </a:ext>
              </a:extLst>
            </p:cNvPr>
            <p:cNvSpPr/>
            <p:nvPr/>
          </p:nvSpPr>
          <p:spPr>
            <a:xfrm>
              <a:off x="253841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8</a:t>
              </a:r>
            </a:p>
          </p:txBody>
        </p:sp>
        <p:grpSp>
          <p:nvGrpSpPr>
            <p:cNvPr id="56" name="Group 55">
              <a:extLst>
                <a:ext uri="{FF2B5EF4-FFF2-40B4-BE49-F238E27FC236}">
                  <a16:creationId xmlns:a16="http://schemas.microsoft.com/office/drawing/2014/main" id="{4170E282-2440-4105-A251-F9FAA3AC5412}"/>
                </a:ext>
              </a:extLst>
            </p:cNvPr>
            <p:cNvGrpSpPr/>
            <p:nvPr/>
          </p:nvGrpSpPr>
          <p:grpSpPr>
            <a:xfrm>
              <a:off x="701659" y="55733"/>
              <a:ext cx="204053" cy="176387"/>
              <a:chOff x="701659" y="55733"/>
              <a:chExt cx="204053" cy="176387"/>
            </a:xfrm>
          </p:grpSpPr>
          <p:sp>
            <p:nvSpPr>
              <p:cNvPr id="57" name="Rectangle: Rounded Corners 56">
                <a:extLst>
                  <a:ext uri="{FF2B5EF4-FFF2-40B4-BE49-F238E27FC236}">
                    <a16:creationId xmlns:a16="http://schemas.microsoft.com/office/drawing/2014/main" id="{AE4777AF-7780-4D02-BDB6-D5EE34D850F8}"/>
                  </a:ext>
                </a:extLst>
              </p:cNvPr>
              <p:cNvSpPr/>
              <p:nvPr/>
            </p:nvSpPr>
            <p:spPr>
              <a:xfrm>
                <a:off x="70165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8" name="Graphic 57" descr="Home with solid fill">
                <a:hlinkClick r:id="rId11" action="ppaction://hlinksldjump"/>
                <a:extLst>
                  <a:ext uri="{FF2B5EF4-FFF2-40B4-BE49-F238E27FC236}">
                    <a16:creationId xmlns:a16="http://schemas.microsoft.com/office/drawing/2014/main" id="{18E1A611-EE17-4BBB-86BE-DB88B7BC3284}"/>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34263" y="63707"/>
                <a:ext cx="136149" cy="136149"/>
              </a:xfrm>
              <a:prstGeom prst="rect">
                <a:avLst/>
              </a:prstGeom>
            </p:spPr>
          </p:pic>
        </p:grpSp>
      </p:grpSp>
      <p:graphicFrame>
        <p:nvGraphicFramePr>
          <p:cNvPr id="66" name="Table 8">
            <a:extLst>
              <a:ext uri="{FF2B5EF4-FFF2-40B4-BE49-F238E27FC236}">
                <a16:creationId xmlns:a16="http://schemas.microsoft.com/office/drawing/2014/main" id="{53C0052C-0AE3-4116-8F68-E966C9A7DD59}"/>
              </a:ext>
            </a:extLst>
          </p:cNvPr>
          <p:cNvGraphicFramePr>
            <a:graphicFrameLocks noGrp="1"/>
          </p:cNvGraphicFramePr>
          <p:nvPr>
            <p:extLst>
              <p:ext uri="{D42A27DB-BD31-4B8C-83A1-F6EECF244321}">
                <p14:modId xmlns:p14="http://schemas.microsoft.com/office/powerpoint/2010/main" val="3347302693"/>
              </p:ext>
            </p:extLst>
          </p:nvPr>
        </p:nvGraphicFramePr>
        <p:xfrm>
          <a:off x="7899237" y="5741725"/>
          <a:ext cx="3291277" cy="198000"/>
        </p:xfrm>
        <a:graphic>
          <a:graphicData uri="http://schemas.openxmlformats.org/drawingml/2006/table">
            <a:tbl>
              <a:tblPr firstRow="1" bandRow="1">
                <a:tableStyleId>{5C22544A-7EE6-4342-B048-85BDC9FD1C3A}</a:tableStyleId>
              </a:tblPr>
              <a:tblGrid>
                <a:gridCol w="716911">
                  <a:extLst>
                    <a:ext uri="{9D8B030D-6E8A-4147-A177-3AD203B41FA5}">
                      <a16:colId xmlns:a16="http://schemas.microsoft.com/office/drawing/2014/main" val="2887523933"/>
                    </a:ext>
                  </a:extLst>
                </a:gridCol>
                <a:gridCol w="2574366">
                  <a:extLst>
                    <a:ext uri="{9D8B030D-6E8A-4147-A177-3AD203B41FA5}">
                      <a16:colId xmlns:a16="http://schemas.microsoft.com/office/drawing/2014/main" val="3353491691"/>
                    </a:ext>
                  </a:extLst>
                </a:gridCol>
              </a:tblGrid>
              <a:tr h="198000">
                <a:tc>
                  <a:txBody>
                    <a:bodyPr/>
                    <a:lstStyle/>
                    <a:p>
                      <a:pPr algn="ctr" rtl="0"/>
                      <a:r>
                        <a:rPr lang="nl-NL" sz="1000" b="0" i="0" u="none" dirty="0">
                          <a:solidFill>
                            <a:srgbClr val="000000"/>
                          </a:solidFill>
                        </a:rPr>
                        <a:t>Taken</a:t>
                      </a:r>
                    </a:p>
                  </a:txBody>
                  <a:tcPr marL="0" marR="0" marT="0" marB="0" anchor="ctr">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rgbClr val="CFE3E6"/>
                    </a:solidFill>
                  </a:tcPr>
                </a:tc>
                <a:tc>
                  <a:txBody>
                    <a:bodyPr/>
                    <a:lstStyle/>
                    <a:p>
                      <a:pPr rtl="0"/>
                      <a:r>
                        <a:rPr lang="nl-NL" sz="1000" b="0" i="0" dirty="0">
                          <a:solidFill>
                            <a:srgbClr val="000000"/>
                          </a:solidFill>
                        </a:rPr>
                        <a:t>Uitvoeren rit</a:t>
                      </a:r>
                    </a:p>
                  </a:txBody>
                  <a:tcPr marL="36000" marR="36000" marT="18000" marB="18000" anchor="ctr">
                    <a:lnL w="9525"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72275076"/>
                  </a:ext>
                </a:extLst>
              </a:tr>
            </a:tbl>
          </a:graphicData>
        </a:graphic>
      </p:graphicFrame>
      <p:graphicFrame>
        <p:nvGraphicFramePr>
          <p:cNvPr id="67" name="Table 8">
            <a:extLst>
              <a:ext uri="{FF2B5EF4-FFF2-40B4-BE49-F238E27FC236}">
                <a16:creationId xmlns:a16="http://schemas.microsoft.com/office/drawing/2014/main" id="{F8E580E4-917E-48DA-9437-EE291CA8ED1A}"/>
              </a:ext>
            </a:extLst>
          </p:cNvPr>
          <p:cNvGraphicFramePr>
            <a:graphicFrameLocks noGrp="1"/>
          </p:cNvGraphicFramePr>
          <p:nvPr>
            <p:extLst>
              <p:ext uri="{D42A27DB-BD31-4B8C-83A1-F6EECF244321}">
                <p14:modId xmlns:p14="http://schemas.microsoft.com/office/powerpoint/2010/main" val="3952183694"/>
              </p:ext>
            </p:extLst>
          </p:nvPr>
        </p:nvGraphicFramePr>
        <p:xfrm>
          <a:off x="7899238" y="2239859"/>
          <a:ext cx="3291276" cy="198000"/>
        </p:xfrm>
        <a:graphic>
          <a:graphicData uri="http://schemas.openxmlformats.org/drawingml/2006/table">
            <a:tbl>
              <a:tblPr firstRow="1" bandRow="1">
                <a:tableStyleId>{5C22544A-7EE6-4342-B048-85BDC9FD1C3A}</a:tableStyleId>
              </a:tblPr>
              <a:tblGrid>
                <a:gridCol w="716912">
                  <a:extLst>
                    <a:ext uri="{9D8B030D-6E8A-4147-A177-3AD203B41FA5}">
                      <a16:colId xmlns:a16="http://schemas.microsoft.com/office/drawing/2014/main" val="2887523933"/>
                    </a:ext>
                  </a:extLst>
                </a:gridCol>
                <a:gridCol w="2574364">
                  <a:extLst>
                    <a:ext uri="{9D8B030D-6E8A-4147-A177-3AD203B41FA5}">
                      <a16:colId xmlns:a16="http://schemas.microsoft.com/office/drawing/2014/main" val="3353491691"/>
                    </a:ext>
                  </a:extLst>
                </a:gridCol>
              </a:tblGrid>
              <a:tr h="198000">
                <a:tc>
                  <a:txBody>
                    <a:bodyPr/>
                    <a:lstStyle/>
                    <a:p>
                      <a:pPr algn="ctr" rtl="0"/>
                      <a:r>
                        <a:rPr lang="nl-NL" sz="1000" b="0" i="0" u="none" dirty="0">
                          <a:solidFill>
                            <a:srgbClr val="000000"/>
                          </a:solidFill>
                        </a:rPr>
                        <a:t>Taken</a:t>
                      </a:r>
                    </a:p>
                  </a:txBody>
                  <a:tcPr marL="0" marR="0" marT="0" marB="0" anchor="ctr">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rgbClr val="CFE3E6"/>
                    </a:solidFill>
                  </a:tcPr>
                </a:tc>
                <a:tc>
                  <a:txBody>
                    <a:bodyPr/>
                    <a:lstStyle/>
                    <a:p>
                      <a:pPr rtl="0"/>
                      <a:r>
                        <a:rPr lang="nl-NL" sz="1000" b="0" i="0" dirty="0">
                          <a:solidFill>
                            <a:srgbClr val="000000"/>
                          </a:solidFill>
                        </a:rPr>
                        <a:t>Ontwikkelen beleid</a:t>
                      </a:r>
                    </a:p>
                  </a:txBody>
                  <a:tcPr marL="36000" marR="36000" marT="18000" marB="18000" anchor="ctr">
                    <a:lnL w="9525"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72275076"/>
                  </a:ext>
                </a:extLst>
              </a:tr>
            </a:tbl>
          </a:graphicData>
        </a:graphic>
      </p:graphicFrame>
      <p:sp>
        <p:nvSpPr>
          <p:cNvPr id="70" name="TextBox 69">
            <a:extLst>
              <a:ext uri="{FF2B5EF4-FFF2-40B4-BE49-F238E27FC236}">
                <a16:creationId xmlns:a16="http://schemas.microsoft.com/office/drawing/2014/main" id="{F2AD9097-03E0-4D1B-AE63-A3474663A898}"/>
              </a:ext>
            </a:extLst>
          </p:cNvPr>
          <p:cNvSpPr txBox="1"/>
          <p:nvPr/>
        </p:nvSpPr>
        <p:spPr>
          <a:xfrm>
            <a:off x="716845" y="5392521"/>
            <a:ext cx="5360400" cy="916204"/>
          </a:xfrm>
          <a:prstGeom prst="rect">
            <a:avLst/>
          </a:prstGeom>
          <a:solidFill>
            <a:schemeClr val="bg1"/>
          </a:solidFill>
          <a:ln w="9525">
            <a:noFill/>
          </a:ln>
        </p:spPr>
        <p:txBody>
          <a:bodyPr vert="horz" lIns="72000" tIns="0" rIns="72000" bIns="0" rtlCol="0">
            <a:noAutofit/>
          </a:bodyPr>
          <a:lstStyle>
            <a:defPPr>
              <a:defRPr lang="nl-NL"/>
            </a:defPPr>
            <a:lvl1pPr marL="0" indent="0">
              <a:buNone/>
              <a:defRPr sz="1000" b="1">
                <a:solidFill>
                  <a:srgbClr val="408E94"/>
                </a:solidFill>
              </a:defRPr>
            </a:lvl1pPr>
            <a:lvl2pPr>
              <a:defRPr>
                <a:solidFill>
                  <a:schemeClr val="tx1"/>
                </a:solidFill>
              </a:defRPr>
            </a:lvl2pPr>
            <a:lvl3pPr>
              <a:defRPr>
                <a:solidFill>
                  <a:schemeClr val="tx1"/>
                </a:solidFill>
              </a:defRPr>
            </a:lvl3pPr>
            <a:lvl4pPr>
              <a:defRPr>
                <a:solidFill>
                  <a:schemeClr val="tx1"/>
                </a:solidFill>
              </a:defRPr>
            </a:lvl4pPr>
            <a:lvl5pPr marL="900000" indent="-180000" eaLnBrk="1" hangingPunct="1">
              <a:buClr>
                <a:schemeClr val="tx2"/>
              </a:buClr>
              <a:buFont typeface="Corbel" panose="020B0503020204020204" pitchFamily="34" charset="0"/>
              <a:buChar char="-"/>
              <a:defRPr sz="1400"/>
            </a:lvl5pPr>
          </a:lstStyle>
          <a:p>
            <a:r>
              <a:rPr lang="nl-NL" b="0" dirty="0">
                <a:solidFill>
                  <a:srgbClr val="000000"/>
                </a:solidFill>
              </a:rPr>
              <a:t>Aandachtspunt bij het opzetten van een regiecentrale zijn:</a:t>
            </a:r>
          </a:p>
          <a:p>
            <a:pPr marL="171450" indent="-171450">
              <a:buFont typeface="Wingdings" panose="05000000000000000000" pitchFamily="2" charset="2"/>
              <a:buChar char="§"/>
            </a:pPr>
            <a:r>
              <a:rPr lang="nl-NL" dirty="0">
                <a:solidFill>
                  <a:srgbClr val="000000"/>
                </a:solidFill>
              </a:rPr>
              <a:t>Het is een ingrijpende verandering in rolverdeling en samenwerking</a:t>
            </a:r>
            <a:r>
              <a:rPr lang="nl-NL" b="0" dirty="0">
                <a:solidFill>
                  <a:srgbClr val="000000"/>
                </a:solidFill>
              </a:rPr>
              <a:t>. Er moet dus draagvlak zijn en er moeten goede afspraken gemaakt worden.</a:t>
            </a:r>
          </a:p>
          <a:p>
            <a:pPr marL="171450" indent="-171450">
              <a:buFont typeface="Wingdings" panose="05000000000000000000" pitchFamily="2" charset="2"/>
              <a:buChar char="§"/>
            </a:pPr>
            <a:r>
              <a:rPr lang="nl-NL" dirty="0">
                <a:solidFill>
                  <a:srgbClr val="000000"/>
                </a:solidFill>
              </a:rPr>
              <a:t>Ritbundeling</a:t>
            </a:r>
            <a:r>
              <a:rPr lang="nl-NL" b="0" dirty="0">
                <a:solidFill>
                  <a:srgbClr val="000000"/>
                </a:solidFill>
              </a:rPr>
              <a:t> </a:t>
            </a:r>
            <a:r>
              <a:rPr lang="nl-NL" dirty="0">
                <a:solidFill>
                  <a:srgbClr val="000000"/>
                </a:solidFill>
              </a:rPr>
              <a:t>is niet zonder meer mogelijk</a:t>
            </a:r>
            <a:r>
              <a:rPr lang="nl-NL" b="0" dirty="0">
                <a:solidFill>
                  <a:srgbClr val="000000"/>
                </a:solidFill>
              </a:rPr>
              <a:t>: ten eerste zijn vraagafhankelijk- en routevervoer dusdanig anders dat ze niet altijd te combineren zijn;  binnen routevervoer kan eventuele ritbundeling plaatsvinden als de tijdstippen niet te veel overlappen. </a:t>
            </a:r>
          </a:p>
        </p:txBody>
      </p:sp>
      <p:sp>
        <p:nvSpPr>
          <p:cNvPr id="76" name="Content Placeholder 2">
            <a:extLst>
              <a:ext uri="{FF2B5EF4-FFF2-40B4-BE49-F238E27FC236}">
                <a16:creationId xmlns:a16="http://schemas.microsoft.com/office/drawing/2014/main" id="{029852DF-EE9C-40B5-BE8F-FC9754AD8576}"/>
              </a:ext>
            </a:extLst>
          </p:cNvPr>
          <p:cNvSpPr txBox="1">
            <a:spLocks/>
          </p:cNvSpPr>
          <p:nvPr/>
        </p:nvSpPr>
        <p:spPr>
          <a:xfrm>
            <a:off x="663374" y="2878404"/>
            <a:ext cx="5148000" cy="270711"/>
          </a:xfrm>
          <a:prstGeom prst="rect">
            <a:avLst/>
          </a:prstGeom>
          <a:noFill/>
          <a:ln w="19050">
            <a:noFill/>
          </a:ln>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b="1" dirty="0">
                <a:solidFill>
                  <a:srgbClr val="22777B"/>
                </a:solidFill>
              </a:rPr>
              <a:t>Voordelen</a:t>
            </a:r>
          </a:p>
        </p:txBody>
      </p:sp>
      <p:sp>
        <p:nvSpPr>
          <p:cNvPr id="77" name="Content Placeholder 2">
            <a:extLst>
              <a:ext uri="{FF2B5EF4-FFF2-40B4-BE49-F238E27FC236}">
                <a16:creationId xmlns:a16="http://schemas.microsoft.com/office/drawing/2014/main" id="{7C30632C-0787-4072-A9A3-13BD8CB28AA5}"/>
              </a:ext>
            </a:extLst>
          </p:cNvPr>
          <p:cNvSpPr txBox="1">
            <a:spLocks/>
          </p:cNvSpPr>
          <p:nvPr/>
        </p:nvSpPr>
        <p:spPr>
          <a:xfrm>
            <a:off x="663374" y="5135273"/>
            <a:ext cx="5148000" cy="270711"/>
          </a:xfrm>
          <a:prstGeom prst="rect">
            <a:avLst/>
          </a:prstGeom>
          <a:noFill/>
          <a:ln w="19050">
            <a:noFill/>
          </a:ln>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b="1" dirty="0">
                <a:solidFill>
                  <a:srgbClr val="22777B"/>
                </a:solidFill>
              </a:rPr>
              <a:t>Randvoorwaarden</a:t>
            </a:r>
          </a:p>
        </p:txBody>
      </p:sp>
      <p:sp>
        <p:nvSpPr>
          <p:cNvPr id="78" name="Content Placeholder 2">
            <a:extLst>
              <a:ext uri="{FF2B5EF4-FFF2-40B4-BE49-F238E27FC236}">
                <a16:creationId xmlns:a16="http://schemas.microsoft.com/office/drawing/2014/main" id="{277CC5F9-9945-4313-B976-306C42E99550}"/>
              </a:ext>
            </a:extLst>
          </p:cNvPr>
          <p:cNvSpPr txBox="1">
            <a:spLocks/>
          </p:cNvSpPr>
          <p:nvPr/>
        </p:nvSpPr>
        <p:spPr>
          <a:xfrm>
            <a:off x="672916" y="1870859"/>
            <a:ext cx="36000" cy="1008000"/>
          </a:xfrm>
          <a:prstGeom prst="rect">
            <a:avLst/>
          </a:prstGeom>
          <a:solidFill>
            <a:srgbClr val="22777B"/>
          </a:solidFill>
          <a:ln w="9525">
            <a:noFill/>
          </a:ln>
        </p:spPr>
        <p:txBody>
          <a:bodyPr vert="horz" lIns="72000" tIns="72000" rIns="72000" bIns="72000" rtlCol="0">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endParaRPr lang="nl-NL" sz="1000" b="1" dirty="0">
              <a:solidFill>
                <a:srgbClr val="68ABB0"/>
              </a:solidFill>
            </a:endParaRPr>
          </a:p>
        </p:txBody>
      </p:sp>
      <p:sp>
        <p:nvSpPr>
          <p:cNvPr id="79" name="Content Placeholder 2">
            <a:extLst>
              <a:ext uri="{FF2B5EF4-FFF2-40B4-BE49-F238E27FC236}">
                <a16:creationId xmlns:a16="http://schemas.microsoft.com/office/drawing/2014/main" id="{163823BE-DF89-465A-8E18-8F2B2A84B296}"/>
              </a:ext>
            </a:extLst>
          </p:cNvPr>
          <p:cNvSpPr txBox="1">
            <a:spLocks/>
          </p:cNvSpPr>
          <p:nvPr/>
        </p:nvSpPr>
        <p:spPr>
          <a:xfrm>
            <a:off x="672916" y="5443002"/>
            <a:ext cx="36000" cy="864000"/>
          </a:xfrm>
          <a:prstGeom prst="rect">
            <a:avLst/>
          </a:prstGeom>
          <a:solidFill>
            <a:srgbClr val="22777B"/>
          </a:solidFill>
          <a:ln w="9525">
            <a:noFill/>
          </a:ln>
        </p:spPr>
        <p:txBody>
          <a:bodyPr vert="horz" lIns="72000" tIns="72000" rIns="72000" bIns="72000" rtlCol="0">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endParaRPr lang="nl-NL" sz="1000" b="1" dirty="0">
              <a:solidFill>
                <a:srgbClr val="68ABB0"/>
              </a:solidFill>
            </a:endParaRPr>
          </a:p>
        </p:txBody>
      </p:sp>
      <p:grpSp>
        <p:nvGrpSpPr>
          <p:cNvPr id="61" name="Group 60">
            <a:extLst>
              <a:ext uri="{FF2B5EF4-FFF2-40B4-BE49-F238E27FC236}">
                <a16:creationId xmlns:a16="http://schemas.microsoft.com/office/drawing/2014/main" id="{295224A5-6F55-4495-9E06-3085C87D2899}"/>
              </a:ext>
            </a:extLst>
          </p:cNvPr>
          <p:cNvGrpSpPr/>
          <p:nvPr/>
        </p:nvGrpSpPr>
        <p:grpSpPr>
          <a:xfrm>
            <a:off x="6682598" y="5627227"/>
            <a:ext cx="664953" cy="664953"/>
            <a:chOff x="4309156" y="2175674"/>
            <a:chExt cx="3808715" cy="3808715"/>
          </a:xfrm>
        </p:grpSpPr>
        <p:sp>
          <p:nvSpPr>
            <p:cNvPr id="62" name="Freeform 333">
              <a:extLst>
                <a:ext uri="{FF2B5EF4-FFF2-40B4-BE49-F238E27FC236}">
                  <a16:creationId xmlns:a16="http://schemas.microsoft.com/office/drawing/2014/main" id="{B1E30F77-BEC2-45EE-8E77-C9B5575647AA}"/>
                </a:ext>
              </a:extLst>
            </p:cNvPr>
            <p:cNvSpPr>
              <a:spLocks noChangeArrowheads="1"/>
            </p:cNvSpPr>
            <p:nvPr/>
          </p:nvSpPr>
          <p:spPr bwMode="auto">
            <a:xfrm>
              <a:off x="6306918" y="3736639"/>
              <a:ext cx="389704" cy="686787"/>
            </a:xfrm>
            <a:custGeom>
              <a:avLst/>
              <a:gdLst>
                <a:gd name="T0" fmla="*/ 469 w 470"/>
                <a:gd name="T1" fmla="*/ 252 h 818"/>
                <a:gd name="T2" fmla="*/ 469 w 470"/>
                <a:gd name="T3" fmla="*/ 252 h 818"/>
                <a:gd name="T4" fmla="*/ 445 w 470"/>
                <a:gd name="T5" fmla="*/ 204 h 818"/>
                <a:gd name="T6" fmla="*/ 445 w 470"/>
                <a:gd name="T7" fmla="*/ 204 h 818"/>
                <a:gd name="T8" fmla="*/ 385 w 470"/>
                <a:gd name="T9" fmla="*/ 72 h 818"/>
                <a:gd name="T10" fmla="*/ 204 w 470"/>
                <a:gd name="T11" fmla="*/ 0 h 818"/>
                <a:gd name="T12" fmla="*/ 24 w 470"/>
                <a:gd name="T13" fmla="*/ 156 h 818"/>
                <a:gd name="T14" fmla="*/ 0 w 470"/>
                <a:gd name="T15" fmla="*/ 637 h 818"/>
                <a:gd name="T16" fmla="*/ 180 w 470"/>
                <a:gd name="T17" fmla="*/ 817 h 818"/>
                <a:gd name="T18" fmla="*/ 385 w 470"/>
                <a:gd name="T19" fmla="*/ 661 h 818"/>
                <a:gd name="T20" fmla="*/ 385 w 470"/>
                <a:gd name="T21" fmla="*/ 360 h 818"/>
                <a:gd name="T22" fmla="*/ 469 w 470"/>
                <a:gd name="T23" fmla="*/ 252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818">
                  <a:moveTo>
                    <a:pt x="469" y="252"/>
                  </a:moveTo>
                  <a:lnTo>
                    <a:pt x="469" y="252"/>
                  </a:lnTo>
                  <a:cubicBezTo>
                    <a:pt x="469" y="252"/>
                    <a:pt x="469" y="228"/>
                    <a:pt x="445" y="204"/>
                  </a:cubicBezTo>
                  <a:lnTo>
                    <a:pt x="445" y="204"/>
                  </a:lnTo>
                  <a:cubicBezTo>
                    <a:pt x="385" y="72"/>
                    <a:pt x="385" y="72"/>
                    <a:pt x="385" y="72"/>
                  </a:cubicBezTo>
                  <a:cubicBezTo>
                    <a:pt x="337" y="24"/>
                    <a:pt x="289" y="0"/>
                    <a:pt x="204" y="0"/>
                  </a:cubicBezTo>
                  <a:cubicBezTo>
                    <a:pt x="108" y="0"/>
                    <a:pt x="24" y="48"/>
                    <a:pt x="24" y="156"/>
                  </a:cubicBezTo>
                  <a:cubicBezTo>
                    <a:pt x="0" y="637"/>
                    <a:pt x="0" y="637"/>
                    <a:pt x="0" y="637"/>
                  </a:cubicBezTo>
                  <a:cubicBezTo>
                    <a:pt x="0" y="745"/>
                    <a:pt x="84" y="793"/>
                    <a:pt x="180" y="817"/>
                  </a:cubicBezTo>
                  <a:cubicBezTo>
                    <a:pt x="289" y="817"/>
                    <a:pt x="361" y="745"/>
                    <a:pt x="385" y="661"/>
                  </a:cubicBezTo>
                  <a:cubicBezTo>
                    <a:pt x="385" y="360"/>
                    <a:pt x="385" y="360"/>
                    <a:pt x="385" y="360"/>
                  </a:cubicBezTo>
                  <a:cubicBezTo>
                    <a:pt x="445" y="336"/>
                    <a:pt x="469" y="300"/>
                    <a:pt x="469" y="252"/>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Arial" panose="020B0604020202020204" pitchFamily="34" charset="0"/>
              </a:endParaRPr>
            </a:p>
          </p:txBody>
        </p:sp>
        <p:sp>
          <p:nvSpPr>
            <p:cNvPr id="63" name="Freeform 333">
              <a:extLst>
                <a:ext uri="{FF2B5EF4-FFF2-40B4-BE49-F238E27FC236}">
                  <a16:creationId xmlns:a16="http://schemas.microsoft.com/office/drawing/2014/main" id="{C5B7C192-C74F-459E-9EB7-0C0D00A99E50}"/>
                </a:ext>
              </a:extLst>
            </p:cNvPr>
            <p:cNvSpPr>
              <a:spLocks noChangeArrowheads="1"/>
            </p:cNvSpPr>
            <p:nvPr/>
          </p:nvSpPr>
          <p:spPr bwMode="auto">
            <a:xfrm>
              <a:off x="7348276" y="4038032"/>
              <a:ext cx="389704" cy="385393"/>
            </a:xfrm>
            <a:custGeom>
              <a:avLst/>
              <a:gdLst>
                <a:gd name="T0" fmla="*/ 469 w 470"/>
                <a:gd name="T1" fmla="*/ 252 h 818"/>
                <a:gd name="T2" fmla="*/ 469 w 470"/>
                <a:gd name="T3" fmla="*/ 252 h 818"/>
                <a:gd name="T4" fmla="*/ 445 w 470"/>
                <a:gd name="T5" fmla="*/ 204 h 818"/>
                <a:gd name="T6" fmla="*/ 445 w 470"/>
                <a:gd name="T7" fmla="*/ 204 h 818"/>
                <a:gd name="T8" fmla="*/ 385 w 470"/>
                <a:gd name="T9" fmla="*/ 72 h 818"/>
                <a:gd name="T10" fmla="*/ 204 w 470"/>
                <a:gd name="T11" fmla="*/ 0 h 818"/>
                <a:gd name="T12" fmla="*/ 24 w 470"/>
                <a:gd name="T13" fmla="*/ 156 h 818"/>
                <a:gd name="T14" fmla="*/ 0 w 470"/>
                <a:gd name="T15" fmla="*/ 637 h 818"/>
                <a:gd name="T16" fmla="*/ 180 w 470"/>
                <a:gd name="T17" fmla="*/ 817 h 818"/>
                <a:gd name="T18" fmla="*/ 385 w 470"/>
                <a:gd name="T19" fmla="*/ 661 h 818"/>
                <a:gd name="T20" fmla="*/ 385 w 470"/>
                <a:gd name="T21" fmla="*/ 360 h 818"/>
                <a:gd name="T22" fmla="*/ 469 w 470"/>
                <a:gd name="T23" fmla="*/ 252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818">
                  <a:moveTo>
                    <a:pt x="469" y="252"/>
                  </a:moveTo>
                  <a:lnTo>
                    <a:pt x="469" y="252"/>
                  </a:lnTo>
                  <a:cubicBezTo>
                    <a:pt x="469" y="252"/>
                    <a:pt x="469" y="228"/>
                    <a:pt x="445" y="204"/>
                  </a:cubicBezTo>
                  <a:lnTo>
                    <a:pt x="445" y="204"/>
                  </a:lnTo>
                  <a:cubicBezTo>
                    <a:pt x="385" y="72"/>
                    <a:pt x="385" y="72"/>
                    <a:pt x="385" y="72"/>
                  </a:cubicBezTo>
                  <a:cubicBezTo>
                    <a:pt x="337" y="24"/>
                    <a:pt x="289" y="0"/>
                    <a:pt x="204" y="0"/>
                  </a:cubicBezTo>
                  <a:cubicBezTo>
                    <a:pt x="108" y="0"/>
                    <a:pt x="24" y="48"/>
                    <a:pt x="24" y="156"/>
                  </a:cubicBezTo>
                  <a:cubicBezTo>
                    <a:pt x="0" y="637"/>
                    <a:pt x="0" y="637"/>
                    <a:pt x="0" y="637"/>
                  </a:cubicBezTo>
                  <a:cubicBezTo>
                    <a:pt x="0" y="745"/>
                    <a:pt x="84" y="793"/>
                    <a:pt x="180" y="817"/>
                  </a:cubicBezTo>
                  <a:cubicBezTo>
                    <a:pt x="289" y="817"/>
                    <a:pt x="361" y="745"/>
                    <a:pt x="385" y="661"/>
                  </a:cubicBezTo>
                  <a:cubicBezTo>
                    <a:pt x="385" y="360"/>
                    <a:pt x="385" y="360"/>
                    <a:pt x="385" y="360"/>
                  </a:cubicBezTo>
                  <a:cubicBezTo>
                    <a:pt x="445" y="336"/>
                    <a:pt x="469" y="300"/>
                    <a:pt x="469" y="252"/>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Arial" panose="020B0604020202020204" pitchFamily="34" charset="0"/>
              </a:endParaRPr>
            </a:p>
          </p:txBody>
        </p:sp>
        <p:grpSp>
          <p:nvGrpSpPr>
            <p:cNvPr id="64" name="Graphic 260" descr="Bus with solid fill">
              <a:extLst>
                <a:ext uri="{FF2B5EF4-FFF2-40B4-BE49-F238E27FC236}">
                  <a16:creationId xmlns:a16="http://schemas.microsoft.com/office/drawing/2014/main" id="{13AD8E6B-F1F9-4501-B9A3-7D749A7B3CDD}"/>
                </a:ext>
              </a:extLst>
            </p:cNvPr>
            <p:cNvGrpSpPr/>
            <p:nvPr/>
          </p:nvGrpSpPr>
          <p:grpSpPr>
            <a:xfrm>
              <a:off x="4309156" y="2175674"/>
              <a:ext cx="3808715" cy="3808715"/>
              <a:chOff x="4309156" y="2175674"/>
              <a:chExt cx="3808715" cy="3808715"/>
            </a:xfrm>
          </p:grpSpPr>
          <p:sp>
            <p:nvSpPr>
              <p:cNvPr id="86" name="Freeform: Shape 85">
                <a:extLst>
                  <a:ext uri="{FF2B5EF4-FFF2-40B4-BE49-F238E27FC236}">
                    <a16:creationId xmlns:a16="http://schemas.microsoft.com/office/drawing/2014/main" id="{8388F19A-B0E9-4601-9C4A-9B9E9C1D00F1}"/>
                  </a:ext>
                </a:extLst>
              </p:cNvPr>
              <p:cNvSpPr/>
              <p:nvPr/>
            </p:nvSpPr>
            <p:spPr>
              <a:xfrm>
                <a:off x="4467852" y="3123885"/>
                <a:ext cx="3491322" cy="1749628"/>
              </a:xfrm>
              <a:custGeom>
                <a:avLst/>
                <a:gdLst>
                  <a:gd name="connsiteX0" fmla="*/ 158696 w 3491322"/>
                  <a:gd name="connsiteY0" fmla="*/ 242012 h 1749628"/>
                  <a:gd name="connsiteX1" fmla="*/ 238045 w 3491322"/>
                  <a:gd name="connsiteY1" fmla="*/ 162664 h 1749628"/>
                  <a:gd name="connsiteX2" fmla="*/ 793482 w 3491322"/>
                  <a:gd name="connsiteY2" fmla="*/ 162664 h 1749628"/>
                  <a:gd name="connsiteX3" fmla="*/ 793482 w 3491322"/>
                  <a:gd name="connsiteY3" fmla="*/ 797450 h 1749628"/>
                  <a:gd name="connsiteX4" fmla="*/ 158696 w 3491322"/>
                  <a:gd name="connsiteY4" fmla="*/ 797450 h 1749628"/>
                  <a:gd name="connsiteX5" fmla="*/ 158696 w 3491322"/>
                  <a:gd name="connsiteY5" fmla="*/ 242012 h 1749628"/>
                  <a:gd name="connsiteX6" fmla="*/ 952179 w 3491322"/>
                  <a:gd name="connsiteY6" fmla="*/ 162664 h 1749628"/>
                  <a:gd name="connsiteX7" fmla="*/ 1586965 w 3491322"/>
                  <a:gd name="connsiteY7" fmla="*/ 162664 h 1749628"/>
                  <a:gd name="connsiteX8" fmla="*/ 1586965 w 3491322"/>
                  <a:gd name="connsiteY8" fmla="*/ 797450 h 1749628"/>
                  <a:gd name="connsiteX9" fmla="*/ 952179 w 3491322"/>
                  <a:gd name="connsiteY9" fmla="*/ 797450 h 1749628"/>
                  <a:gd name="connsiteX10" fmla="*/ 952179 w 3491322"/>
                  <a:gd name="connsiteY10" fmla="*/ 162664 h 1749628"/>
                  <a:gd name="connsiteX11" fmla="*/ 1745661 w 3491322"/>
                  <a:gd name="connsiteY11" fmla="*/ 162664 h 1749628"/>
                  <a:gd name="connsiteX12" fmla="*/ 2380447 w 3491322"/>
                  <a:gd name="connsiteY12" fmla="*/ 162664 h 1749628"/>
                  <a:gd name="connsiteX13" fmla="*/ 2380447 w 3491322"/>
                  <a:gd name="connsiteY13" fmla="*/ 797450 h 1749628"/>
                  <a:gd name="connsiteX14" fmla="*/ 1745661 w 3491322"/>
                  <a:gd name="connsiteY14" fmla="*/ 797450 h 1749628"/>
                  <a:gd name="connsiteX15" fmla="*/ 1745661 w 3491322"/>
                  <a:gd name="connsiteY15" fmla="*/ 162664 h 1749628"/>
                  <a:gd name="connsiteX16" fmla="*/ 2539143 w 3491322"/>
                  <a:gd name="connsiteY16" fmla="*/ 162664 h 1749628"/>
                  <a:gd name="connsiteX17" fmla="*/ 3066809 w 3491322"/>
                  <a:gd name="connsiteY17" fmla="*/ 162664 h 1749628"/>
                  <a:gd name="connsiteX18" fmla="*/ 3221538 w 3491322"/>
                  <a:gd name="connsiteY18" fmla="*/ 293588 h 1749628"/>
                  <a:gd name="connsiteX19" fmla="*/ 3312789 w 3491322"/>
                  <a:gd name="connsiteY19" fmla="*/ 856961 h 1749628"/>
                  <a:gd name="connsiteX20" fmla="*/ 3328658 w 3491322"/>
                  <a:gd name="connsiteY20" fmla="*/ 1035494 h 1749628"/>
                  <a:gd name="connsiteX21" fmla="*/ 2777188 w 3491322"/>
                  <a:gd name="connsiteY21" fmla="*/ 1035494 h 1749628"/>
                  <a:gd name="connsiteX22" fmla="*/ 2539143 w 3491322"/>
                  <a:gd name="connsiteY22" fmla="*/ 797450 h 1749628"/>
                  <a:gd name="connsiteX23" fmla="*/ 2539143 w 3491322"/>
                  <a:gd name="connsiteY23" fmla="*/ 162664 h 1749628"/>
                  <a:gd name="connsiteX24" fmla="*/ 0 w 3491322"/>
                  <a:gd name="connsiteY24" fmla="*/ 162664 h 1749628"/>
                  <a:gd name="connsiteX25" fmla="*/ 0 w 3491322"/>
                  <a:gd name="connsiteY25" fmla="*/ 1590932 h 1749628"/>
                  <a:gd name="connsiteX26" fmla="*/ 158696 w 3491322"/>
                  <a:gd name="connsiteY26" fmla="*/ 1749629 h 1749628"/>
                  <a:gd name="connsiteX27" fmla="*/ 166631 w 3491322"/>
                  <a:gd name="connsiteY27" fmla="*/ 1749629 h 1749628"/>
                  <a:gd name="connsiteX28" fmla="*/ 158696 w 3491322"/>
                  <a:gd name="connsiteY28" fmla="*/ 1670280 h 1749628"/>
                  <a:gd name="connsiteX29" fmla="*/ 555438 w 3491322"/>
                  <a:gd name="connsiteY29" fmla="*/ 1273539 h 1749628"/>
                  <a:gd name="connsiteX30" fmla="*/ 952179 w 3491322"/>
                  <a:gd name="connsiteY30" fmla="*/ 1670280 h 1749628"/>
                  <a:gd name="connsiteX31" fmla="*/ 944244 w 3491322"/>
                  <a:gd name="connsiteY31" fmla="*/ 1749629 h 1749628"/>
                  <a:gd name="connsiteX32" fmla="*/ 2388382 w 3491322"/>
                  <a:gd name="connsiteY32" fmla="*/ 1749629 h 1749628"/>
                  <a:gd name="connsiteX33" fmla="*/ 2380447 w 3491322"/>
                  <a:gd name="connsiteY33" fmla="*/ 1670280 h 1749628"/>
                  <a:gd name="connsiteX34" fmla="*/ 2777188 w 3491322"/>
                  <a:gd name="connsiteY34" fmla="*/ 1273539 h 1749628"/>
                  <a:gd name="connsiteX35" fmla="*/ 3173929 w 3491322"/>
                  <a:gd name="connsiteY35" fmla="*/ 1670280 h 1749628"/>
                  <a:gd name="connsiteX36" fmla="*/ 3165995 w 3491322"/>
                  <a:gd name="connsiteY36" fmla="*/ 1749629 h 1749628"/>
                  <a:gd name="connsiteX37" fmla="*/ 3332626 w 3491322"/>
                  <a:gd name="connsiteY37" fmla="*/ 1749629 h 1749628"/>
                  <a:gd name="connsiteX38" fmla="*/ 3491322 w 3491322"/>
                  <a:gd name="connsiteY38" fmla="*/ 1590932 h 1749628"/>
                  <a:gd name="connsiteX39" fmla="*/ 3491322 w 3491322"/>
                  <a:gd name="connsiteY39" fmla="*/ 1083103 h 1749628"/>
                  <a:gd name="connsiteX40" fmla="*/ 3471485 w 3491322"/>
                  <a:gd name="connsiteY40" fmla="*/ 829189 h 1749628"/>
                  <a:gd name="connsiteX41" fmla="*/ 3380235 w 3491322"/>
                  <a:gd name="connsiteY41" fmla="*/ 261849 h 1749628"/>
                  <a:gd name="connsiteX42" fmla="*/ 3066809 w 3491322"/>
                  <a:gd name="connsiteY42" fmla="*/ 0 h 1749628"/>
                  <a:gd name="connsiteX43" fmla="*/ 158696 w 3491322"/>
                  <a:gd name="connsiteY43" fmla="*/ 0 h 1749628"/>
                  <a:gd name="connsiteX44" fmla="*/ 0 w 3491322"/>
                  <a:gd name="connsiteY44" fmla="*/ 162664 h 1749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491322" h="1749628">
                    <a:moveTo>
                      <a:pt x="158696" y="242012"/>
                    </a:moveTo>
                    <a:cubicBezTo>
                      <a:pt x="158696" y="198371"/>
                      <a:pt x="194403" y="162664"/>
                      <a:pt x="238045" y="162664"/>
                    </a:cubicBezTo>
                    <a:lnTo>
                      <a:pt x="793482" y="162664"/>
                    </a:lnTo>
                    <a:lnTo>
                      <a:pt x="793482" y="797450"/>
                    </a:lnTo>
                    <a:lnTo>
                      <a:pt x="158696" y="797450"/>
                    </a:lnTo>
                    <a:lnTo>
                      <a:pt x="158696" y="242012"/>
                    </a:lnTo>
                    <a:close/>
                    <a:moveTo>
                      <a:pt x="952179" y="162664"/>
                    </a:moveTo>
                    <a:lnTo>
                      <a:pt x="1586965" y="162664"/>
                    </a:lnTo>
                    <a:lnTo>
                      <a:pt x="1586965" y="797450"/>
                    </a:lnTo>
                    <a:lnTo>
                      <a:pt x="952179" y="797450"/>
                    </a:lnTo>
                    <a:lnTo>
                      <a:pt x="952179" y="162664"/>
                    </a:lnTo>
                    <a:close/>
                    <a:moveTo>
                      <a:pt x="1745661" y="162664"/>
                    </a:moveTo>
                    <a:lnTo>
                      <a:pt x="2380447" y="162664"/>
                    </a:lnTo>
                    <a:lnTo>
                      <a:pt x="2380447" y="797450"/>
                    </a:lnTo>
                    <a:lnTo>
                      <a:pt x="1745661" y="797450"/>
                    </a:lnTo>
                    <a:lnTo>
                      <a:pt x="1745661" y="162664"/>
                    </a:lnTo>
                    <a:close/>
                    <a:moveTo>
                      <a:pt x="2539143" y="162664"/>
                    </a:moveTo>
                    <a:lnTo>
                      <a:pt x="3066809" y="162664"/>
                    </a:lnTo>
                    <a:cubicBezTo>
                      <a:pt x="3142190" y="162664"/>
                      <a:pt x="3209636" y="218208"/>
                      <a:pt x="3221538" y="293588"/>
                    </a:cubicBezTo>
                    <a:lnTo>
                      <a:pt x="3312789" y="856961"/>
                    </a:lnTo>
                    <a:cubicBezTo>
                      <a:pt x="3320723" y="916472"/>
                      <a:pt x="3328658" y="975983"/>
                      <a:pt x="3328658" y="1035494"/>
                    </a:cubicBezTo>
                    <a:lnTo>
                      <a:pt x="2777188" y="1035494"/>
                    </a:lnTo>
                    <a:lnTo>
                      <a:pt x="2539143" y="797450"/>
                    </a:lnTo>
                    <a:lnTo>
                      <a:pt x="2539143" y="162664"/>
                    </a:lnTo>
                    <a:close/>
                    <a:moveTo>
                      <a:pt x="0" y="162664"/>
                    </a:moveTo>
                    <a:lnTo>
                      <a:pt x="0" y="1590932"/>
                    </a:lnTo>
                    <a:cubicBezTo>
                      <a:pt x="0" y="1678215"/>
                      <a:pt x="71413" y="1749629"/>
                      <a:pt x="158696" y="1749629"/>
                    </a:cubicBezTo>
                    <a:lnTo>
                      <a:pt x="166631" y="1749629"/>
                    </a:lnTo>
                    <a:cubicBezTo>
                      <a:pt x="162664" y="1725824"/>
                      <a:pt x="158696" y="1698052"/>
                      <a:pt x="158696" y="1670280"/>
                    </a:cubicBezTo>
                    <a:cubicBezTo>
                      <a:pt x="158696" y="1452073"/>
                      <a:pt x="337230" y="1273539"/>
                      <a:pt x="555438" y="1273539"/>
                    </a:cubicBezTo>
                    <a:cubicBezTo>
                      <a:pt x="773645" y="1273539"/>
                      <a:pt x="952179" y="1452073"/>
                      <a:pt x="952179" y="1670280"/>
                    </a:cubicBezTo>
                    <a:cubicBezTo>
                      <a:pt x="952179" y="1698052"/>
                      <a:pt x="948211" y="1725824"/>
                      <a:pt x="944244" y="1749629"/>
                    </a:cubicBezTo>
                    <a:lnTo>
                      <a:pt x="2388382" y="1749629"/>
                    </a:lnTo>
                    <a:cubicBezTo>
                      <a:pt x="2384414" y="1725824"/>
                      <a:pt x="2380447" y="1698052"/>
                      <a:pt x="2380447" y="1670280"/>
                    </a:cubicBezTo>
                    <a:cubicBezTo>
                      <a:pt x="2380447" y="1452073"/>
                      <a:pt x="2558981" y="1273539"/>
                      <a:pt x="2777188" y="1273539"/>
                    </a:cubicBezTo>
                    <a:cubicBezTo>
                      <a:pt x="2995396" y="1273539"/>
                      <a:pt x="3173929" y="1452073"/>
                      <a:pt x="3173929" y="1670280"/>
                    </a:cubicBezTo>
                    <a:cubicBezTo>
                      <a:pt x="3173929" y="1698052"/>
                      <a:pt x="3169962" y="1725824"/>
                      <a:pt x="3165995" y="1749629"/>
                    </a:cubicBezTo>
                    <a:lnTo>
                      <a:pt x="3332626" y="1749629"/>
                    </a:lnTo>
                    <a:cubicBezTo>
                      <a:pt x="3419909" y="1749629"/>
                      <a:pt x="3491322" y="1678215"/>
                      <a:pt x="3491322" y="1590932"/>
                    </a:cubicBezTo>
                    <a:lnTo>
                      <a:pt x="3491322" y="1083103"/>
                    </a:lnTo>
                    <a:cubicBezTo>
                      <a:pt x="3491322" y="999788"/>
                      <a:pt x="3483388" y="912505"/>
                      <a:pt x="3471485" y="829189"/>
                    </a:cubicBezTo>
                    <a:lnTo>
                      <a:pt x="3380235" y="261849"/>
                    </a:lnTo>
                    <a:cubicBezTo>
                      <a:pt x="3352463" y="111088"/>
                      <a:pt x="3221538" y="0"/>
                      <a:pt x="3066809" y="0"/>
                    </a:cubicBezTo>
                    <a:lnTo>
                      <a:pt x="158696" y="0"/>
                    </a:lnTo>
                    <a:cubicBezTo>
                      <a:pt x="71413" y="3967"/>
                      <a:pt x="0" y="75381"/>
                      <a:pt x="0" y="162664"/>
                    </a:cubicBezTo>
                    <a:close/>
                  </a:path>
                </a:pathLst>
              </a:custGeom>
              <a:solidFill>
                <a:srgbClr val="000000"/>
              </a:solidFill>
              <a:ln w="39588" cap="flat">
                <a:noFill/>
                <a:prstDash val="solid"/>
                <a:miter/>
              </a:ln>
            </p:spPr>
            <p:txBody>
              <a:bodyPr rtlCol="0" anchor="ctr"/>
              <a:lstStyle/>
              <a:p>
                <a:endParaRPr lang="nl-NL"/>
              </a:p>
            </p:txBody>
          </p:sp>
          <p:sp>
            <p:nvSpPr>
              <p:cNvPr id="87" name="Freeform: Shape 86">
                <a:extLst>
                  <a:ext uri="{FF2B5EF4-FFF2-40B4-BE49-F238E27FC236}">
                    <a16:creationId xmlns:a16="http://schemas.microsoft.com/office/drawing/2014/main" id="{376F4E49-F700-4CA6-B673-C95DD1DC269C}"/>
                  </a:ext>
                </a:extLst>
              </p:cNvPr>
              <p:cNvSpPr/>
              <p:nvPr/>
            </p:nvSpPr>
            <p:spPr>
              <a:xfrm>
                <a:off x="6967321" y="4516446"/>
                <a:ext cx="555437" cy="555437"/>
              </a:xfrm>
              <a:custGeom>
                <a:avLst/>
                <a:gdLst>
                  <a:gd name="connsiteX0" fmla="*/ 555438 w 555437"/>
                  <a:gd name="connsiteY0" fmla="*/ 277719 h 555437"/>
                  <a:gd name="connsiteX1" fmla="*/ 277719 w 555437"/>
                  <a:gd name="connsiteY1" fmla="*/ 555438 h 555437"/>
                  <a:gd name="connsiteX2" fmla="*/ 0 w 555437"/>
                  <a:gd name="connsiteY2" fmla="*/ 277719 h 555437"/>
                  <a:gd name="connsiteX3" fmla="*/ 277719 w 555437"/>
                  <a:gd name="connsiteY3" fmla="*/ 0 h 555437"/>
                  <a:gd name="connsiteX4" fmla="*/ 555438 w 555437"/>
                  <a:gd name="connsiteY4" fmla="*/ 277719 h 555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437" h="555437">
                    <a:moveTo>
                      <a:pt x="555438" y="277719"/>
                    </a:moveTo>
                    <a:cubicBezTo>
                      <a:pt x="555438" y="431099"/>
                      <a:pt x="431099" y="555438"/>
                      <a:pt x="277719" y="555438"/>
                    </a:cubicBezTo>
                    <a:cubicBezTo>
                      <a:pt x="124339" y="555438"/>
                      <a:pt x="0" y="431099"/>
                      <a:pt x="0" y="277719"/>
                    </a:cubicBezTo>
                    <a:cubicBezTo>
                      <a:pt x="0" y="124339"/>
                      <a:pt x="124339" y="0"/>
                      <a:pt x="277719" y="0"/>
                    </a:cubicBezTo>
                    <a:cubicBezTo>
                      <a:pt x="431099" y="0"/>
                      <a:pt x="555438" y="124339"/>
                      <a:pt x="555438" y="277719"/>
                    </a:cubicBezTo>
                    <a:close/>
                  </a:path>
                </a:pathLst>
              </a:custGeom>
              <a:solidFill>
                <a:srgbClr val="000000"/>
              </a:solidFill>
              <a:ln w="39588" cap="flat">
                <a:noFill/>
                <a:prstDash val="solid"/>
                <a:miter/>
              </a:ln>
            </p:spPr>
            <p:txBody>
              <a:bodyPr rtlCol="0" anchor="ctr"/>
              <a:lstStyle/>
              <a:p>
                <a:endParaRPr lang="nl-NL"/>
              </a:p>
            </p:txBody>
          </p:sp>
          <p:sp>
            <p:nvSpPr>
              <p:cNvPr id="88" name="Freeform: Shape 87">
                <a:extLst>
                  <a:ext uri="{FF2B5EF4-FFF2-40B4-BE49-F238E27FC236}">
                    <a16:creationId xmlns:a16="http://schemas.microsoft.com/office/drawing/2014/main" id="{4530B00D-A8A9-49FE-9EE3-81A10DDD238C}"/>
                  </a:ext>
                </a:extLst>
              </p:cNvPr>
              <p:cNvSpPr/>
              <p:nvPr/>
            </p:nvSpPr>
            <p:spPr>
              <a:xfrm>
                <a:off x="4745571" y="4516446"/>
                <a:ext cx="555437" cy="555437"/>
              </a:xfrm>
              <a:custGeom>
                <a:avLst/>
                <a:gdLst>
                  <a:gd name="connsiteX0" fmla="*/ 555438 w 555437"/>
                  <a:gd name="connsiteY0" fmla="*/ 277719 h 555437"/>
                  <a:gd name="connsiteX1" fmla="*/ 277719 w 555437"/>
                  <a:gd name="connsiteY1" fmla="*/ 555438 h 555437"/>
                  <a:gd name="connsiteX2" fmla="*/ 0 w 555437"/>
                  <a:gd name="connsiteY2" fmla="*/ 277719 h 555437"/>
                  <a:gd name="connsiteX3" fmla="*/ 277719 w 555437"/>
                  <a:gd name="connsiteY3" fmla="*/ 0 h 555437"/>
                  <a:gd name="connsiteX4" fmla="*/ 555438 w 555437"/>
                  <a:gd name="connsiteY4" fmla="*/ 277719 h 555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437" h="555437">
                    <a:moveTo>
                      <a:pt x="555438" y="277719"/>
                    </a:moveTo>
                    <a:cubicBezTo>
                      <a:pt x="555438" y="431099"/>
                      <a:pt x="431099" y="555438"/>
                      <a:pt x="277719" y="555438"/>
                    </a:cubicBezTo>
                    <a:cubicBezTo>
                      <a:pt x="124339" y="555438"/>
                      <a:pt x="0" y="431099"/>
                      <a:pt x="0" y="277719"/>
                    </a:cubicBezTo>
                    <a:cubicBezTo>
                      <a:pt x="0" y="124339"/>
                      <a:pt x="124339" y="0"/>
                      <a:pt x="277719" y="0"/>
                    </a:cubicBezTo>
                    <a:cubicBezTo>
                      <a:pt x="431099" y="0"/>
                      <a:pt x="555438" y="124339"/>
                      <a:pt x="555438" y="277719"/>
                    </a:cubicBezTo>
                    <a:close/>
                  </a:path>
                </a:pathLst>
              </a:custGeom>
              <a:solidFill>
                <a:srgbClr val="000000"/>
              </a:solidFill>
              <a:ln w="39588" cap="flat">
                <a:noFill/>
                <a:prstDash val="solid"/>
                <a:miter/>
              </a:ln>
            </p:spPr>
            <p:txBody>
              <a:bodyPr rtlCol="0" anchor="ctr"/>
              <a:lstStyle/>
              <a:p>
                <a:endParaRPr lang="nl-NL"/>
              </a:p>
            </p:txBody>
          </p:sp>
        </p:grpSp>
        <p:sp>
          <p:nvSpPr>
            <p:cNvPr id="68" name="Freeform 332">
              <a:extLst>
                <a:ext uri="{FF2B5EF4-FFF2-40B4-BE49-F238E27FC236}">
                  <a16:creationId xmlns:a16="http://schemas.microsoft.com/office/drawing/2014/main" id="{7FE1511C-813D-4646-9462-3047B13643A3}"/>
                </a:ext>
              </a:extLst>
            </p:cNvPr>
            <p:cNvSpPr>
              <a:spLocks noChangeArrowheads="1"/>
            </p:cNvSpPr>
            <p:nvPr/>
          </p:nvSpPr>
          <p:spPr bwMode="auto">
            <a:xfrm>
              <a:off x="7359312" y="3715058"/>
              <a:ext cx="298651" cy="304413"/>
            </a:xfrm>
            <a:custGeom>
              <a:avLst/>
              <a:gdLst>
                <a:gd name="T0" fmla="*/ 180 w 362"/>
                <a:gd name="T1" fmla="*/ 0 h 361"/>
                <a:gd name="T2" fmla="*/ 180 w 362"/>
                <a:gd name="T3" fmla="*/ 0 h 361"/>
                <a:gd name="T4" fmla="*/ 0 w 362"/>
                <a:gd name="T5" fmla="*/ 180 h 361"/>
                <a:gd name="T6" fmla="*/ 180 w 362"/>
                <a:gd name="T7" fmla="*/ 360 h 361"/>
                <a:gd name="T8" fmla="*/ 361 w 362"/>
                <a:gd name="T9" fmla="*/ 180 h 361"/>
                <a:gd name="T10" fmla="*/ 180 w 362"/>
                <a:gd name="T11" fmla="*/ 0 h 361"/>
              </a:gdLst>
              <a:ahLst/>
              <a:cxnLst>
                <a:cxn ang="0">
                  <a:pos x="T0" y="T1"/>
                </a:cxn>
                <a:cxn ang="0">
                  <a:pos x="T2" y="T3"/>
                </a:cxn>
                <a:cxn ang="0">
                  <a:pos x="T4" y="T5"/>
                </a:cxn>
                <a:cxn ang="0">
                  <a:pos x="T6" y="T7"/>
                </a:cxn>
                <a:cxn ang="0">
                  <a:pos x="T8" y="T9"/>
                </a:cxn>
                <a:cxn ang="0">
                  <a:pos x="T10" y="T11"/>
                </a:cxn>
              </a:cxnLst>
              <a:rect l="0" t="0" r="r" b="b"/>
              <a:pathLst>
                <a:path w="362" h="361">
                  <a:moveTo>
                    <a:pt x="180" y="0"/>
                  </a:moveTo>
                  <a:lnTo>
                    <a:pt x="180" y="0"/>
                  </a:lnTo>
                  <a:cubicBezTo>
                    <a:pt x="84" y="0"/>
                    <a:pt x="0" y="72"/>
                    <a:pt x="0" y="180"/>
                  </a:cubicBezTo>
                  <a:cubicBezTo>
                    <a:pt x="0" y="276"/>
                    <a:pt x="84" y="360"/>
                    <a:pt x="180" y="360"/>
                  </a:cubicBezTo>
                  <a:cubicBezTo>
                    <a:pt x="265" y="360"/>
                    <a:pt x="337" y="276"/>
                    <a:pt x="361" y="180"/>
                  </a:cubicBezTo>
                  <a:cubicBezTo>
                    <a:pt x="361" y="96"/>
                    <a:pt x="289" y="24"/>
                    <a:pt x="180"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Arial" panose="020B0604020202020204" pitchFamily="34" charset="0"/>
              </a:endParaRPr>
            </a:p>
          </p:txBody>
        </p:sp>
        <p:sp>
          <p:nvSpPr>
            <p:cNvPr id="69" name="Freeform 1">
              <a:extLst>
                <a:ext uri="{FF2B5EF4-FFF2-40B4-BE49-F238E27FC236}">
                  <a16:creationId xmlns:a16="http://schemas.microsoft.com/office/drawing/2014/main" id="{341FC055-4E90-48C9-AB74-7B5DC10B318F}"/>
                </a:ext>
              </a:extLst>
            </p:cNvPr>
            <p:cNvSpPr>
              <a:spLocks noChangeArrowheads="1"/>
            </p:cNvSpPr>
            <p:nvPr/>
          </p:nvSpPr>
          <p:spPr bwMode="auto">
            <a:xfrm>
              <a:off x="6283042" y="3438465"/>
              <a:ext cx="298651" cy="328516"/>
            </a:xfrm>
            <a:custGeom>
              <a:avLst/>
              <a:gdLst>
                <a:gd name="T0" fmla="*/ 1062 w 1251"/>
                <a:gd name="T1" fmla="*/ 188 h 1033"/>
                <a:gd name="T2" fmla="*/ 1062 w 1251"/>
                <a:gd name="T3" fmla="*/ 188 h 1033"/>
                <a:gd name="T4" fmla="*/ 499 w 1251"/>
                <a:gd name="T5" fmla="*/ 94 h 1033"/>
                <a:gd name="T6" fmla="*/ 281 w 1251"/>
                <a:gd name="T7" fmla="*/ 0 h 1033"/>
                <a:gd name="T8" fmla="*/ 0 w 1251"/>
                <a:gd name="T9" fmla="*/ 282 h 1033"/>
                <a:gd name="T10" fmla="*/ 250 w 1251"/>
                <a:gd name="T11" fmla="*/ 532 h 1033"/>
                <a:gd name="T12" fmla="*/ 375 w 1251"/>
                <a:gd name="T13" fmla="*/ 844 h 1033"/>
                <a:gd name="T14" fmla="*/ 1062 w 1251"/>
                <a:gd name="T15" fmla="*/ 844 h 1033"/>
                <a:gd name="T16" fmla="*/ 1062 w 1251"/>
                <a:gd name="T17" fmla="*/ 188 h 1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1" h="1033">
                  <a:moveTo>
                    <a:pt x="1062" y="188"/>
                  </a:moveTo>
                  <a:lnTo>
                    <a:pt x="1062" y="188"/>
                  </a:lnTo>
                  <a:cubicBezTo>
                    <a:pt x="906" y="32"/>
                    <a:pt x="687" y="0"/>
                    <a:pt x="499" y="94"/>
                  </a:cubicBezTo>
                  <a:cubicBezTo>
                    <a:pt x="437" y="32"/>
                    <a:pt x="375" y="0"/>
                    <a:pt x="281" y="0"/>
                  </a:cubicBezTo>
                  <a:cubicBezTo>
                    <a:pt x="125" y="0"/>
                    <a:pt x="0" y="126"/>
                    <a:pt x="0" y="282"/>
                  </a:cubicBezTo>
                  <a:cubicBezTo>
                    <a:pt x="0" y="407"/>
                    <a:pt x="125" y="532"/>
                    <a:pt x="250" y="532"/>
                  </a:cubicBezTo>
                  <a:cubicBezTo>
                    <a:pt x="250" y="657"/>
                    <a:pt x="312" y="751"/>
                    <a:pt x="375" y="844"/>
                  </a:cubicBezTo>
                  <a:cubicBezTo>
                    <a:pt x="562" y="1032"/>
                    <a:pt x="875" y="1032"/>
                    <a:pt x="1062" y="844"/>
                  </a:cubicBezTo>
                  <a:cubicBezTo>
                    <a:pt x="1250" y="657"/>
                    <a:pt x="1250" y="376"/>
                    <a:pt x="1062" y="188"/>
                  </a:cubicBezTo>
                </a:path>
              </a:pathLst>
            </a:custGeom>
            <a:solidFill>
              <a:srgbClr val="22777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nl-NL" dirty="0"/>
            </a:p>
          </p:txBody>
        </p:sp>
        <p:grpSp>
          <p:nvGrpSpPr>
            <p:cNvPr id="71" name="Group 70">
              <a:extLst>
                <a:ext uri="{FF2B5EF4-FFF2-40B4-BE49-F238E27FC236}">
                  <a16:creationId xmlns:a16="http://schemas.microsoft.com/office/drawing/2014/main" id="{79325A81-CADC-4BEC-9796-1DF7A9B0BF94}"/>
                </a:ext>
              </a:extLst>
            </p:cNvPr>
            <p:cNvGrpSpPr/>
            <p:nvPr/>
          </p:nvGrpSpPr>
          <p:grpSpPr>
            <a:xfrm>
              <a:off x="5430312" y="3527212"/>
              <a:ext cx="472075" cy="601015"/>
              <a:chOff x="5945860" y="2075620"/>
              <a:chExt cx="468164" cy="596036"/>
            </a:xfrm>
          </p:grpSpPr>
          <p:pic>
            <p:nvPicPr>
              <p:cNvPr id="82" name="Graphic 81" descr="Moustache with solid fill">
                <a:extLst>
                  <a:ext uri="{FF2B5EF4-FFF2-40B4-BE49-F238E27FC236}">
                    <a16:creationId xmlns:a16="http://schemas.microsoft.com/office/drawing/2014/main" id="{D683C418-3F1D-44B6-B830-DC6B963BE7F6}"/>
                  </a:ext>
                </a:extLst>
              </p:cNvPr>
              <p:cNvPicPr>
                <a:picLocks noChangeAspect="1"/>
              </p:cNvPicPr>
              <p:nvPr/>
            </p:nvPicPr>
            <p:blipFill rotWithShape="1">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rcRect r="48063"/>
              <a:stretch/>
            </p:blipFill>
            <p:spPr>
              <a:xfrm rot="19111111">
                <a:off x="5945860" y="2075620"/>
                <a:ext cx="309564" cy="596036"/>
              </a:xfrm>
              <a:prstGeom prst="rect">
                <a:avLst/>
              </a:prstGeom>
            </p:spPr>
          </p:pic>
          <p:sp>
            <p:nvSpPr>
              <p:cNvPr id="83" name="Freeform: Shape 82">
                <a:extLst>
                  <a:ext uri="{FF2B5EF4-FFF2-40B4-BE49-F238E27FC236}">
                    <a16:creationId xmlns:a16="http://schemas.microsoft.com/office/drawing/2014/main" id="{B74297BD-89F1-42C0-898C-7B64BA526A3F}"/>
                  </a:ext>
                </a:extLst>
              </p:cNvPr>
              <p:cNvSpPr/>
              <p:nvPr/>
            </p:nvSpPr>
            <p:spPr>
              <a:xfrm>
                <a:off x="6205267" y="2250566"/>
                <a:ext cx="208757" cy="208757"/>
              </a:xfrm>
              <a:custGeom>
                <a:avLst/>
                <a:gdLst>
                  <a:gd name="connsiteX0" fmla="*/ 97868 w 97868"/>
                  <a:gd name="connsiteY0" fmla="*/ 48934 h 97868"/>
                  <a:gd name="connsiteX1" fmla="*/ 48934 w 97868"/>
                  <a:gd name="connsiteY1" fmla="*/ 97868 h 97868"/>
                  <a:gd name="connsiteX2" fmla="*/ 0 w 97868"/>
                  <a:gd name="connsiteY2" fmla="*/ 48934 h 97868"/>
                  <a:gd name="connsiteX3" fmla="*/ 48934 w 97868"/>
                  <a:gd name="connsiteY3" fmla="*/ 0 h 97868"/>
                  <a:gd name="connsiteX4" fmla="*/ 97868 w 97868"/>
                  <a:gd name="connsiteY4" fmla="*/ 48934 h 9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868" h="97868">
                    <a:moveTo>
                      <a:pt x="97868" y="48934"/>
                    </a:moveTo>
                    <a:cubicBezTo>
                      <a:pt x="97868" y="75960"/>
                      <a:pt x="75960" y="97868"/>
                      <a:pt x="48934" y="97868"/>
                    </a:cubicBezTo>
                    <a:cubicBezTo>
                      <a:pt x="21909" y="97868"/>
                      <a:pt x="0" y="75960"/>
                      <a:pt x="0" y="48934"/>
                    </a:cubicBezTo>
                    <a:cubicBezTo>
                      <a:pt x="0" y="21909"/>
                      <a:pt x="21909" y="0"/>
                      <a:pt x="48934" y="0"/>
                    </a:cubicBezTo>
                    <a:cubicBezTo>
                      <a:pt x="75960" y="0"/>
                      <a:pt x="97868" y="21909"/>
                      <a:pt x="97868" y="48934"/>
                    </a:cubicBezTo>
                    <a:close/>
                  </a:path>
                </a:pathLst>
              </a:custGeom>
              <a:solidFill>
                <a:srgbClr val="22777B"/>
              </a:solidFill>
              <a:ln w="6052" cap="flat">
                <a:noFill/>
                <a:prstDash val="solid"/>
                <a:miter/>
              </a:ln>
            </p:spPr>
            <p:txBody>
              <a:bodyPr rtlCol="0" anchor="ctr"/>
              <a:lstStyle/>
              <a:p>
                <a:endParaRPr lang="nl-NL" dirty="0"/>
              </a:p>
            </p:txBody>
          </p:sp>
          <p:sp>
            <p:nvSpPr>
              <p:cNvPr id="85" name="Rectangle 84">
                <a:extLst>
                  <a:ext uri="{FF2B5EF4-FFF2-40B4-BE49-F238E27FC236}">
                    <a16:creationId xmlns:a16="http://schemas.microsoft.com/office/drawing/2014/main" id="{4D6B94BC-4914-4B9B-8E48-A201F7EE5A0E}"/>
                  </a:ext>
                </a:extLst>
              </p:cNvPr>
              <p:cNvSpPr/>
              <p:nvPr/>
            </p:nvSpPr>
            <p:spPr>
              <a:xfrm rot="6484563">
                <a:off x="6195524" y="2243886"/>
                <a:ext cx="61340" cy="83313"/>
              </a:xfrm>
              <a:prstGeom prst="rect">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pSp>
        <p:grpSp>
          <p:nvGrpSpPr>
            <p:cNvPr id="72" name="Group 71">
              <a:extLst>
                <a:ext uri="{FF2B5EF4-FFF2-40B4-BE49-F238E27FC236}">
                  <a16:creationId xmlns:a16="http://schemas.microsoft.com/office/drawing/2014/main" id="{8864F970-E702-4275-8E28-7EE22FF302BF}"/>
                </a:ext>
              </a:extLst>
            </p:cNvPr>
            <p:cNvGrpSpPr/>
            <p:nvPr/>
          </p:nvGrpSpPr>
          <p:grpSpPr>
            <a:xfrm rot="20542492">
              <a:off x="4703955" y="3475868"/>
              <a:ext cx="434301" cy="434301"/>
              <a:chOff x="6237533" y="2490598"/>
              <a:chExt cx="434301" cy="434301"/>
            </a:xfrm>
          </p:grpSpPr>
          <p:sp>
            <p:nvSpPr>
              <p:cNvPr id="80" name="Freeform 332">
                <a:extLst>
                  <a:ext uri="{FF2B5EF4-FFF2-40B4-BE49-F238E27FC236}">
                    <a16:creationId xmlns:a16="http://schemas.microsoft.com/office/drawing/2014/main" id="{1720FEA2-5F3E-46A2-A98D-AC5C66459139}"/>
                  </a:ext>
                </a:extLst>
              </p:cNvPr>
              <p:cNvSpPr>
                <a:spLocks noChangeArrowheads="1"/>
              </p:cNvSpPr>
              <p:nvPr/>
            </p:nvSpPr>
            <p:spPr bwMode="auto">
              <a:xfrm>
                <a:off x="6268013" y="2618932"/>
                <a:ext cx="298651" cy="304413"/>
              </a:xfrm>
              <a:custGeom>
                <a:avLst/>
                <a:gdLst>
                  <a:gd name="T0" fmla="*/ 180 w 362"/>
                  <a:gd name="T1" fmla="*/ 0 h 361"/>
                  <a:gd name="T2" fmla="*/ 180 w 362"/>
                  <a:gd name="T3" fmla="*/ 0 h 361"/>
                  <a:gd name="T4" fmla="*/ 0 w 362"/>
                  <a:gd name="T5" fmla="*/ 180 h 361"/>
                  <a:gd name="T6" fmla="*/ 180 w 362"/>
                  <a:gd name="T7" fmla="*/ 360 h 361"/>
                  <a:gd name="T8" fmla="*/ 361 w 362"/>
                  <a:gd name="T9" fmla="*/ 180 h 361"/>
                  <a:gd name="T10" fmla="*/ 180 w 362"/>
                  <a:gd name="T11" fmla="*/ 0 h 361"/>
                </a:gdLst>
                <a:ahLst/>
                <a:cxnLst>
                  <a:cxn ang="0">
                    <a:pos x="T0" y="T1"/>
                  </a:cxn>
                  <a:cxn ang="0">
                    <a:pos x="T2" y="T3"/>
                  </a:cxn>
                  <a:cxn ang="0">
                    <a:pos x="T4" y="T5"/>
                  </a:cxn>
                  <a:cxn ang="0">
                    <a:pos x="T6" y="T7"/>
                  </a:cxn>
                  <a:cxn ang="0">
                    <a:pos x="T8" y="T9"/>
                  </a:cxn>
                  <a:cxn ang="0">
                    <a:pos x="T10" y="T11"/>
                  </a:cxn>
                </a:cxnLst>
                <a:rect l="0" t="0" r="r" b="b"/>
                <a:pathLst>
                  <a:path w="362" h="361">
                    <a:moveTo>
                      <a:pt x="180" y="0"/>
                    </a:moveTo>
                    <a:lnTo>
                      <a:pt x="180" y="0"/>
                    </a:lnTo>
                    <a:cubicBezTo>
                      <a:pt x="84" y="0"/>
                      <a:pt x="0" y="72"/>
                      <a:pt x="0" y="180"/>
                    </a:cubicBezTo>
                    <a:cubicBezTo>
                      <a:pt x="0" y="276"/>
                      <a:pt x="84" y="360"/>
                      <a:pt x="180" y="360"/>
                    </a:cubicBezTo>
                    <a:cubicBezTo>
                      <a:pt x="265" y="360"/>
                      <a:pt x="337" y="276"/>
                      <a:pt x="361" y="180"/>
                    </a:cubicBezTo>
                    <a:cubicBezTo>
                      <a:pt x="361" y="96"/>
                      <a:pt x="289" y="24"/>
                      <a:pt x="180"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Arial" panose="020B0604020202020204" pitchFamily="34" charset="0"/>
                </a:endParaRPr>
              </a:p>
            </p:txBody>
          </p:sp>
          <p:pic>
            <p:nvPicPr>
              <p:cNvPr id="81" name="Graphic 80" descr="Baseball hat with solid fill">
                <a:extLst>
                  <a:ext uri="{FF2B5EF4-FFF2-40B4-BE49-F238E27FC236}">
                    <a16:creationId xmlns:a16="http://schemas.microsoft.com/office/drawing/2014/main" id="{F14A577A-53E7-40CB-9D78-2371FB27F09C}"/>
                  </a:ext>
                </a:extLst>
              </p:cNvPr>
              <p:cNvPicPr>
                <a:picLocks noChangeAspect="1"/>
              </p:cNvPicPr>
              <p:nvPr/>
            </p:nvPicPr>
            <p:blipFill>
              <a:blip r:embed="rId16" cstate="print">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237533" y="2490598"/>
                <a:ext cx="434301" cy="434301"/>
              </a:xfrm>
              <a:prstGeom prst="rect">
                <a:avLst/>
              </a:prstGeom>
            </p:spPr>
          </p:pic>
        </p:grpSp>
        <p:sp>
          <p:nvSpPr>
            <p:cNvPr id="73" name="Freeform 332">
              <a:extLst>
                <a:ext uri="{FF2B5EF4-FFF2-40B4-BE49-F238E27FC236}">
                  <a16:creationId xmlns:a16="http://schemas.microsoft.com/office/drawing/2014/main" id="{8760BB90-E221-4060-AE93-85F62F0FFF81}"/>
                </a:ext>
              </a:extLst>
            </p:cNvPr>
            <p:cNvSpPr>
              <a:spLocks noChangeArrowheads="1"/>
            </p:cNvSpPr>
            <p:nvPr/>
          </p:nvSpPr>
          <p:spPr bwMode="auto">
            <a:xfrm>
              <a:off x="7090291" y="4641805"/>
              <a:ext cx="298651" cy="304413"/>
            </a:xfrm>
            <a:custGeom>
              <a:avLst/>
              <a:gdLst>
                <a:gd name="T0" fmla="*/ 180 w 362"/>
                <a:gd name="T1" fmla="*/ 0 h 361"/>
                <a:gd name="T2" fmla="*/ 180 w 362"/>
                <a:gd name="T3" fmla="*/ 0 h 361"/>
                <a:gd name="T4" fmla="*/ 0 w 362"/>
                <a:gd name="T5" fmla="*/ 180 h 361"/>
                <a:gd name="T6" fmla="*/ 180 w 362"/>
                <a:gd name="T7" fmla="*/ 360 h 361"/>
                <a:gd name="T8" fmla="*/ 361 w 362"/>
                <a:gd name="T9" fmla="*/ 180 h 361"/>
                <a:gd name="T10" fmla="*/ 180 w 362"/>
                <a:gd name="T11" fmla="*/ 0 h 361"/>
              </a:gdLst>
              <a:ahLst/>
              <a:cxnLst>
                <a:cxn ang="0">
                  <a:pos x="T0" y="T1"/>
                </a:cxn>
                <a:cxn ang="0">
                  <a:pos x="T2" y="T3"/>
                </a:cxn>
                <a:cxn ang="0">
                  <a:pos x="T4" y="T5"/>
                </a:cxn>
                <a:cxn ang="0">
                  <a:pos x="T6" y="T7"/>
                </a:cxn>
                <a:cxn ang="0">
                  <a:pos x="T8" y="T9"/>
                </a:cxn>
                <a:cxn ang="0">
                  <a:pos x="T10" y="T11"/>
                </a:cxn>
              </a:cxnLst>
              <a:rect l="0" t="0" r="r" b="b"/>
              <a:pathLst>
                <a:path w="362" h="361">
                  <a:moveTo>
                    <a:pt x="180" y="0"/>
                  </a:moveTo>
                  <a:lnTo>
                    <a:pt x="180" y="0"/>
                  </a:lnTo>
                  <a:cubicBezTo>
                    <a:pt x="84" y="0"/>
                    <a:pt x="0" y="72"/>
                    <a:pt x="0" y="180"/>
                  </a:cubicBezTo>
                  <a:cubicBezTo>
                    <a:pt x="0" y="276"/>
                    <a:pt x="84" y="360"/>
                    <a:pt x="180" y="360"/>
                  </a:cubicBezTo>
                  <a:cubicBezTo>
                    <a:pt x="265" y="360"/>
                    <a:pt x="337" y="276"/>
                    <a:pt x="361" y="180"/>
                  </a:cubicBezTo>
                  <a:cubicBezTo>
                    <a:pt x="361" y="96"/>
                    <a:pt x="289" y="24"/>
                    <a:pt x="180"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Arial" panose="020B0604020202020204" pitchFamily="34" charset="0"/>
              </a:endParaRPr>
            </a:p>
          </p:txBody>
        </p:sp>
        <p:sp>
          <p:nvSpPr>
            <p:cNvPr id="74" name="Freeform 332">
              <a:extLst>
                <a:ext uri="{FF2B5EF4-FFF2-40B4-BE49-F238E27FC236}">
                  <a16:creationId xmlns:a16="http://schemas.microsoft.com/office/drawing/2014/main" id="{C35F71F8-ABA8-4332-9B60-2D9911A67717}"/>
                </a:ext>
              </a:extLst>
            </p:cNvPr>
            <p:cNvSpPr>
              <a:spLocks noChangeArrowheads="1"/>
            </p:cNvSpPr>
            <p:nvPr/>
          </p:nvSpPr>
          <p:spPr bwMode="auto">
            <a:xfrm>
              <a:off x="4866135" y="4641805"/>
              <a:ext cx="298651" cy="304413"/>
            </a:xfrm>
            <a:custGeom>
              <a:avLst/>
              <a:gdLst>
                <a:gd name="T0" fmla="*/ 180 w 362"/>
                <a:gd name="T1" fmla="*/ 0 h 361"/>
                <a:gd name="T2" fmla="*/ 180 w 362"/>
                <a:gd name="T3" fmla="*/ 0 h 361"/>
                <a:gd name="T4" fmla="*/ 0 w 362"/>
                <a:gd name="T5" fmla="*/ 180 h 361"/>
                <a:gd name="T6" fmla="*/ 180 w 362"/>
                <a:gd name="T7" fmla="*/ 360 h 361"/>
                <a:gd name="T8" fmla="*/ 361 w 362"/>
                <a:gd name="T9" fmla="*/ 180 h 361"/>
                <a:gd name="T10" fmla="*/ 180 w 362"/>
                <a:gd name="T11" fmla="*/ 0 h 361"/>
              </a:gdLst>
              <a:ahLst/>
              <a:cxnLst>
                <a:cxn ang="0">
                  <a:pos x="T0" y="T1"/>
                </a:cxn>
                <a:cxn ang="0">
                  <a:pos x="T2" y="T3"/>
                </a:cxn>
                <a:cxn ang="0">
                  <a:pos x="T4" y="T5"/>
                </a:cxn>
                <a:cxn ang="0">
                  <a:pos x="T6" y="T7"/>
                </a:cxn>
                <a:cxn ang="0">
                  <a:pos x="T8" y="T9"/>
                </a:cxn>
                <a:cxn ang="0">
                  <a:pos x="T10" y="T11"/>
                </a:cxn>
              </a:cxnLst>
              <a:rect l="0" t="0" r="r" b="b"/>
              <a:pathLst>
                <a:path w="362" h="361">
                  <a:moveTo>
                    <a:pt x="180" y="0"/>
                  </a:moveTo>
                  <a:lnTo>
                    <a:pt x="180" y="0"/>
                  </a:lnTo>
                  <a:cubicBezTo>
                    <a:pt x="84" y="0"/>
                    <a:pt x="0" y="72"/>
                    <a:pt x="0" y="180"/>
                  </a:cubicBezTo>
                  <a:cubicBezTo>
                    <a:pt x="0" y="276"/>
                    <a:pt x="84" y="360"/>
                    <a:pt x="180" y="360"/>
                  </a:cubicBezTo>
                  <a:cubicBezTo>
                    <a:pt x="265" y="360"/>
                    <a:pt x="337" y="276"/>
                    <a:pt x="361" y="180"/>
                  </a:cubicBezTo>
                  <a:cubicBezTo>
                    <a:pt x="361" y="96"/>
                    <a:pt x="289" y="24"/>
                    <a:pt x="180"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Arial" panose="020B0604020202020204" pitchFamily="34" charset="0"/>
              </a:endParaRPr>
            </a:p>
          </p:txBody>
        </p:sp>
      </p:grpSp>
      <p:pic>
        <p:nvPicPr>
          <p:cNvPr id="9" name="Graphic 8" descr="Checkmark with solid fill">
            <a:extLst>
              <a:ext uri="{FF2B5EF4-FFF2-40B4-BE49-F238E27FC236}">
                <a16:creationId xmlns:a16="http://schemas.microsoft.com/office/drawing/2014/main" id="{EEA01CBB-5564-48C8-A352-70B485BBD811}"/>
              </a:ext>
            </a:extLst>
          </p:cNvPr>
          <p:cNvPicPr>
            <a:picLocks noChangeAspect="1"/>
          </p:cNvPicPr>
          <p:nvPr/>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1277115" y="3552386"/>
            <a:ext cx="154861" cy="154861"/>
          </a:xfrm>
          <a:prstGeom prst="rect">
            <a:avLst/>
          </a:prstGeom>
        </p:spPr>
      </p:pic>
      <p:pic>
        <p:nvPicPr>
          <p:cNvPr id="89" name="Graphic 88" descr="Checkmark with solid fill">
            <a:extLst>
              <a:ext uri="{FF2B5EF4-FFF2-40B4-BE49-F238E27FC236}">
                <a16:creationId xmlns:a16="http://schemas.microsoft.com/office/drawing/2014/main" id="{397F69D7-CC97-4EB7-B6DF-22AB82E7598F}"/>
              </a:ext>
            </a:extLst>
          </p:cNvPr>
          <p:cNvPicPr>
            <a:picLocks noChangeAspect="1"/>
          </p:cNvPicPr>
          <p:nvPr/>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1277115" y="3771353"/>
            <a:ext cx="154861" cy="154861"/>
          </a:xfrm>
          <a:prstGeom prst="rect">
            <a:avLst/>
          </a:prstGeom>
        </p:spPr>
      </p:pic>
      <p:pic>
        <p:nvPicPr>
          <p:cNvPr id="90" name="Graphic 89" descr="Checkmark with solid fill">
            <a:extLst>
              <a:ext uri="{FF2B5EF4-FFF2-40B4-BE49-F238E27FC236}">
                <a16:creationId xmlns:a16="http://schemas.microsoft.com/office/drawing/2014/main" id="{125D0C1E-5F23-48DE-94BE-330DBD4D800A}"/>
              </a:ext>
            </a:extLst>
          </p:cNvPr>
          <p:cNvPicPr>
            <a:picLocks noChangeAspect="1"/>
          </p:cNvPicPr>
          <p:nvPr/>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1277115" y="3990320"/>
            <a:ext cx="154861" cy="154861"/>
          </a:xfrm>
          <a:prstGeom prst="rect">
            <a:avLst/>
          </a:prstGeom>
        </p:spPr>
      </p:pic>
      <p:pic>
        <p:nvPicPr>
          <p:cNvPr id="91" name="Graphic 90" descr="Checkmark with solid fill">
            <a:extLst>
              <a:ext uri="{FF2B5EF4-FFF2-40B4-BE49-F238E27FC236}">
                <a16:creationId xmlns:a16="http://schemas.microsoft.com/office/drawing/2014/main" id="{CCDCDA63-1FF5-4664-9F02-E0C61B9F1D2F}"/>
              </a:ext>
            </a:extLst>
          </p:cNvPr>
          <p:cNvPicPr>
            <a:picLocks noChangeAspect="1"/>
          </p:cNvPicPr>
          <p:nvPr/>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1277115" y="4209287"/>
            <a:ext cx="154861" cy="154861"/>
          </a:xfrm>
          <a:prstGeom prst="rect">
            <a:avLst/>
          </a:prstGeom>
        </p:spPr>
      </p:pic>
      <p:sp>
        <p:nvSpPr>
          <p:cNvPr id="96" name="Speech Bubble: Rectangle 95">
            <a:extLst>
              <a:ext uri="{FF2B5EF4-FFF2-40B4-BE49-F238E27FC236}">
                <a16:creationId xmlns:a16="http://schemas.microsoft.com/office/drawing/2014/main" id="{A5805FC3-5222-4428-9DB4-3C333461FD27}"/>
              </a:ext>
            </a:extLst>
          </p:cNvPr>
          <p:cNvSpPr/>
          <p:nvPr/>
        </p:nvSpPr>
        <p:spPr>
          <a:xfrm rot="216482">
            <a:off x="9745146" y="2391790"/>
            <a:ext cx="1711344" cy="369870"/>
          </a:xfrm>
          <a:prstGeom prst="wedgeRectCallout">
            <a:avLst>
              <a:gd name="adj1" fmla="val 37414"/>
              <a:gd name="adj2" fmla="val 79674"/>
            </a:avLst>
          </a:prstGeom>
          <a:solidFill>
            <a:srgbClr val="FFFFFF"/>
          </a:solidFill>
          <a:ln w="9525">
            <a:solidFill>
              <a:schemeClr val="accent6">
                <a:lumMod val="65000"/>
              </a:schemeClr>
            </a:solidFill>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Clr>
                <a:schemeClr val="tx2"/>
              </a:buClr>
              <a:buNone/>
            </a:pPr>
            <a:r>
              <a:rPr lang="nl-NL" sz="1000" dirty="0"/>
              <a:t>Gemeenten richten regie-centrale naar eigen wens in</a:t>
            </a:r>
            <a:endParaRPr kumimoji="0" lang="nl-NL" sz="100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98" name="Graphic 97" descr="Checkmark with solid fill">
            <a:extLst>
              <a:ext uri="{FF2B5EF4-FFF2-40B4-BE49-F238E27FC236}">
                <a16:creationId xmlns:a16="http://schemas.microsoft.com/office/drawing/2014/main" id="{35705B61-96D7-4703-B024-A80327DCB38F}"/>
              </a:ext>
            </a:extLst>
          </p:cNvPr>
          <p:cNvPicPr>
            <a:picLocks noChangeAspect="1"/>
          </p:cNvPicPr>
          <p:nvPr/>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1277115" y="3333419"/>
            <a:ext cx="154861" cy="154861"/>
          </a:xfrm>
          <a:prstGeom prst="rect">
            <a:avLst/>
          </a:prstGeom>
        </p:spPr>
      </p:pic>
      <p:pic>
        <p:nvPicPr>
          <p:cNvPr id="99" name="Graphic 98" descr="Checkmark with solid fill">
            <a:extLst>
              <a:ext uri="{FF2B5EF4-FFF2-40B4-BE49-F238E27FC236}">
                <a16:creationId xmlns:a16="http://schemas.microsoft.com/office/drawing/2014/main" id="{1F91AD5D-7E49-444B-AB3B-B974B193D1B7}"/>
              </a:ext>
            </a:extLst>
          </p:cNvPr>
          <p:cNvPicPr>
            <a:picLocks noChangeAspect="1"/>
          </p:cNvPicPr>
          <p:nvPr/>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1277115" y="3114452"/>
            <a:ext cx="154861" cy="154861"/>
          </a:xfrm>
          <a:prstGeom prst="rect">
            <a:avLst/>
          </a:prstGeom>
        </p:spPr>
      </p:pic>
      <p:pic>
        <p:nvPicPr>
          <p:cNvPr id="100" name="Graphic 99" descr="Checkmark with solid fill">
            <a:extLst>
              <a:ext uri="{FF2B5EF4-FFF2-40B4-BE49-F238E27FC236}">
                <a16:creationId xmlns:a16="http://schemas.microsoft.com/office/drawing/2014/main" id="{DE36186C-03BE-40D3-9387-5E20E9ED2083}"/>
              </a:ext>
            </a:extLst>
          </p:cNvPr>
          <p:cNvPicPr>
            <a:picLocks noChangeAspect="1"/>
          </p:cNvPicPr>
          <p:nvPr/>
        </p:nvPicPr>
        <p:blipFill>
          <a:blip r:embed="rId20" cstate="print">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1277115" y="2895485"/>
            <a:ext cx="154861" cy="154861"/>
          </a:xfrm>
          <a:prstGeom prst="rect">
            <a:avLst/>
          </a:prstGeom>
        </p:spPr>
      </p:pic>
      <p:pic>
        <p:nvPicPr>
          <p:cNvPr id="101" name="Graphic 100" descr="Checkmark with solid fill">
            <a:extLst>
              <a:ext uri="{FF2B5EF4-FFF2-40B4-BE49-F238E27FC236}">
                <a16:creationId xmlns:a16="http://schemas.microsoft.com/office/drawing/2014/main" id="{86C03706-148C-43E5-8383-3AF386D9967D}"/>
              </a:ext>
            </a:extLst>
          </p:cNvPr>
          <p:cNvPicPr>
            <a:picLocks noChangeAspect="1"/>
          </p:cNvPicPr>
          <p:nvPr/>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1277115" y="4647224"/>
            <a:ext cx="154861" cy="154861"/>
          </a:xfrm>
          <a:prstGeom prst="rect">
            <a:avLst/>
          </a:prstGeom>
        </p:spPr>
      </p:pic>
      <p:pic>
        <p:nvPicPr>
          <p:cNvPr id="102" name="Graphic 101" descr="Checkmark with solid fill">
            <a:extLst>
              <a:ext uri="{FF2B5EF4-FFF2-40B4-BE49-F238E27FC236}">
                <a16:creationId xmlns:a16="http://schemas.microsoft.com/office/drawing/2014/main" id="{7AAB67C8-E4AE-4E41-99CA-454852C15CE4}"/>
              </a:ext>
            </a:extLst>
          </p:cNvPr>
          <p:cNvPicPr>
            <a:picLocks noChangeAspect="1"/>
          </p:cNvPicPr>
          <p:nvPr/>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1277115" y="4428254"/>
            <a:ext cx="154861" cy="154861"/>
          </a:xfrm>
          <a:prstGeom prst="rect">
            <a:avLst/>
          </a:prstGeom>
        </p:spPr>
      </p:pic>
      <p:sp>
        <p:nvSpPr>
          <p:cNvPr id="92" name="Text Placeholder 7">
            <a:extLst>
              <a:ext uri="{FF2B5EF4-FFF2-40B4-BE49-F238E27FC236}">
                <a16:creationId xmlns:a16="http://schemas.microsoft.com/office/drawing/2014/main" id="{3170394B-6866-4BA2-A78A-701EFFA09423}"/>
              </a:ext>
            </a:extLst>
          </p:cNvPr>
          <p:cNvSpPr txBox="1">
            <a:spLocks/>
          </p:cNvSpPr>
          <p:nvPr/>
        </p:nvSpPr>
        <p:spPr>
          <a:xfrm>
            <a:off x="662780" y="6487298"/>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1   Zoveel mogelijk achter elkaar plannen van ritten voor verschillende doelgroepen met hetzelfde voertuig   </a:t>
            </a:r>
          </a:p>
        </p:txBody>
      </p:sp>
    </p:spTree>
    <p:extLst>
      <p:ext uri="{BB962C8B-B14F-4D97-AF65-F5344CB8AC3E}">
        <p14:creationId xmlns:p14="http://schemas.microsoft.com/office/powerpoint/2010/main" val="24176486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A7E2A55-853B-47A9-A999-76B509545684}"/>
              </a:ext>
            </a:extLst>
          </p:cNvPr>
          <p:cNvGraphicFramePr>
            <a:graphicFrameLocks noChangeAspect="1"/>
          </p:cNvGraphicFramePr>
          <p:nvPr>
            <p:custDataLst>
              <p:tags r:id="rId2"/>
            </p:custDataLst>
            <p:extLst>
              <p:ext uri="{D42A27DB-BD31-4B8C-83A1-F6EECF244321}">
                <p14:modId xmlns:p14="http://schemas.microsoft.com/office/powerpoint/2010/main" val="1212957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4"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DA7E2A55-853B-47A9-A999-76B5095456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9" name="Content Placeholder 8">
            <a:extLst>
              <a:ext uri="{FF2B5EF4-FFF2-40B4-BE49-F238E27FC236}">
                <a16:creationId xmlns:a16="http://schemas.microsoft.com/office/drawing/2014/main" id="{41710874-81A1-48B9-969B-B2DDE5413682}"/>
              </a:ext>
            </a:extLst>
          </p:cNvPr>
          <p:cNvSpPr txBox="1">
            <a:spLocks/>
          </p:cNvSpPr>
          <p:nvPr/>
        </p:nvSpPr>
        <p:spPr>
          <a:xfrm>
            <a:off x="8872400" y="1592263"/>
            <a:ext cx="2665773" cy="4697064"/>
          </a:xfrm>
          <a:prstGeom prst="rect">
            <a:avLst/>
          </a:prstGeom>
          <a:noFill/>
          <a:ln w="19050">
            <a:noFill/>
          </a:ln>
        </p:spPr>
        <p:txBody>
          <a:bodyPr vert="horz" lIns="72000" tIns="72000" rIns="72000" bIns="72000" rtlCol="0">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endParaRPr lang="nl-NL" dirty="0">
              <a:solidFill>
                <a:srgbClr val="68ABB0"/>
              </a:solidFill>
            </a:endParaRPr>
          </a:p>
        </p:txBody>
      </p:sp>
      <p:sp>
        <p:nvSpPr>
          <p:cNvPr id="27" name="Content Placeholder 2">
            <a:extLst>
              <a:ext uri="{FF2B5EF4-FFF2-40B4-BE49-F238E27FC236}">
                <a16:creationId xmlns:a16="http://schemas.microsoft.com/office/drawing/2014/main" id="{72A4A50E-A278-4263-8BF5-D2A490288840}"/>
              </a:ext>
            </a:extLst>
          </p:cNvPr>
          <p:cNvSpPr txBox="1">
            <a:spLocks/>
          </p:cNvSpPr>
          <p:nvPr/>
        </p:nvSpPr>
        <p:spPr>
          <a:xfrm>
            <a:off x="662780" y="1606211"/>
            <a:ext cx="3410038" cy="4710648"/>
          </a:xfrm>
          <a:prstGeom prst="rect">
            <a:avLst/>
          </a:prstGeom>
          <a:noFill/>
          <a:ln w="19050">
            <a:noFill/>
          </a:ln>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b="1" dirty="0">
                <a:solidFill>
                  <a:srgbClr val="22777B"/>
                </a:solidFill>
              </a:rPr>
              <a:t>Gemeentelijke Vervoerscentrale Zeeland </a:t>
            </a:r>
          </a:p>
        </p:txBody>
      </p:sp>
      <p:sp>
        <p:nvSpPr>
          <p:cNvPr id="9" name="Content Placeholder 8">
            <a:extLst>
              <a:ext uri="{FF2B5EF4-FFF2-40B4-BE49-F238E27FC236}">
                <a16:creationId xmlns:a16="http://schemas.microsoft.com/office/drawing/2014/main" id="{351BEF24-D0A2-4C54-8368-D35246FED5BB}"/>
              </a:ext>
            </a:extLst>
          </p:cNvPr>
          <p:cNvSpPr>
            <a:spLocks noGrp="1"/>
          </p:cNvSpPr>
          <p:nvPr>
            <p:ph sz="quarter" idx="35"/>
          </p:nvPr>
        </p:nvSpPr>
        <p:spPr>
          <a:xfrm>
            <a:off x="4296124" y="1592263"/>
            <a:ext cx="3614780" cy="4751700"/>
          </a:xfrm>
        </p:spPr>
        <p:txBody>
          <a:bodyPr/>
          <a:lstStyle/>
          <a:p>
            <a:pPr marL="0" indent="0">
              <a:buNone/>
            </a:pPr>
            <a:r>
              <a:rPr lang="nl-NL" b="1" dirty="0">
                <a:solidFill>
                  <a:srgbClr val="22777B"/>
                </a:solidFill>
              </a:rPr>
              <a:t>Personen- en Zorgvervoer NL (PZN), Brabant</a:t>
            </a:r>
          </a:p>
          <a:p>
            <a:pPr marL="0" indent="0">
              <a:buNone/>
            </a:pPr>
            <a:endParaRPr lang="nl-NL" dirty="0">
              <a:solidFill>
                <a:srgbClr val="22777B"/>
              </a:solidFill>
            </a:endParaRPr>
          </a:p>
        </p:txBody>
      </p:sp>
      <p:sp>
        <p:nvSpPr>
          <p:cNvPr id="84" name="Rectangle 83">
            <a:extLst>
              <a:ext uri="{FF2B5EF4-FFF2-40B4-BE49-F238E27FC236}">
                <a16:creationId xmlns:a16="http://schemas.microsoft.com/office/drawing/2014/main" id="{A1BD0942-A641-4B94-B25F-C3CA16A90D70}"/>
              </a:ext>
            </a:extLst>
          </p:cNvPr>
          <p:cNvSpPr/>
          <p:nvPr/>
        </p:nvSpPr>
        <p:spPr>
          <a:xfrm>
            <a:off x="651593" y="1898011"/>
            <a:ext cx="5433219" cy="1483317"/>
          </a:xfrm>
          <a:prstGeom prst="rect">
            <a:avLst/>
          </a:prstGeom>
          <a:noFill/>
          <a:ln>
            <a:noFill/>
          </a:ln>
          <a:extLst>
            <a:ext uri="{909E8E84-426E-40DD-AFC4-6F175D3DCCD1}">
              <a14:hiddenFill xmlns:a14="http://schemas.microsoft.com/office/drawing/2010/main">
                <a:solidFill>
                  <a:srgbClr val="95C5C9"/>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5" name="Footer Placeholder 4">
            <a:extLst>
              <a:ext uri="{FF2B5EF4-FFF2-40B4-BE49-F238E27FC236}">
                <a16:creationId xmlns:a16="http://schemas.microsoft.com/office/drawing/2014/main" id="{6450BDB4-A43E-402D-996C-55C79B926CE4}"/>
              </a:ext>
            </a:extLst>
          </p:cNvPr>
          <p:cNvSpPr>
            <a:spLocks noGrp="1"/>
          </p:cNvSpPr>
          <p:nvPr>
            <p:ph type="ftr" sz="quarter" idx="3"/>
          </p:nvPr>
        </p:nvSpPr>
        <p:spPr/>
        <p:txBody>
          <a:bodyPr/>
          <a:lstStyle/>
          <a:p>
            <a:r>
              <a:rPr lang="nl-NL" dirty="0"/>
              <a:t>Bron: KpVV CROW, ‘Regiecentrale: wat is het en hoe werkt het?’ (datum onbekend); Goudappel Coffeng, ‘Verkenning Landschap Sociaal Vervoer 2020’  (24 april 2020); website PZN</a:t>
            </a:r>
          </a:p>
        </p:txBody>
      </p:sp>
      <p:sp>
        <p:nvSpPr>
          <p:cNvPr id="6" name="Slide Number Placeholder 5">
            <a:extLst>
              <a:ext uri="{FF2B5EF4-FFF2-40B4-BE49-F238E27FC236}">
                <a16:creationId xmlns:a16="http://schemas.microsoft.com/office/drawing/2014/main" id="{EA5B4AF5-72CF-4819-8135-F522810EB50A}"/>
              </a:ext>
            </a:extLst>
          </p:cNvPr>
          <p:cNvSpPr>
            <a:spLocks noGrp="1"/>
          </p:cNvSpPr>
          <p:nvPr>
            <p:ph type="sldNum" sz="quarter" idx="12"/>
          </p:nvPr>
        </p:nvSpPr>
        <p:spPr/>
        <p:txBody>
          <a:bodyPr/>
          <a:lstStyle/>
          <a:p>
            <a:fld id="{992CD0B2-8AB2-4C6C-8876-E15753662C9B}" type="slidenum">
              <a:rPr lang="nl-NL" smtClean="0"/>
              <a:pPr/>
              <a:t>22</a:t>
            </a:fld>
            <a:endParaRPr lang="nl-NL" dirty="0"/>
          </a:p>
        </p:txBody>
      </p:sp>
      <p:sp>
        <p:nvSpPr>
          <p:cNvPr id="8" name="Title 7">
            <a:extLst>
              <a:ext uri="{FF2B5EF4-FFF2-40B4-BE49-F238E27FC236}">
                <a16:creationId xmlns:a16="http://schemas.microsoft.com/office/drawing/2014/main" id="{4CF772DC-DC31-4B79-9450-0687029A3727}"/>
              </a:ext>
            </a:extLst>
          </p:cNvPr>
          <p:cNvSpPr>
            <a:spLocks noGrp="1"/>
          </p:cNvSpPr>
          <p:nvPr>
            <p:ph type="title"/>
          </p:nvPr>
        </p:nvSpPr>
        <p:spPr>
          <a:xfrm>
            <a:off x="-1" y="265387"/>
            <a:ext cx="12192001" cy="942979"/>
          </a:xfrm>
          <a:solidFill>
            <a:srgbClr val="22777B"/>
          </a:solidFill>
        </p:spPr>
        <p:txBody>
          <a:bodyPr vert="horz" anchor="ctr"/>
          <a:lstStyle/>
          <a:p>
            <a:r>
              <a:rPr lang="nl-NL" dirty="0">
                <a:solidFill>
                  <a:srgbClr val="FFFFFF"/>
                </a:solidFill>
              </a:rPr>
              <a:t>	</a:t>
            </a:r>
          </a:p>
        </p:txBody>
      </p:sp>
      <p:sp>
        <p:nvSpPr>
          <p:cNvPr id="75" name="Content Placeholder 2">
            <a:extLst>
              <a:ext uri="{FF2B5EF4-FFF2-40B4-BE49-F238E27FC236}">
                <a16:creationId xmlns:a16="http://schemas.microsoft.com/office/drawing/2014/main" id="{86BFB595-C26D-406A-9756-BE4D262E449C}"/>
              </a:ext>
            </a:extLst>
          </p:cNvPr>
          <p:cNvSpPr txBox="1">
            <a:spLocks/>
          </p:cNvSpPr>
          <p:nvPr/>
        </p:nvSpPr>
        <p:spPr>
          <a:xfrm>
            <a:off x="664829" y="1870859"/>
            <a:ext cx="36000" cy="4446000"/>
          </a:xfrm>
          <a:prstGeom prst="rect">
            <a:avLst/>
          </a:prstGeom>
          <a:solidFill>
            <a:srgbClr val="408E94"/>
          </a:solidFill>
          <a:ln w="9525">
            <a:noFill/>
          </a:ln>
        </p:spPr>
        <p:txBody>
          <a:bodyPr vert="horz" lIns="72000" tIns="72000" rIns="72000" bIns="72000" rtlCol="0">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endParaRPr lang="nl-NL" sz="1000" b="1" dirty="0">
              <a:solidFill>
                <a:srgbClr val="68ABB0"/>
              </a:solidFill>
            </a:endParaRPr>
          </a:p>
        </p:txBody>
      </p:sp>
      <p:sp>
        <p:nvSpPr>
          <p:cNvPr id="47" name="TextBox 46">
            <a:extLst>
              <a:ext uri="{FF2B5EF4-FFF2-40B4-BE49-F238E27FC236}">
                <a16:creationId xmlns:a16="http://schemas.microsoft.com/office/drawing/2014/main" id="{4716077D-F49C-442C-BDB1-5D321EBE6829}"/>
              </a:ext>
            </a:extLst>
          </p:cNvPr>
          <p:cNvSpPr txBox="1"/>
          <p:nvPr/>
        </p:nvSpPr>
        <p:spPr>
          <a:xfrm>
            <a:off x="658813" y="274425"/>
            <a:ext cx="6724448" cy="230832"/>
          </a:xfrm>
          <a:prstGeom prst="rect">
            <a:avLst/>
          </a:prstGeom>
          <a:noFill/>
        </p:spPr>
        <p:txBody>
          <a:bodyPr wrap="square">
            <a:spAutoFit/>
          </a:bodyPr>
          <a:lstStyle/>
          <a:p>
            <a:pPr marL="0" indent="0">
              <a:buNone/>
            </a:pPr>
            <a:r>
              <a:rPr lang="nl-NL" sz="1000" b="1" dirty="0">
                <a:solidFill>
                  <a:srgbClr val="FFFFFF"/>
                </a:solidFill>
              </a:rPr>
              <a:t>Inrichten regiecentrale</a:t>
            </a:r>
          </a:p>
        </p:txBody>
      </p:sp>
      <p:sp>
        <p:nvSpPr>
          <p:cNvPr id="48" name="TextBox 47">
            <a:extLst>
              <a:ext uri="{FF2B5EF4-FFF2-40B4-BE49-F238E27FC236}">
                <a16:creationId xmlns:a16="http://schemas.microsoft.com/office/drawing/2014/main" id="{4B8BE3FC-F351-4532-B8C6-69DA96834DD2}"/>
              </a:ext>
            </a:extLst>
          </p:cNvPr>
          <p:cNvSpPr txBox="1"/>
          <p:nvPr/>
        </p:nvSpPr>
        <p:spPr>
          <a:xfrm>
            <a:off x="658813" y="617566"/>
            <a:ext cx="10921582" cy="424732"/>
          </a:xfrm>
          <a:prstGeom prst="rect">
            <a:avLst/>
          </a:prstGeom>
          <a:noFill/>
        </p:spPr>
        <p:txBody>
          <a:bodyPr wrap="square" anchor="ctr">
            <a:spAutoFit/>
          </a:bodyPr>
          <a:lstStyle/>
          <a:p>
            <a:pPr marL="0" indent="0">
              <a:buNone/>
            </a:pPr>
            <a:r>
              <a:rPr lang="nl-NL" sz="2400" b="1" dirty="0">
                <a:solidFill>
                  <a:srgbClr val="FFFFFF"/>
                </a:solidFill>
              </a:rPr>
              <a:t>Regiecentrales worden verschillend door gemeenten ingevuld </a:t>
            </a:r>
          </a:p>
        </p:txBody>
      </p:sp>
      <p:grpSp>
        <p:nvGrpSpPr>
          <p:cNvPr id="21" name="Group 20">
            <a:extLst>
              <a:ext uri="{FF2B5EF4-FFF2-40B4-BE49-F238E27FC236}">
                <a16:creationId xmlns:a16="http://schemas.microsoft.com/office/drawing/2014/main" id="{6DE13A35-718C-4AFA-B8EA-839DCFE2381C}"/>
              </a:ext>
            </a:extLst>
          </p:cNvPr>
          <p:cNvGrpSpPr/>
          <p:nvPr/>
        </p:nvGrpSpPr>
        <p:grpSpPr>
          <a:xfrm>
            <a:off x="6689763" y="2509398"/>
            <a:ext cx="2182637" cy="2566985"/>
            <a:chOff x="3571793" y="1196975"/>
            <a:chExt cx="4248314" cy="4996410"/>
          </a:xfrm>
        </p:grpSpPr>
        <p:sp>
          <p:nvSpPr>
            <p:cNvPr id="22" name="Freeform: Shape 21">
              <a:extLst>
                <a:ext uri="{FF2B5EF4-FFF2-40B4-BE49-F238E27FC236}">
                  <a16:creationId xmlns:a16="http://schemas.microsoft.com/office/drawing/2014/main" id="{5DE64433-723B-4442-8CAF-58FE6D4B36C7}"/>
                </a:ext>
              </a:extLst>
            </p:cNvPr>
            <p:cNvSpPr/>
            <p:nvPr/>
          </p:nvSpPr>
          <p:spPr>
            <a:xfrm>
              <a:off x="6621487" y="1823630"/>
              <a:ext cx="1064040" cy="1064040"/>
            </a:xfrm>
            <a:custGeom>
              <a:avLst/>
              <a:gdLst>
                <a:gd name="connsiteX0" fmla="*/ 168137 w 476250"/>
                <a:gd name="connsiteY0" fmla="*/ 5812 h 476250"/>
                <a:gd name="connsiteX1" fmla="*/ 160755 w 476250"/>
                <a:gd name="connsiteY1" fmla="*/ 9502 h 476250"/>
                <a:gd name="connsiteX2" fmla="*/ 157068 w 476250"/>
                <a:gd name="connsiteY2" fmla="*/ 13192 h 476250"/>
                <a:gd name="connsiteX3" fmla="*/ 157068 w 476250"/>
                <a:gd name="connsiteY3" fmla="*/ 16882 h 476250"/>
                <a:gd name="connsiteX4" fmla="*/ 149687 w 476250"/>
                <a:gd name="connsiteY4" fmla="*/ 20573 h 476250"/>
                <a:gd name="connsiteX5" fmla="*/ 142305 w 476250"/>
                <a:gd name="connsiteY5" fmla="*/ 24264 h 476250"/>
                <a:gd name="connsiteX6" fmla="*/ 138619 w 476250"/>
                <a:gd name="connsiteY6" fmla="*/ 27954 h 476250"/>
                <a:gd name="connsiteX7" fmla="*/ 138619 w 476250"/>
                <a:gd name="connsiteY7" fmla="*/ 31645 h 476250"/>
                <a:gd name="connsiteX8" fmla="*/ 134932 w 476250"/>
                <a:gd name="connsiteY8" fmla="*/ 35335 h 476250"/>
                <a:gd name="connsiteX9" fmla="*/ 131237 w 476250"/>
                <a:gd name="connsiteY9" fmla="*/ 42717 h 476250"/>
                <a:gd name="connsiteX10" fmla="*/ 127550 w 476250"/>
                <a:gd name="connsiteY10" fmla="*/ 46407 h 476250"/>
                <a:gd name="connsiteX11" fmla="*/ 127550 w 476250"/>
                <a:gd name="connsiteY11" fmla="*/ 50098 h 476250"/>
                <a:gd name="connsiteX12" fmla="*/ 120169 w 476250"/>
                <a:gd name="connsiteY12" fmla="*/ 68551 h 476250"/>
                <a:gd name="connsiteX13" fmla="*/ 120169 w 476250"/>
                <a:gd name="connsiteY13" fmla="*/ 72242 h 476250"/>
                <a:gd name="connsiteX14" fmla="*/ 120169 w 476250"/>
                <a:gd name="connsiteY14" fmla="*/ 83313 h 476250"/>
                <a:gd name="connsiteX15" fmla="*/ 116482 w 476250"/>
                <a:gd name="connsiteY15" fmla="*/ 83313 h 476250"/>
                <a:gd name="connsiteX16" fmla="*/ 112796 w 476250"/>
                <a:gd name="connsiteY16" fmla="*/ 98075 h 476250"/>
                <a:gd name="connsiteX17" fmla="*/ 109110 w 476250"/>
                <a:gd name="connsiteY17" fmla="*/ 98075 h 476250"/>
                <a:gd name="connsiteX18" fmla="*/ 98042 w 476250"/>
                <a:gd name="connsiteY18" fmla="*/ 94385 h 476250"/>
                <a:gd name="connsiteX19" fmla="*/ 94346 w 476250"/>
                <a:gd name="connsiteY19" fmla="*/ 101765 h 476250"/>
                <a:gd name="connsiteX20" fmla="*/ 105414 w 476250"/>
                <a:gd name="connsiteY20" fmla="*/ 109147 h 476250"/>
                <a:gd name="connsiteX21" fmla="*/ 116482 w 476250"/>
                <a:gd name="connsiteY21" fmla="*/ 109147 h 476250"/>
                <a:gd name="connsiteX22" fmla="*/ 123864 w 476250"/>
                <a:gd name="connsiteY22" fmla="*/ 112837 h 476250"/>
                <a:gd name="connsiteX23" fmla="*/ 120169 w 476250"/>
                <a:gd name="connsiteY23" fmla="*/ 123909 h 476250"/>
                <a:gd name="connsiteX24" fmla="*/ 120169 w 476250"/>
                <a:gd name="connsiteY24" fmla="*/ 134981 h 476250"/>
                <a:gd name="connsiteX25" fmla="*/ 120169 w 476250"/>
                <a:gd name="connsiteY25" fmla="*/ 138672 h 476250"/>
                <a:gd name="connsiteX26" fmla="*/ 127550 w 476250"/>
                <a:gd name="connsiteY26" fmla="*/ 149743 h 476250"/>
                <a:gd name="connsiteX27" fmla="*/ 142305 w 476250"/>
                <a:gd name="connsiteY27" fmla="*/ 171887 h 476250"/>
                <a:gd name="connsiteX28" fmla="*/ 146000 w 476250"/>
                <a:gd name="connsiteY28" fmla="*/ 179268 h 476250"/>
                <a:gd name="connsiteX29" fmla="*/ 149687 w 476250"/>
                <a:gd name="connsiteY29" fmla="*/ 186649 h 476250"/>
                <a:gd name="connsiteX30" fmla="*/ 153373 w 476250"/>
                <a:gd name="connsiteY30" fmla="*/ 190339 h 476250"/>
                <a:gd name="connsiteX31" fmla="*/ 142305 w 476250"/>
                <a:gd name="connsiteY31" fmla="*/ 208792 h 476250"/>
                <a:gd name="connsiteX32" fmla="*/ 142305 w 476250"/>
                <a:gd name="connsiteY32" fmla="*/ 212483 h 476250"/>
                <a:gd name="connsiteX33" fmla="*/ 138619 w 476250"/>
                <a:gd name="connsiteY33" fmla="*/ 216173 h 476250"/>
                <a:gd name="connsiteX34" fmla="*/ 134932 w 476250"/>
                <a:gd name="connsiteY34" fmla="*/ 219864 h 476250"/>
                <a:gd name="connsiteX35" fmla="*/ 123864 w 476250"/>
                <a:gd name="connsiteY35" fmla="*/ 230936 h 476250"/>
                <a:gd name="connsiteX36" fmla="*/ 109110 w 476250"/>
                <a:gd name="connsiteY36" fmla="*/ 242008 h 476250"/>
                <a:gd name="connsiteX37" fmla="*/ 94346 w 476250"/>
                <a:gd name="connsiteY37" fmla="*/ 227245 h 476250"/>
                <a:gd name="connsiteX38" fmla="*/ 83278 w 476250"/>
                <a:gd name="connsiteY38" fmla="*/ 227245 h 476250"/>
                <a:gd name="connsiteX39" fmla="*/ 72210 w 476250"/>
                <a:gd name="connsiteY39" fmla="*/ 223555 h 476250"/>
                <a:gd name="connsiteX40" fmla="*/ 64838 w 476250"/>
                <a:gd name="connsiteY40" fmla="*/ 227245 h 476250"/>
                <a:gd name="connsiteX41" fmla="*/ 64838 w 476250"/>
                <a:gd name="connsiteY41" fmla="*/ 230936 h 476250"/>
                <a:gd name="connsiteX42" fmla="*/ 64838 w 476250"/>
                <a:gd name="connsiteY42" fmla="*/ 234627 h 476250"/>
                <a:gd name="connsiteX43" fmla="*/ 57456 w 476250"/>
                <a:gd name="connsiteY43" fmla="*/ 238317 h 476250"/>
                <a:gd name="connsiteX44" fmla="*/ 46388 w 476250"/>
                <a:gd name="connsiteY44" fmla="*/ 253080 h 476250"/>
                <a:gd name="connsiteX45" fmla="*/ 42702 w 476250"/>
                <a:gd name="connsiteY45" fmla="*/ 256770 h 476250"/>
                <a:gd name="connsiteX46" fmla="*/ 39006 w 476250"/>
                <a:gd name="connsiteY46" fmla="*/ 260461 h 476250"/>
                <a:gd name="connsiteX47" fmla="*/ 24252 w 476250"/>
                <a:gd name="connsiteY47" fmla="*/ 267841 h 476250"/>
                <a:gd name="connsiteX48" fmla="*/ 16879 w 476250"/>
                <a:gd name="connsiteY48" fmla="*/ 275222 h 476250"/>
                <a:gd name="connsiteX49" fmla="*/ 5812 w 476250"/>
                <a:gd name="connsiteY49" fmla="*/ 282603 h 476250"/>
                <a:gd name="connsiteX50" fmla="*/ 9498 w 476250"/>
                <a:gd name="connsiteY50" fmla="*/ 289985 h 476250"/>
                <a:gd name="connsiteX51" fmla="*/ 9498 w 476250"/>
                <a:gd name="connsiteY51" fmla="*/ 293675 h 476250"/>
                <a:gd name="connsiteX52" fmla="*/ 20566 w 476250"/>
                <a:gd name="connsiteY52" fmla="*/ 304747 h 476250"/>
                <a:gd name="connsiteX53" fmla="*/ 24252 w 476250"/>
                <a:gd name="connsiteY53" fmla="*/ 308438 h 476250"/>
                <a:gd name="connsiteX54" fmla="*/ 31634 w 476250"/>
                <a:gd name="connsiteY54" fmla="*/ 315819 h 476250"/>
                <a:gd name="connsiteX55" fmla="*/ 35320 w 476250"/>
                <a:gd name="connsiteY55" fmla="*/ 319510 h 476250"/>
                <a:gd name="connsiteX56" fmla="*/ 39006 w 476250"/>
                <a:gd name="connsiteY56" fmla="*/ 323200 h 476250"/>
                <a:gd name="connsiteX57" fmla="*/ 42702 w 476250"/>
                <a:gd name="connsiteY57" fmla="*/ 330581 h 476250"/>
                <a:gd name="connsiteX58" fmla="*/ 46388 w 476250"/>
                <a:gd name="connsiteY58" fmla="*/ 330581 h 476250"/>
                <a:gd name="connsiteX59" fmla="*/ 42702 w 476250"/>
                <a:gd name="connsiteY59" fmla="*/ 337963 h 476250"/>
                <a:gd name="connsiteX60" fmla="*/ 39006 w 476250"/>
                <a:gd name="connsiteY60" fmla="*/ 341653 h 476250"/>
                <a:gd name="connsiteX61" fmla="*/ 31634 w 476250"/>
                <a:gd name="connsiteY61" fmla="*/ 349034 h 476250"/>
                <a:gd name="connsiteX62" fmla="*/ 31634 w 476250"/>
                <a:gd name="connsiteY62" fmla="*/ 352724 h 476250"/>
                <a:gd name="connsiteX63" fmla="*/ 27948 w 476250"/>
                <a:gd name="connsiteY63" fmla="*/ 352724 h 476250"/>
                <a:gd name="connsiteX64" fmla="*/ 24252 w 476250"/>
                <a:gd name="connsiteY64" fmla="*/ 356415 h 476250"/>
                <a:gd name="connsiteX65" fmla="*/ 13184 w 476250"/>
                <a:gd name="connsiteY65" fmla="*/ 360105 h 476250"/>
                <a:gd name="connsiteX66" fmla="*/ 9498 w 476250"/>
                <a:gd name="connsiteY66" fmla="*/ 363796 h 476250"/>
                <a:gd name="connsiteX67" fmla="*/ 5812 w 476250"/>
                <a:gd name="connsiteY67" fmla="*/ 363796 h 476250"/>
                <a:gd name="connsiteX68" fmla="*/ 5812 w 476250"/>
                <a:gd name="connsiteY68" fmla="*/ 367486 h 476250"/>
                <a:gd name="connsiteX69" fmla="*/ 9498 w 476250"/>
                <a:gd name="connsiteY69" fmla="*/ 374868 h 476250"/>
                <a:gd name="connsiteX70" fmla="*/ 13184 w 476250"/>
                <a:gd name="connsiteY70" fmla="*/ 382249 h 476250"/>
                <a:gd name="connsiteX71" fmla="*/ 16879 w 476250"/>
                <a:gd name="connsiteY71" fmla="*/ 389630 h 476250"/>
                <a:gd name="connsiteX72" fmla="*/ 16879 w 476250"/>
                <a:gd name="connsiteY72" fmla="*/ 393321 h 476250"/>
                <a:gd name="connsiteX73" fmla="*/ 16879 w 476250"/>
                <a:gd name="connsiteY73" fmla="*/ 397011 h 476250"/>
                <a:gd name="connsiteX74" fmla="*/ 24252 w 476250"/>
                <a:gd name="connsiteY74" fmla="*/ 408083 h 476250"/>
                <a:gd name="connsiteX75" fmla="*/ 24252 w 476250"/>
                <a:gd name="connsiteY75" fmla="*/ 411774 h 476250"/>
                <a:gd name="connsiteX76" fmla="*/ 31634 w 476250"/>
                <a:gd name="connsiteY76" fmla="*/ 415464 h 476250"/>
                <a:gd name="connsiteX77" fmla="*/ 31634 w 476250"/>
                <a:gd name="connsiteY77" fmla="*/ 419155 h 476250"/>
                <a:gd name="connsiteX78" fmla="*/ 27948 w 476250"/>
                <a:gd name="connsiteY78" fmla="*/ 422846 h 476250"/>
                <a:gd name="connsiteX79" fmla="*/ 39006 w 476250"/>
                <a:gd name="connsiteY79" fmla="*/ 426536 h 476250"/>
                <a:gd name="connsiteX80" fmla="*/ 35320 w 476250"/>
                <a:gd name="connsiteY80" fmla="*/ 422846 h 476250"/>
                <a:gd name="connsiteX81" fmla="*/ 39006 w 476250"/>
                <a:gd name="connsiteY81" fmla="*/ 419155 h 476250"/>
                <a:gd name="connsiteX82" fmla="*/ 39006 w 476250"/>
                <a:gd name="connsiteY82" fmla="*/ 422846 h 476250"/>
                <a:gd name="connsiteX83" fmla="*/ 42702 w 476250"/>
                <a:gd name="connsiteY83" fmla="*/ 426536 h 476250"/>
                <a:gd name="connsiteX84" fmla="*/ 42702 w 476250"/>
                <a:gd name="connsiteY84" fmla="*/ 422846 h 476250"/>
                <a:gd name="connsiteX85" fmla="*/ 46388 w 476250"/>
                <a:gd name="connsiteY85" fmla="*/ 419155 h 476250"/>
                <a:gd name="connsiteX86" fmla="*/ 50074 w 476250"/>
                <a:gd name="connsiteY86" fmla="*/ 419155 h 476250"/>
                <a:gd name="connsiteX87" fmla="*/ 53770 w 476250"/>
                <a:gd name="connsiteY87" fmla="*/ 419155 h 476250"/>
                <a:gd name="connsiteX88" fmla="*/ 57456 w 476250"/>
                <a:gd name="connsiteY88" fmla="*/ 419155 h 476250"/>
                <a:gd name="connsiteX89" fmla="*/ 57456 w 476250"/>
                <a:gd name="connsiteY89" fmla="*/ 422846 h 476250"/>
                <a:gd name="connsiteX90" fmla="*/ 61142 w 476250"/>
                <a:gd name="connsiteY90" fmla="*/ 422846 h 476250"/>
                <a:gd name="connsiteX91" fmla="*/ 64838 w 476250"/>
                <a:gd name="connsiteY91" fmla="*/ 422846 h 476250"/>
                <a:gd name="connsiteX92" fmla="*/ 68524 w 476250"/>
                <a:gd name="connsiteY92" fmla="*/ 422846 h 476250"/>
                <a:gd name="connsiteX93" fmla="*/ 68524 w 476250"/>
                <a:gd name="connsiteY93" fmla="*/ 426536 h 476250"/>
                <a:gd name="connsiteX94" fmla="*/ 72210 w 476250"/>
                <a:gd name="connsiteY94" fmla="*/ 430227 h 476250"/>
                <a:gd name="connsiteX95" fmla="*/ 75906 w 476250"/>
                <a:gd name="connsiteY95" fmla="*/ 430227 h 476250"/>
                <a:gd name="connsiteX96" fmla="*/ 75906 w 476250"/>
                <a:gd name="connsiteY96" fmla="*/ 433917 h 476250"/>
                <a:gd name="connsiteX97" fmla="*/ 79592 w 476250"/>
                <a:gd name="connsiteY97" fmla="*/ 433917 h 476250"/>
                <a:gd name="connsiteX98" fmla="*/ 83278 w 476250"/>
                <a:gd name="connsiteY98" fmla="*/ 433917 h 476250"/>
                <a:gd name="connsiteX99" fmla="*/ 83278 w 476250"/>
                <a:gd name="connsiteY99" fmla="*/ 430227 h 476250"/>
                <a:gd name="connsiteX100" fmla="*/ 86974 w 476250"/>
                <a:gd name="connsiteY100" fmla="*/ 430227 h 476250"/>
                <a:gd name="connsiteX101" fmla="*/ 86974 w 476250"/>
                <a:gd name="connsiteY101" fmla="*/ 433917 h 476250"/>
                <a:gd name="connsiteX102" fmla="*/ 90660 w 476250"/>
                <a:gd name="connsiteY102" fmla="*/ 433917 h 476250"/>
                <a:gd name="connsiteX103" fmla="*/ 94346 w 476250"/>
                <a:gd name="connsiteY103" fmla="*/ 433917 h 476250"/>
                <a:gd name="connsiteX104" fmla="*/ 98042 w 476250"/>
                <a:gd name="connsiteY104" fmla="*/ 433917 h 476250"/>
                <a:gd name="connsiteX105" fmla="*/ 101728 w 476250"/>
                <a:gd name="connsiteY105" fmla="*/ 430227 h 476250"/>
                <a:gd name="connsiteX106" fmla="*/ 105414 w 476250"/>
                <a:gd name="connsiteY106" fmla="*/ 430227 h 476250"/>
                <a:gd name="connsiteX107" fmla="*/ 109110 w 476250"/>
                <a:gd name="connsiteY107" fmla="*/ 430227 h 476250"/>
                <a:gd name="connsiteX108" fmla="*/ 109110 w 476250"/>
                <a:gd name="connsiteY108" fmla="*/ 433917 h 476250"/>
                <a:gd name="connsiteX109" fmla="*/ 105414 w 476250"/>
                <a:gd name="connsiteY109" fmla="*/ 433917 h 476250"/>
                <a:gd name="connsiteX110" fmla="*/ 105414 w 476250"/>
                <a:gd name="connsiteY110" fmla="*/ 437607 h 476250"/>
                <a:gd name="connsiteX111" fmla="*/ 109110 w 476250"/>
                <a:gd name="connsiteY111" fmla="*/ 437607 h 476250"/>
                <a:gd name="connsiteX112" fmla="*/ 109110 w 476250"/>
                <a:gd name="connsiteY112" fmla="*/ 441298 h 476250"/>
                <a:gd name="connsiteX113" fmla="*/ 112796 w 476250"/>
                <a:gd name="connsiteY113" fmla="*/ 444988 h 476250"/>
                <a:gd name="connsiteX114" fmla="*/ 116482 w 476250"/>
                <a:gd name="connsiteY114" fmla="*/ 444988 h 476250"/>
                <a:gd name="connsiteX115" fmla="*/ 120169 w 476250"/>
                <a:gd name="connsiteY115" fmla="*/ 448679 h 476250"/>
                <a:gd name="connsiteX116" fmla="*/ 123864 w 476250"/>
                <a:gd name="connsiteY116" fmla="*/ 448679 h 476250"/>
                <a:gd name="connsiteX117" fmla="*/ 123864 w 476250"/>
                <a:gd name="connsiteY117" fmla="*/ 452370 h 476250"/>
                <a:gd name="connsiteX118" fmla="*/ 123864 w 476250"/>
                <a:gd name="connsiteY118" fmla="*/ 456060 h 476250"/>
                <a:gd name="connsiteX119" fmla="*/ 127550 w 476250"/>
                <a:gd name="connsiteY119" fmla="*/ 456060 h 476250"/>
                <a:gd name="connsiteX120" fmla="*/ 127550 w 476250"/>
                <a:gd name="connsiteY120" fmla="*/ 459751 h 476250"/>
                <a:gd name="connsiteX121" fmla="*/ 131237 w 476250"/>
                <a:gd name="connsiteY121" fmla="*/ 463441 h 476250"/>
                <a:gd name="connsiteX122" fmla="*/ 131237 w 476250"/>
                <a:gd name="connsiteY122" fmla="*/ 470823 h 476250"/>
                <a:gd name="connsiteX123" fmla="*/ 134932 w 476250"/>
                <a:gd name="connsiteY123" fmla="*/ 474513 h 476250"/>
                <a:gd name="connsiteX124" fmla="*/ 138619 w 476250"/>
                <a:gd name="connsiteY124" fmla="*/ 474513 h 476250"/>
                <a:gd name="connsiteX125" fmla="*/ 138619 w 476250"/>
                <a:gd name="connsiteY125" fmla="*/ 470823 h 476250"/>
                <a:gd name="connsiteX126" fmla="*/ 142305 w 476250"/>
                <a:gd name="connsiteY126" fmla="*/ 470823 h 476250"/>
                <a:gd name="connsiteX127" fmla="*/ 146000 w 476250"/>
                <a:gd name="connsiteY127" fmla="*/ 470823 h 476250"/>
                <a:gd name="connsiteX128" fmla="*/ 146000 w 476250"/>
                <a:gd name="connsiteY128" fmla="*/ 467132 h 476250"/>
                <a:gd name="connsiteX129" fmla="*/ 149687 w 476250"/>
                <a:gd name="connsiteY129" fmla="*/ 467132 h 476250"/>
                <a:gd name="connsiteX130" fmla="*/ 149687 w 476250"/>
                <a:gd name="connsiteY130" fmla="*/ 470823 h 476250"/>
                <a:gd name="connsiteX131" fmla="*/ 153373 w 476250"/>
                <a:gd name="connsiteY131" fmla="*/ 470823 h 476250"/>
                <a:gd name="connsiteX132" fmla="*/ 153373 w 476250"/>
                <a:gd name="connsiteY132" fmla="*/ 467132 h 476250"/>
                <a:gd name="connsiteX133" fmla="*/ 157068 w 476250"/>
                <a:gd name="connsiteY133" fmla="*/ 463441 h 476250"/>
                <a:gd name="connsiteX134" fmla="*/ 160755 w 476250"/>
                <a:gd name="connsiteY134" fmla="*/ 463441 h 476250"/>
                <a:gd name="connsiteX135" fmla="*/ 160755 w 476250"/>
                <a:gd name="connsiteY135" fmla="*/ 467132 h 476250"/>
                <a:gd name="connsiteX136" fmla="*/ 160755 w 476250"/>
                <a:gd name="connsiteY136" fmla="*/ 470823 h 476250"/>
                <a:gd name="connsiteX137" fmla="*/ 164441 w 476250"/>
                <a:gd name="connsiteY137" fmla="*/ 470823 h 476250"/>
                <a:gd name="connsiteX138" fmla="*/ 168137 w 476250"/>
                <a:gd name="connsiteY138" fmla="*/ 474513 h 476250"/>
                <a:gd name="connsiteX139" fmla="*/ 171823 w 476250"/>
                <a:gd name="connsiteY139" fmla="*/ 470823 h 476250"/>
                <a:gd name="connsiteX140" fmla="*/ 175509 w 476250"/>
                <a:gd name="connsiteY140" fmla="*/ 467132 h 476250"/>
                <a:gd name="connsiteX141" fmla="*/ 175509 w 476250"/>
                <a:gd name="connsiteY141" fmla="*/ 463441 h 476250"/>
                <a:gd name="connsiteX142" fmla="*/ 179205 w 476250"/>
                <a:gd name="connsiteY142" fmla="*/ 467132 h 476250"/>
                <a:gd name="connsiteX143" fmla="*/ 182891 w 476250"/>
                <a:gd name="connsiteY143" fmla="*/ 470823 h 476250"/>
                <a:gd name="connsiteX144" fmla="*/ 190263 w 476250"/>
                <a:gd name="connsiteY144" fmla="*/ 470823 h 476250"/>
                <a:gd name="connsiteX145" fmla="*/ 193959 w 476250"/>
                <a:gd name="connsiteY145" fmla="*/ 470823 h 476250"/>
                <a:gd name="connsiteX146" fmla="*/ 197645 w 476250"/>
                <a:gd name="connsiteY146" fmla="*/ 474513 h 476250"/>
                <a:gd name="connsiteX147" fmla="*/ 201331 w 476250"/>
                <a:gd name="connsiteY147" fmla="*/ 474513 h 476250"/>
                <a:gd name="connsiteX148" fmla="*/ 201331 w 476250"/>
                <a:gd name="connsiteY148" fmla="*/ 470823 h 476250"/>
                <a:gd name="connsiteX149" fmla="*/ 197645 w 476250"/>
                <a:gd name="connsiteY149" fmla="*/ 448679 h 476250"/>
                <a:gd name="connsiteX150" fmla="*/ 205027 w 476250"/>
                <a:gd name="connsiteY150" fmla="*/ 441298 h 476250"/>
                <a:gd name="connsiteX151" fmla="*/ 212399 w 476250"/>
                <a:gd name="connsiteY151" fmla="*/ 433917 h 476250"/>
                <a:gd name="connsiteX152" fmla="*/ 216095 w 476250"/>
                <a:gd name="connsiteY152" fmla="*/ 430227 h 476250"/>
                <a:gd name="connsiteX153" fmla="*/ 230849 w 476250"/>
                <a:gd name="connsiteY153" fmla="*/ 430227 h 476250"/>
                <a:gd name="connsiteX154" fmla="*/ 241917 w 476250"/>
                <a:gd name="connsiteY154" fmla="*/ 426536 h 476250"/>
                <a:gd name="connsiteX155" fmla="*/ 245603 w 476250"/>
                <a:gd name="connsiteY155" fmla="*/ 426536 h 476250"/>
                <a:gd name="connsiteX156" fmla="*/ 245603 w 476250"/>
                <a:gd name="connsiteY156" fmla="*/ 422846 h 476250"/>
                <a:gd name="connsiteX157" fmla="*/ 252985 w 476250"/>
                <a:gd name="connsiteY157" fmla="*/ 426536 h 476250"/>
                <a:gd name="connsiteX158" fmla="*/ 260358 w 476250"/>
                <a:gd name="connsiteY158" fmla="*/ 430227 h 476250"/>
                <a:gd name="connsiteX159" fmla="*/ 267739 w 476250"/>
                <a:gd name="connsiteY159" fmla="*/ 433917 h 476250"/>
                <a:gd name="connsiteX160" fmla="*/ 282494 w 476250"/>
                <a:gd name="connsiteY160" fmla="*/ 441298 h 476250"/>
                <a:gd name="connsiteX161" fmla="*/ 289876 w 476250"/>
                <a:gd name="connsiteY161" fmla="*/ 441298 h 476250"/>
                <a:gd name="connsiteX162" fmla="*/ 293562 w 476250"/>
                <a:gd name="connsiteY162" fmla="*/ 444988 h 476250"/>
                <a:gd name="connsiteX163" fmla="*/ 289876 w 476250"/>
                <a:gd name="connsiteY163" fmla="*/ 448679 h 476250"/>
                <a:gd name="connsiteX164" fmla="*/ 289876 w 476250"/>
                <a:gd name="connsiteY164" fmla="*/ 452370 h 476250"/>
                <a:gd name="connsiteX165" fmla="*/ 289876 w 476250"/>
                <a:gd name="connsiteY165" fmla="*/ 456060 h 476250"/>
                <a:gd name="connsiteX166" fmla="*/ 289876 w 476250"/>
                <a:gd name="connsiteY166" fmla="*/ 459751 h 476250"/>
                <a:gd name="connsiteX167" fmla="*/ 293562 w 476250"/>
                <a:gd name="connsiteY167" fmla="*/ 459751 h 476250"/>
                <a:gd name="connsiteX168" fmla="*/ 297257 w 476250"/>
                <a:gd name="connsiteY168" fmla="*/ 456060 h 476250"/>
                <a:gd name="connsiteX169" fmla="*/ 300944 w 476250"/>
                <a:gd name="connsiteY169" fmla="*/ 456060 h 476250"/>
                <a:gd name="connsiteX170" fmla="*/ 304630 w 476250"/>
                <a:gd name="connsiteY170" fmla="*/ 452370 h 476250"/>
                <a:gd name="connsiteX171" fmla="*/ 308326 w 476250"/>
                <a:gd name="connsiteY171" fmla="*/ 444988 h 476250"/>
                <a:gd name="connsiteX172" fmla="*/ 315698 w 476250"/>
                <a:gd name="connsiteY172" fmla="*/ 444988 h 476250"/>
                <a:gd name="connsiteX173" fmla="*/ 319394 w 476250"/>
                <a:gd name="connsiteY173" fmla="*/ 444988 h 476250"/>
                <a:gd name="connsiteX174" fmla="*/ 323080 w 476250"/>
                <a:gd name="connsiteY174" fmla="*/ 441298 h 476250"/>
                <a:gd name="connsiteX175" fmla="*/ 326766 w 476250"/>
                <a:gd name="connsiteY175" fmla="*/ 441298 h 476250"/>
                <a:gd name="connsiteX176" fmla="*/ 330452 w 476250"/>
                <a:gd name="connsiteY176" fmla="*/ 441298 h 476250"/>
                <a:gd name="connsiteX177" fmla="*/ 334148 w 476250"/>
                <a:gd name="connsiteY177" fmla="*/ 441298 h 476250"/>
                <a:gd name="connsiteX178" fmla="*/ 337834 w 476250"/>
                <a:gd name="connsiteY178" fmla="*/ 441298 h 476250"/>
                <a:gd name="connsiteX179" fmla="*/ 341520 w 476250"/>
                <a:gd name="connsiteY179" fmla="*/ 441298 h 476250"/>
                <a:gd name="connsiteX180" fmla="*/ 345216 w 476250"/>
                <a:gd name="connsiteY180" fmla="*/ 444988 h 476250"/>
                <a:gd name="connsiteX181" fmla="*/ 348902 w 476250"/>
                <a:gd name="connsiteY181" fmla="*/ 441298 h 476250"/>
                <a:gd name="connsiteX182" fmla="*/ 352588 w 476250"/>
                <a:gd name="connsiteY182" fmla="*/ 441298 h 476250"/>
                <a:gd name="connsiteX183" fmla="*/ 359970 w 476250"/>
                <a:gd name="connsiteY183" fmla="*/ 441298 h 476250"/>
                <a:gd name="connsiteX184" fmla="*/ 367352 w 476250"/>
                <a:gd name="connsiteY184" fmla="*/ 441298 h 476250"/>
                <a:gd name="connsiteX185" fmla="*/ 371038 w 476250"/>
                <a:gd name="connsiteY185" fmla="*/ 437607 h 476250"/>
                <a:gd name="connsiteX186" fmla="*/ 374724 w 476250"/>
                <a:gd name="connsiteY186" fmla="*/ 441298 h 476250"/>
                <a:gd name="connsiteX187" fmla="*/ 382106 w 476250"/>
                <a:gd name="connsiteY187" fmla="*/ 441298 h 476250"/>
                <a:gd name="connsiteX188" fmla="*/ 385792 w 476250"/>
                <a:gd name="connsiteY188" fmla="*/ 441298 h 476250"/>
                <a:gd name="connsiteX189" fmla="*/ 393174 w 476250"/>
                <a:gd name="connsiteY189" fmla="*/ 444988 h 476250"/>
                <a:gd name="connsiteX190" fmla="*/ 393174 w 476250"/>
                <a:gd name="connsiteY190" fmla="*/ 448679 h 476250"/>
                <a:gd name="connsiteX191" fmla="*/ 396860 w 476250"/>
                <a:gd name="connsiteY191" fmla="*/ 448679 h 476250"/>
                <a:gd name="connsiteX192" fmla="*/ 404242 w 476250"/>
                <a:gd name="connsiteY192" fmla="*/ 448679 h 476250"/>
                <a:gd name="connsiteX193" fmla="*/ 407928 w 476250"/>
                <a:gd name="connsiteY193" fmla="*/ 448679 h 476250"/>
                <a:gd name="connsiteX194" fmla="*/ 411615 w 476250"/>
                <a:gd name="connsiteY194" fmla="*/ 448679 h 476250"/>
                <a:gd name="connsiteX195" fmla="*/ 418997 w 476250"/>
                <a:gd name="connsiteY195" fmla="*/ 448679 h 476250"/>
                <a:gd name="connsiteX196" fmla="*/ 422683 w 476250"/>
                <a:gd name="connsiteY196" fmla="*/ 444988 h 476250"/>
                <a:gd name="connsiteX197" fmla="*/ 426378 w 476250"/>
                <a:gd name="connsiteY197" fmla="*/ 444988 h 476250"/>
                <a:gd name="connsiteX198" fmla="*/ 430064 w 476250"/>
                <a:gd name="connsiteY198" fmla="*/ 448679 h 476250"/>
                <a:gd name="connsiteX199" fmla="*/ 433751 w 476250"/>
                <a:gd name="connsiteY199" fmla="*/ 444988 h 476250"/>
                <a:gd name="connsiteX200" fmla="*/ 433751 w 476250"/>
                <a:gd name="connsiteY200" fmla="*/ 448679 h 476250"/>
                <a:gd name="connsiteX201" fmla="*/ 437446 w 476250"/>
                <a:gd name="connsiteY201" fmla="*/ 448679 h 476250"/>
                <a:gd name="connsiteX202" fmla="*/ 448514 w 476250"/>
                <a:gd name="connsiteY202" fmla="*/ 452370 h 476250"/>
                <a:gd name="connsiteX203" fmla="*/ 452201 w 476250"/>
                <a:gd name="connsiteY203" fmla="*/ 452370 h 476250"/>
                <a:gd name="connsiteX204" fmla="*/ 459583 w 476250"/>
                <a:gd name="connsiteY204" fmla="*/ 444988 h 476250"/>
                <a:gd name="connsiteX205" fmla="*/ 459583 w 476250"/>
                <a:gd name="connsiteY205" fmla="*/ 441298 h 476250"/>
                <a:gd name="connsiteX206" fmla="*/ 459583 w 476250"/>
                <a:gd name="connsiteY206" fmla="*/ 433917 h 476250"/>
                <a:gd name="connsiteX207" fmla="*/ 459583 w 476250"/>
                <a:gd name="connsiteY207" fmla="*/ 419155 h 476250"/>
                <a:gd name="connsiteX208" fmla="*/ 463269 w 476250"/>
                <a:gd name="connsiteY208" fmla="*/ 382249 h 476250"/>
                <a:gd name="connsiteX209" fmla="*/ 463269 w 476250"/>
                <a:gd name="connsiteY209" fmla="*/ 334272 h 476250"/>
                <a:gd name="connsiteX210" fmla="*/ 463269 w 476250"/>
                <a:gd name="connsiteY210" fmla="*/ 312128 h 476250"/>
                <a:gd name="connsiteX211" fmla="*/ 474337 w 476250"/>
                <a:gd name="connsiteY211" fmla="*/ 289985 h 476250"/>
                <a:gd name="connsiteX212" fmla="*/ 463269 w 476250"/>
                <a:gd name="connsiteY212" fmla="*/ 289985 h 476250"/>
                <a:gd name="connsiteX213" fmla="*/ 463269 w 476250"/>
                <a:gd name="connsiteY213" fmla="*/ 282603 h 476250"/>
                <a:gd name="connsiteX214" fmla="*/ 459583 w 476250"/>
                <a:gd name="connsiteY214" fmla="*/ 278913 h 476250"/>
                <a:gd name="connsiteX215" fmla="*/ 452201 w 476250"/>
                <a:gd name="connsiteY215" fmla="*/ 267841 h 476250"/>
                <a:gd name="connsiteX216" fmla="*/ 448514 w 476250"/>
                <a:gd name="connsiteY216" fmla="*/ 267841 h 476250"/>
                <a:gd name="connsiteX217" fmla="*/ 448514 w 476250"/>
                <a:gd name="connsiteY217" fmla="*/ 264151 h 476250"/>
                <a:gd name="connsiteX218" fmla="*/ 437446 w 476250"/>
                <a:gd name="connsiteY218" fmla="*/ 264151 h 476250"/>
                <a:gd name="connsiteX219" fmla="*/ 437446 w 476250"/>
                <a:gd name="connsiteY219" fmla="*/ 260461 h 476250"/>
                <a:gd name="connsiteX220" fmla="*/ 444819 w 476250"/>
                <a:gd name="connsiteY220" fmla="*/ 238317 h 476250"/>
                <a:gd name="connsiteX221" fmla="*/ 448514 w 476250"/>
                <a:gd name="connsiteY221" fmla="*/ 234627 h 476250"/>
                <a:gd name="connsiteX222" fmla="*/ 448514 w 476250"/>
                <a:gd name="connsiteY222" fmla="*/ 227245 h 476250"/>
                <a:gd name="connsiteX223" fmla="*/ 441133 w 476250"/>
                <a:gd name="connsiteY223" fmla="*/ 227245 h 476250"/>
                <a:gd name="connsiteX224" fmla="*/ 437446 w 476250"/>
                <a:gd name="connsiteY224" fmla="*/ 223555 h 476250"/>
                <a:gd name="connsiteX225" fmla="*/ 433751 w 476250"/>
                <a:gd name="connsiteY225" fmla="*/ 219864 h 476250"/>
                <a:gd name="connsiteX226" fmla="*/ 430064 w 476250"/>
                <a:gd name="connsiteY226" fmla="*/ 212483 h 476250"/>
                <a:gd name="connsiteX227" fmla="*/ 422683 w 476250"/>
                <a:gd name="connsiteY227" fmla="*/ 201411 h 476250"/>
                <a:gd name="connsiteX228" fmla="*/ 418997 w 476250"/>
                <a:gd name="connsiteY228" fmla="*/ 201411 h 476250"/>
                <a:gd name="connsiteX229" fmla="*/ 418997 w 476250"/>
                <a:gd name="connsiteY229" fmla="*/ 197720 h 476250"/>
                <a:gd name="connsiteX230" fmla="*/ 415310 w 476250"/>
                <a:gd name="connsiteY230" fmla="*/ 197720 h 476250"/>
                <a:gd name="connsiteX231" fmla="*/ 411615 w 476250"/>
                <a:gd name="connsiteY231" fmla="*/ 190339 h 476250"/>
                <a:gd name="connsiteX232" fmla="*/ 407928 w 476250"/>
                <a:gd name="connsiteY232" fmla="*/ 182958 h 476250"/>
                <a:gd name="connsiteX233" fmla="*/ 404242 w 476250"/>
                <a:gd name="connsiteY233" fmla="*/ 179268 h 476250"/>
                <a:gd name="connsiteX234" fmla="*/ 400546 w 476250"/>
                <a:gd name="connsiteY234" fmla="*/ 175578 h 476250"/>
                <a:gd name="connsiteX235" fmla="*/ 400546 w 476250"/>
                <a:gd name="connsiteY235" fmla="*/ 171887 h 476250"/>
                <a:gd name="connsiteX236" fmla="*/ 396860 w 476250"/>
                <a:gd name="connsiteY236" fmla="*/ 168196 h 476250"/>
                <a:gd name="connsiteX237" fmla="*/ 389488 w 476250"/>
                <a:gd name="connsiteY237" fmla="*/ 160815 h 476250"/>
                <a:gd name="connsiteX238" fmla="*/ 382106 w 476250"/>
                <a:gd name="connsiteY238" fmla="*/ 153434 h 476250"/>
                <a:gd name="connsiteX239" fmla="*/ 378420 w 476250"/>
                <a:gd name="connsiteY239" fmla="*/ 149743 h 476250"/>
                <a:gd name="connsiteX240" fmla="*/ 359970 w 476250"/>
                <a:gd name="connsiteY240" fmla="*/ 131290 h 476250"/>
                <a:gd name="connsiteX241" fmla="*/ 348902 w 476250"/>
                <a:gd name="connsiteY241" fmla="*/ 120219 h 476250"/>
                <a:gd name="connsiteX242" fmla="*/ 337834 w 476250"/>
                <a:gd name="connsiteY242" fmla="*/ 109147 h 476250"/>
                <a:gd name="connsiteX243" fmla="*/ 337834 w 476250"/>
                <a:gd name="connsiteY243" fmla="*/ 105456 h 476250"/>
                <a:gd name="connsiteX244" fmla="*/ 323080 w 476250"/>
                <a:gd name="connsiteY244" fmla="*/ 94385 h 476250"/>
                <a:gd name="connsiteX245" fmla="*/ 319394 w 476250"/>
                <a:gd name="connsiteY245" fmla="*/ 87004 h 476250"/>
                <a:gd name="connsiteX246" fmla="*/ 304630 w 476250"/>
                <a:gd name="connsiteY246" fmla="*/ 75932 h 476250"/>
                <a:gd name="connsiteX247" fmla="*/ 304630 w 476250"/>
                <a:gd name="connsiteY247" fmla="*/ 72242 h 476250"/>
                <a:gd name="connsiteX248" fmla="*/ 300944 w 476250"/>
                <a:gd name="connsiteY248" fmla="*/ 72242 h 476250"/>
                <a:gd name="connsiteX249" fmla="*/ 297257 w 476250"/>
                <a:gd name="connsiteY249" fmla="*/ 68551 h 476250"/>
                <a:gd name="connsiteX250" fmla="*/ 293562 w 476250"/>
                <a:gd name="connsiteY250" fmla="*/ 68551 h 476250"/>
                <a:gd name="connsiteX251" fmla="*/ 289876 w 476250"/>
                <a:gd name="connsiteY251" fmla="*/ 68551 h 476250"/>
                <a:gd name="connsiteX252" fmla="*/ 278808 w 476250"/>
                <a:gd name="connsiteY252" fmla="*/ 68551 h 476250"/>
                <a:gd name="connsiteX253" fmla="*/ 271426 w 476250"/>
                <a:gd name="connsiteY253" fmla="*/ 72242 h 476250"/>
                <a:gd name="connsiteX254" fmla="*/ 267739 w 476250"/>
                <a:gd name="connsiteY254" fmla="*/ 72242 h 476250"/>
                <a:gd name="connsiteX255" fmla="*/ 249299 w 476250"/>
                <a:gd name="connsiteY255" fmla="*/ 79623 h 476250"/>
                <a:gd name="connsiteX256" fmla="*/ 249299 w 476250"/>
                <a:gd name="connsiteY256" fmla="*/ 75932 h 476250"/>
                <a:gd name="connsiteX257" fmla="*/ 245603 w 476250"/>
                <a:gd name="connsiteY257" fmla="*/ 72242 h 476250"/>
                <a:gd name="connsiteX258" fmla="*/ 249299 w 476250"/>
                <a:gd name="connsiteY258" fmla="*/ 68551 h 476250"/>
                <a:gd name="connsiteX259" fmla="*/ 245603 w 476250"/>
                <a:gd name="connsiteY259" fmla="*/ 68551 h 476250"/>
                <a:gd name="connsiteX260" fmla="*/ 245603 w 476250"/>
                <a:gd name="connsiteY260" fmla="*/ 64860 h 476250"/>
                <a:gd name="connsiteX261" fmla="*/ 241917 w 476250"/>
                <a:gd name="connsiteY261" fmla="*/ 61170 h 476250"/>
                <a:gd name="connsiteX262" fmla="*/ 238231 w 476250"/>
                <a:gd name="connsiteY262" fmla="*/ 57479 h 476250"/>
                <a:gd name="connsiteX263" fmla="*/ 234535 w 476250"/>
                <a:gd name="connsiteY263" fmla="*/ 53789 h 476250"/>
                <a:gd name="connsiteX264" fmla="*/ 234535 w 476250"/>
                <a:gd name="connsiteY264" fmla="*/ 50098 h 476250"/>
                <a:gd name="connsiteX265" fmla="*/ 227163 w 476250"/>
                <a:gd name="connsiteY265" fmla="*/ 50098 h 476250"/>
                <a:gd name="connsiteX266" fmla="*/ 227163 w 476250"/>
                <a:gd name="connsiteY266" fmla="*/ 46407 h 476250"/>
                <a:gd name="connsiteX267" fmla="*/ 223467 w 476250"/>
                <a:gd name="connsiteY267" fmla="*/ 42717 h 476250"/>
                <a:gd name="connsiteX268" fmla="*/ 223467 w 476250"/>
                <a:gd name="connsiteY268" fmla="*/ 39026 h 476250"/>
                <a:gd name="connsiteX269" fmla="*/ 223467 w 476250"/>
                <a:gd name="connsiteY269" fmla="*/ 35335 h 476250"/>
                <a:gd name="connsiteX270" fmla="*/ 216095 w 476250"/>
                <a:gd name="connsiteY270" fmla="*/ 39026 h 476250"/>
                <a:gd name="connsiteX271" fmla="*/ 212399 w 476250"/>
                <a:gd name="connsiteY271" fmla="*/ 35335 h 476250"/>
                <a:gd name="connsiteX272" fmla="*/ 212399 w 476250"/>
                <a:gd name="connsiteY272" fmla="*/ 31645 h 476250"/>
                <a:gd name="connsiteX273" fmla="*/ 208713 w 476250"/>
                <a:gd name="connsiteY273" fmla="*/ 20573 h 476250"/>
                <a:gd name="connsiteX274" fmla="*/ 205027 w 476250"/>
                <a:gd name="connsiteY274" fmla="*/ 24264 h 476250"/>
                <a:gd name="connsiteX275" fmla="*/ 201331 w 476250"/>
                <a:gd name="connsiteY275" fmla="*/ 20573 h 476250"/>
                <a:gd name="connsiteX276" fmla="*/ 197645 w 476250"/>
                <a:gd name="connsiteY276" fmla="*/ 9502 h 476250"/>
                <a:gd name="connsiteX277" fmla="*/ 190263 w 476250"/>
                <a:gd name="connsiteY277" fmla="*/ 9502 h 476250"/>
                <a:gd name="connsiteX278" fmla="*/ 186577 w 476250"/>
                <a:gd name="connsiteY278" fmla="*/ 5812 h 476250"/>
                <a:gd name="connsiteX279" fmla="*/ 182891 w 476250"/>
                <a:gd name="connsiteY279" fmla="*/ 9502 h 476250"/>
                <a:gd name="connsiteX280" fmla="*/ 179205 w 476250"/>
                <a:gd name="connsiteY280" fmla="*/ 5812 h 476250"/>
                <a:gd name="connsiteX281" fmla="*/ 175509 w 476250"/>
                <a:gd name="connsiteY281" fmla="*/ 5812 h 476250"/>
                <a:gd name="connsiteX282" fmla="*/ 168137 w 476250"/>
                <a:gd name="connsiteY282" fmla="*/ 5812 h 476250"/>
                <a:gd name="connsiteX283" fmla="*/ 463269 w 476250"/>
                <a:gd name="connsiteY283" fmla="*/ 282603 h 476250"/>
                <a:gd name="connsiteX284" fmla="*/ 466955 w 476250"/>
                <a:gd name="connsiteY284" fmla="*/ 282603 h 476250"/>
                <a:gd name="connsiteX285" fmla="*/ 466955 w 476250"/>
                <a:gd name="connsiteY285" fmla="*/ 278913 h 476250"/>
                <a:gd name="connsiteX286" fmla="*/ 463269 w 476250"/>
                <a:gd name="connsiteY286" fmla="*/ 282603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Lst>
              <a:rect l="l" t="t" r="r" b="b"/>
              <a:pathLst>
                <a:path w="476250" h="476250">
                  <a:moveTo>
                    <a:pt x="168137" y="5812"/>
                  </a:moveTo>
                  <a:lnTo>
                    <a:pt x="160755" y="9502"/>
                  </a:lnTo>
                  <a:lnTo>
                    <a:pt x="157068" y="13192"/>
                  </a:lnTo>
                  <a:lnTo>
                    <a:pt x="157068" y="16882"/>
                  </a:lnTo>
                  <a:lnTo>
                    <a:pt x="149687" y="20573"/>
                  </a:lnTo>
                  <a:lnTo>
                    <a:pt x="142305" y="24264"/>
                  </a:lnTo>
                  <a:lnTo>
                    <a:pt x="138619" y="27954"/>
                  </a:lnTo>
                  <a:lnTo>
                    <a:pt x="138619" y="31645"/>
                  </a:lnTo>
                  <a:lnTo>
                    <a:pt x="134932" y="35335"/>
                  </a:lnTo>
                  <a:lnTo>
                    <a:pt x="131237" y="42717"/>
                  </a:lnTo>
                  <a:lnTo>
                    <a:pt x="127550" y="46407"/>
                  </a:lnTo>
                  <a:lnTo>
                    <a:pt x="127550" y="50098"/>
                  </a:lnTo>
                  <a:lnTo>
                    <a:pt x="120169" y="68551"/>
                  </a:lnTo>
                  <a:lnTo>
                    <a:pt x="120169" y="72242"/>
                  </a:lnTo>
                  <a:lnTo>
                    <a:pt x="120169" y="83313"/>
                  </a:lnTo>
                  <a:lnTo>
                    <a:pt x="116482" y="83313"/>
                  </a:lnTo>
                  <a:lnTo>
                    <a:pt x="112796" y="98075"/>
                  </a:lnTo>
                  <a:lnTo>
                    <a:pt x="109110" y="98075"/>
                  </a:lnTo>
                  <a:lnTo>
                    <a:pt x="98042" y="94385"/>
                  </a:lnTo>
                  <a:lnTo>
                    <a:pt x="94346" y="101765"/>
                  </a:lnTo>
                  <a:lnTo>
                    <a:pt x="105414" y="109147"/>
                  </a:lnTo>
                  <a:lnTo>
                    <a:pt x="116482" y="109147"/>
                  </a:lnTo>
                  <a:lnTo>
                    <a:pt x="123864" y="112837"/>
                  </a:lnTo>
                  <a:lnTo>
                    <a:pt x="120169" y="123909"/>
                  </a:lnTo>
                  <a:lnTo>
                    <a:pt x="120169" y="134981"/>
                  </a:lnTo>
                  <a:lnTo>
                    <a:pt x="120169" y="138672"/>
                  </a:lnTo>
                  <a:lnTo>
                    <a:pt x="127550" y="149743"/>
                  </a:lnTo>
                  <a:lnTo>
                    <a:pt x="142305" y="171887"/>
                  </a:lnTo>
                  <a:lnTo>
                    <a:pt x="146000" y="179268"/>
                  </a:lnTo>
                  <a:lnTo>
                    <a:pt x="149687" y="186649"/>
                  </a:lnTo>
                  <a:lnTo>
                    <a:pt x="153373" y="190339"/>
                  </a:lnTo>
                  <a:lnTo>
                    <a:pt x="142305" y="208792"/>
                  </a:lnTo>
                  <a:lnTo>
                    <a:pt x="142305" y="212483"/>
                  </a:lnTo>
                  <a:lnTo>
                    <a:pt x="138619" y="216173"/>
                  </a:lnTo>
                  <a:lnTo>
                    <a:pt x="134932" y="219864"/>
                  </a:lnTo>
                  <a:lnTo>
                    <a:pt x="123864" y="230936"/>
                  </a:lnTo>
                  <a:lnTo>
                    <a:pt x="109110" y="242008"/>
                  </a:lnTo>
                  <a:lnTo>
                    <a:pt x="94346" y="227245"/>
                  </a:lnTo>
                  <a:lnTo>
                    <a:pt x="83278" y="227245"/>
                  </a:lnTo>
                  <a:lnTo>
                    <a:pt x="72210" y="223555"/>
                  </a:lnTo>
                  <a:lnTo>
                    <a:pt x="64838" y="227245"/>
                  </a:lnTo>
                  <a:lnTo>
                    <a:pt x="64838" y="230936"/>
                  </a:lnTo>
                  <a:lnTo>
                    <a:pt x="64838" y="234627"/>
                  </a:lnTo>
                  <a:lnTo>
                    <a:pt x="57456" y="238317"/>
                  </a:lnTo>
                  <a:lnTo>
                    <a:pt x="46388" y="253080"/>
                  </a:lnTo>
                  <a:lnTo>
                    <a:pt x="42702" y="256770"/>
                  </a:lnTo>
                  <a:lnTo>
                    <a:pt x="39006" y="260461"/>
                  </a:lnTo>
                  <a:lnTo>
                    <a:pt x="24252" y="267841"/>
                  </a:lnTo>
                  <a:lnTo>
                    <a:pt x="16879" y="275222"/>
                  </a:lnTo>
                  <a:lnTo>
                    <a:pt x="5812" y="282603"/>
                  </a:lnTo>
                  <a:lnTo>
                    <a:pt x="9498" y="289985"/>
                  </a:lnTo>
                  <a:lnTo>
                    <a:pt x="9498" y="293675"/>
                  </a:lnTo>
                  <a:lnTo>
                    <a:pt x="20566" y="304747"/>
                  </a:lnTo>
                  <a:lnTo>
                    <a:pt x="24252" y="308438"/>
                  </a:lnTo>
                  <a:lnTo>
                    <a:pt x="31634" y="315819"/>
                  </a:lnTo>
                  <a:lnTo>
                    <a:pt x="35320" y="319510"/>
                  </a:lnTo>
                  <a:lnTo>
                    <a:pt x="39006" y="323200"/>
                  </a:lnTo>
                  <a:lnTo>
                    <a:pt x="42702" y="330581"/>
                  </a:lnTo>
                  <a:lnTo>
                    <a:pt x="46388" y="330581"/>
                  </a:lnTo>
                  <a:lnTo>
                    <a:pt x="42702" y="337963"/>
                  </a:lnTo>
                  <a:lnTo>
                    <a:pt x="39006" y="341653"/>
                  </a:lnTo>
                  <a:lnTo>
                    <a:pt x="31634" y="349034"/>
                  </a:lnTo>
                  <a:lnTo>
                    <a:pt x="31634" y="352724"/>
                  </a:lnTo>
                  <a:lnTo>
                    <a:pt x="27948" y="352724"/>
                  </a:lnTo>
                  <a:lnTo>
                    <a:pt x="24252" y="356415"/>
                  </a:lnTo>
                  <a:lnTo>
                    <a:pt x="13184" y="360105"/>
                  </a:lnTo>
                  <a:lnTo>
                    <a:pt x="9498" y="363796"/>
                  </a:lnTo>
                  <a:lnTo>
                    <a:pt x="5812" y="363796"/>
                  </a:lnTo>
                  <a:lnTo>
                    <a:pt x="5812" y="367486"/>
                  </a:lnTo>
                  <a:lnTo>
                    <a:pt x="9498" y="374868"/>
                  </a:lnTo>
                  <a:lnTo>
                    <a:pt x="13184" y="382249"/>
                  </a:lnTo>
                  <a:lnTo>
                    <a:pt x="16879" y="389630"/>
                  </a:lnTo>
                  <a:lnTo>
                    <a:pt x="16879" y="393321"/>
                  </a:lnTo>
                  <a:lnTo>
                    <a:pt x="16879" y="397011"/>
                  </a:lnTo>
                  <a:lnTo>
                    <a:pt x="24252" y="408083"/>
                  </a:lnTo>
                  <a:lnTo>
                    <a:pt x="24252" y="411774"/>
                  </a:lnTo>
                  <a:lnTo>
                    <a:pt x="31634" y="415464"/>
                  </a:lnTo>
                  <a:lnTo>
                    <a:pt x="31634" y="419155"/>
                  </a:lnTo>
                  <a:lnTo>
                    <a:pt x="27948" y="422846"/>
                  </a:lnTo>
                  <a:lnTo>
                    <a:pt x="39006" y="426536"/>
                  </a:lnTo>
                  <a:lnTo>
                    <a:pt x="35320" y="422846"/>
                  </a:lnTo>
                  <a:lnTo>
                    <a:pt x="39006" y="419155"/>
                  </a:lnTo>
                  <a:lnTo>
                    <a:pt x="39006" y="422846"/>
                  </a:lnTo>
                  <a:lnTo>
                    <a:pt x="42702" y="426536"/>
                  </a:lnTo>
                  <a:lnTo>
                    <a:pt x="42702" y="422846"/>
                  </a:lnTo>
                  <a:lnTo>
                    <a:pt x="46388" y="419155"/>
                  </a:lnTo>
                  <a:lnTo>
                    <a:pt x="50074" y="419155"/>
                  </a:lnTo>
                  <a:lnTo>
                    <a:pt x="53770" y="419155"/>
                  </a:lnTo>
                  <a:lnTo>
                    <a:pt x="57456" y="419155"/>
                  </a:lnTo>
                  <a:lnTo>
                    <a:pt x="57456" y="422846"/>
                  </a:lnTo>
                  <a:lnTo>
                    <a:pt x="61142" y="422846"/>
                  </a:lnTo>
                  <a:lnTo>
                    <a:pt x="64838" y="422846"/>
                  </a:lnTo>
                  <a:lnTo>
                    <a:pt x="68524" y="422846"/>
                  </a:lnTo>
                  <a:lnTo>
                    <a:pt x="68524" y="426536"/>
                  </a:lnTo>
                  <a:lnTo>
                    <a:pt x="72210" y="430227"/>
                  </a:lnTo>
                  <a:lnTo>
                    <a:pt x="75906" y="430227"/>
                  </a:lnTo>
                  <a:lnTo>
                    <a:pt x="75906" y="433917"/>
                  </a:lnTo>
                  <a:lnTo>
                    <a:pt x="79592" y="433917"/>
                  </a:lnTo>
                  <a:lnTo>
                    <a:pt x="83278" y="433917"/>
                  </a:lnTo>
                  <a:lnTo>
                    <a:pt x="83278" y="430227"/>
                  </a:lnTo>
                  <a:lnTo>
                    <a:pt x="86974" y="430227"/>
                  </a:lnTo>
                  <a:lnTo>
                    <a:pt x="86974" y="433917"/>
                  </a:lnTo>
                  <a:lnTo>
                    <a:pt x="90660" y="433917"/>
                  </a:lnTo>
                  <a:lnTo>
                    <a:pt x="94346" y="433917"/>
                  </a:lnTo>
                  <a:lnTo>
                    <a:pt x="98042" y="433917"/>
                  </a:lnTo>
                  <a:lnTo>
                    <a:pt x="101728" y="430227"/>
                  </a:lnTo>
                  <a:lnTo>
                    <a:pt x="105414" y="430227"/>
                  </a:lnTo>
                  <a:lnTo>
                    <a:pt x="109110" y="430227"/>
                  </a:lnTo>
                  <a:lnTo>
                    <a:pt x="109110" y="433917"/>
                  </a:lnTo>
                  <a:lnTo>
                    <a:pt x="105414" y="433917"/>
                  </a:lnTo>
                  <a:lnTo>
                    <a:pt x="105414" y="437607"/>
                  </a:lnTo>
                  <a:lnTo>
                    <a:pt x="109110" y="437607"/>
                  </a:lnTo>
                  <a:lnTo>
                    <a:pt x="109110" y="441298"/>
                  </a:lnTo>
                  <a:lnTo>
                    <a:pt x="112796" y="444988"/>
                  </a:lnTo>
                  <a:lnTo>
                    <a:pt x="116482" y="444988"/>
                  </a:lnTo>
                  <a:lnTo>
                    <a:pt x="120169" y="448679"/>
                  </a:lnTo>
                  <a:lnTo>
                    <a:pt x="123864" y="448679"/>
                  </a:lnTo>
                  <a:lnTo>
                    <a:pt x="123864" y="452370"/>
                  </a:lnTo>
                  <a:lnTo>
                    <a:pt x="123864" y="456060"/>
                  </a:lnTo>
                  <a:lnTo>
                    <a:pt x="127550" y="456060"/>
                  </a:lnTo>
                  <a:lnTo>
                    <a:pt x="127550" y="459751"/>
                  </a:lnTo>
                  <a:lnTo>
                    <a:pt x="131237" y="463441"/>
                  </a:lnTo>
                  <a:lnTo>
                    <a:pt x="131237" y="470823"/>
                  </a:lnTo>
                  <a:lnTo>
                    <a:pt x="134932" y="474513"/>
                  </a:lnTo>
                  <a:lnTo>
                    <a:pt x="138619" y="474513"/>
                  </a:lnTo>
                  <a:lnTo>
                    <a:pt x="138619" y="470823"/>
                  </a:lnTo>
                  <a:lnTo>
                    <a:pt x="142305" y="470823"/>
                  </a:lnTo>
                  <a:lnTo>
                    <a:pt x="146000" y="470823"/>
                  </a:lnTo>
                  <a:lnTo>
                    <a:pt x="146000" y="467132"/>
                  </a:lnTo>
                  <a:lnTo>
                    <a:pt x="149687" y="467132"/>
                  </a:lnTo>
                  <a:lnTo>
                    <a:pt x="149687" y="470823"/>
                  </a:lnTo>
                  <a:lnTo>
                    <a:pt x="153373" y="470823"/>
                  </a:lnTo>
                  <a:lnTo>
                    <a:pt x="153373" y="467132"/>
                  </a:lnTo>
                  <a:lnTo>
                    <a:pt x="157068" y="463441"/>
                  </a:lnTo>
                  <a:lnTo>
                    <a:pt x="160755" y="463441"/>
                  </a:lnTo>
                  <a:lnTo>
                    <a:pt x="160755" y="467132"/>
                  </a:lnTo>
                  <a:lnTo>
                    <a:pt x="160755" y="470823"/>
                  </a:lnTo>
                  <a:lnTo>
                    <a:pt x="164441" y="470823"/>
                  </a:lnTo>
                  <a:lnTo>
                    <a:pt x="168137" y="474513"/>
                  </a:lnTo>
                  <a:lnTo>
                    <a:pt x="171823" y="470823"/>
                  </a:lnTo>
                  <a:lnTo>
                    <a:pt x="175509" y="467132"/>
                  </a:lnTo>
                  <a:lnTo>
                    <a:pt x="175509" y="463441"/>
                  </a:lnTo>
                  <a:lnTo>
                    <a:pt x="179205" y="467132"/>
                  </a:lnTo>
                  <a:lnTo>
                    <a:pt x="182891" y="470823"/>
                  </a:lnTo>
                  <a:lnTo>
                    <a:pt x="190263" y="470823"/>
                  </a:lnTo>
                  <a:lnTo>
                    <a:pt x="193959" y="470823"/>
                  </a:lnTo>
                  <a:lnTo>
                    <a:pt x="197645" y="474513"/>
                  </a:lnTo>
                  <a:lnTo>
                    <a:pt x="201331" y="474513"/>
                  </a:lnTo>
                  <a:lnTo>
                    <a:pt x="201331" y="470823"/>
                  </a:lnTo>
                  <a:lnTo>
                    <a:pt x="197645" y="448679"/>
                  </a:lnTo>
                  <a:lnTo>
                    <a:pt x="205027" y="441298"/>
                  </a:lnTo>
                  <a:lnTo>
                    <a:pt x="212399" y="433917"/>
                  </a:lnTo>
                  <a:lnTo>
                    <a:pt x="216095" y="430227"/>
                  </a:lnTo>
                  <a:lnTo>
                    <a:pt x="230849" y="430227"/>
                  </a:lnTo>
                  <a:lnTo>
                    <a:pt x="241917" y="426536"/>
                  </a:lnTo>
                  <a:lnTo>
                    <a:pt x="245603" y="426536"/>
                  </a:lnTo>
                  <a:lnTo>
                    <a:pt x="245603" y="422846"/>
                  </a:lnTo>
                  <a:lnTo>
                    <a:pt x="252985" y="426536"/>
                  </a:lnTo>
                  <a:lnTo>
                    <a:pt x="260358" y="430227"/>
                  </a:lnTo>
                  <a:lnTo>
                    <a:pt x="267739" y="433917"/>
                  </a:lnTo>
                  <a:lnTo>
                    <a:pt x="282494" y="441298"/>
                  </a:lnTo>
                  <a:lnTo>
                    <a:pt x="289876" y="441298"/>
                  </a:lnTo>
                  <a:lnTo>
                    <a:pt x="293562" y="444988"/>
                  </a:lnTo>
                  <a:lnTo>
                    <a:pt x="289876" y="448679"/>
                  </a:lnTo>
                  <a:lnTo>
                    <a:pt x="289876" y="452370"/>
                  </a:lnTo>
                  <a:lnTo>
                    <a:pt x="289876" y="456060"/>
                  </a:lnTo>
                  <a:lnTo>
                    <a:pt x="289876" y="459751"/>
                  </a:lnTo>
                  <a:lnTo>
                    <a:pt x="293562" y="459751"/>
                  </a:lnTo>
                  <a:lnTo>
                    <a:pt x="297257" y="456060"/>
                  </a:lnTo>
                  <a:lnTo>
                    <a:pt x="300944" y="456060"/>
                  </a:lnTo>
                  <a:lnTo>
                    <a:pt x="304630" y="452370"/>
                  </a:lnTo>
                  <a:lnTo>
                    <a:pt x="308326" y="444988"/>
                  </a:lnTo>
                  <a:lnTo>
                    <a:pt x="315698" y="444988"/>
                  </a:lnTo>
                  <a:lnTo>
                    <a:pt x="319394" y="444988"/>
                  </a:lnTo>
                  <a:lnTo>
                    <a:pt x="323080" y="441298"/>
                  </a:lnTo>
                  <a:lnTo>
                    <a:pt x="326766" y="441298"/>
                  </a:lnTo>
                  <a:lnTo>
                    <a:pt x="330452" y="441298"/>
                  </a:lnTo>
                  <a:lnTo>
                    <a:pt x="334148" y="441298"/>
                  </a:lnTo>
                  <a:lnTo>
                    <a:pt x="337834" y="441298"/>
                  </a:lnTo>
                  <a:lnTo>
                    <a:pt x="341520" y="441298"/>
                  </a:lnTo>
                  <a:lnTo>
                    <a:pt x="345216" y="444988"/>
                  </a:lnTo>
                  <a:lnTo>
                    <a:pt x="348902" y="441298"/>
                  </a:lnTo>
                  <a:lnTo>
                    <a:pt x="352588" y="441298"/>
                  </a:lnTo>
                  <a:lnTo>
                    <a:pt x="359970" y="441298"/>
                  </a:lnTo>
                  <a:lnTo>
                    <a:pt x="367352" y="441298"/>
                  </a:lnTo>
                  <a:lnTo>
                    <a:pt x="371038" y="437607"/>
                  </a:lnTo>
                  <a:lnTo>
                    <a:pt x="374724" y="441298"/>
                  </a:lnTo>
                  <a:lnTo>
                    <a:pt x="382106" y="441298"/>
                  </a:lnTo>
                  <a:lnTo>
                    <a:pt x="385792" y="441298"/>
                  </a:lnTo>
                  <a:lnTo>
                    <a:pt x="393174" y="444988"/>
                  </a:lnTo>
                  <a:lnTo>
                    <a:pt x="393174" y="448679"/>
                  </a:lnTo>
                  <a:lnTo>
                    <a:pt x="396860" y="448679"/>
                  </a:lnTo>
                  <a:lnTo>
                    <a:pt x="404242" y="448679"/>
                  </a:lnTo>
                  <a:lnTo>
                    <a:pt x="407928" y="448679"/>
                  </a:lnTo>
                  <a:lnTo>
                    <a:pt x="411615" y="448679"/>
                  </a:lnTo>
                  <a:lnTo>
                    <a:pt x="418997" y="448679"/>
                  </a:lnTo>
                  <a:lnTo>
                    <a:pt x="422683" y="444988"/>
                  </a:lnTo>
                  <a:lnTo>
                    <a:pt x="426378" y="444988"/>
                  </a:lnTo>
                  <a:lnTo>
                    <a:pt x="430064" y="448679"/>
                  </a:lnTo>
                  <a:lnTo>
                    <a:pt x="433751" y="444988"/>
                  </a:lnTo>
                  <a:lnTo>
                    <a:pt x="433751" y="448679"/>
                  </a:lnTo>
                  <a:lnTo>
                    <a:pt x="437446" y="448679"/>
                  </a:lnTo>
                  <a:lnTo>
                    <a:pt x="448514" y="452370"/>
                  </a:lnTo>
                  <a:lnTo>
                    <a:pt x="452201" y="452370"/>
                  </a:lnTo>
                  <a:lnTo>
                    <a:pt x="459583" y="444988"/>
                  </a:lnTo>
                  <a:lnTo>
                    <a:pt x="459583" y="441298"/>
                  </a:lnTo>
                  <a:lnTo>
                    <a:pt x="459583" y="433917"/>
                  </a:lnTo>
                  <a:lnTo>
                    <a:pt x="459583" y="419155"/>
                  </a:lnTo>
                  <a:lnTo>
                    <a:pt x="463269" y="382249"/>
                  </a:lnTo>
                  <a:lnTo>
                    <a:pt x="463269" y="334272"/>
                  </a:lnTo>
                  <a:lnTo>
                    <a:pt x="463269" y="312128"/>
                  </a:lnTo>
                  <a:lnTo>
                    <a:pt x="474337" y="289985"/>
                  </a:lnTo>
                  <a:lnTo>
                    <a:pt x="463269" y="289985"/>
                  </a:lnTo>
                  <a:lnTo>
                    <a:pt x="463269" y="282603"/>
                  </a:lnTo>
                  <a:lnTo>
                    <a:pt x="459583" y="278913"/>
                  </a:lnTo>
                  <a:lnTo>
                    <a:pt x="452201" y="267841"/>
                  </a:lnTo>
                  <a:lnTo>
                    <a:pt x="448514" y="267841"/>
                  </a:lnTo>
                  <a:lnTo>
                    <a:pt x="448514" y="264151"/>
                  </a:lnTo>
                  <a:lnTo>
                    <a:pt x="437446" y="264151"/>
                  </a:lnTo>
                  <a:lnTo>
                    <a:pt x="437446" y="260461"/>
                  </a:lnTo>
                  <a:lnTo>
                    <a:pt x="444819" y="238317"/>
                  </a:lnTo>
                  <a:lnTo>
                    <a:pt x="448514" y="234627"/>
                  </a:lnTo>
                  <a:lnTo>
                    <a:pt x="448514" y="227245"/>
                  </a:lnTo>
                  <a:lnTo>
                    <a:pt x="441133" y="227245"/>
                  </a:lnTo>
                  <a:lnTo>
                    <a:pt x="437446" y="223555"/>
                  </a:lnTo>
                  <a:lnTo>
                    <a:pt x="433751" y="219864"/>
                  </a:lnTo>
                  <a:lnTo>
                    <a:pt x="430064" y="212483"/>
                  </a:lnTo>
                  <a:lnTo>
                    <a:pt x="422683" y="201411"/>
                  </a:lnTo>
                  <a:lnTo>
                    <a:pt x="418997" y="201411"/>
                  </a:lnTo>
                  <a:lnTo>
                    <a:pt x="418997" y="197720"/>
                  </a:lnTo>
                  <a:lnTo>
                    <a:pt x="415310" y="197720"/>
                  </a:lnTo>
                  <a:lnTo>
                    <a:pt x="411615" y="190339"/>
                  </a:lnTo>
                  <a:lnTo>
                    <a:pt x="407928" y="182958"/>
                  </a:lnTo>
                  <a:lnTo>
                    <a:pt x="404242" y="179268"/>
                  </a:lnTo>
                  <a:lnTo>
                    <a:pt x="400546" y="175578"/>
                  </a:lnTo>
                  <a:lnTo>
                    <a:pt x="400546" y="171887"/>
                  </a:lnTo>
                  <a:lnTo>
                    <a:pt x="396860" y="168196"/>
                  </a:lnTo>
                  <a:lnTo>
                    <a:pt x="389488" y="160815"/>
                  </a:lnTo>
                  <a:lnTo>
                    <a:pt x="382106" y="153434"/>
                  </a:lnTo>
                  <a:lnTo>
                    <a:pt x="378420" y="149743"/>
                  </a:lnTo>
                  <a:lnTo>
                    <a:pt x="359970" y="131290"/>
                  </a:lnTo>
                  <a:lnTo>
                    <a:pt x="348902" y="120219"/>
                  </a:lnTo>
                  <a:lnTo>
                    <a:pt x="337834" y="109147"/>
                  </a:lnTo>
                  <a:lnTo>
                    <a:pt x="337834" y="105456"/>
                  </a:lnTo>
                  <a:lnTo>
                    <a:pt x="323080" y="94385"/>
                  </a:lnTo>
                  <a:lnTo>
                    <a:pt x="319394" y="87004"/>
                  </a:lnTo>
                  <a:lnTo>
                    <a:pt x="304630" y="75932"/>
                  </a:lnTo>
                  <a:lnTo>
                    <a:pt x="304630" y="72242"/>
                  </a:lnTo>
                  <a:lnTo>
                    <a:pt x="300944" y="72242"/>
                  </a:lnTo>
                  <a:lnTo>
                    <a:pt x="297257" y="68551"/>
                  </a:lnTo>
                  <a:lnTo>
                    <a:pt x="293562" y="68551"/>
                  </a:lnTo>
                  <a:lnTo>
                    <a:pt x="289876" y="68551"/>
                  </a:lnTo>
                  <a:lnTo>
                    <a:pt x="278808" y="68551"/>
                  </a:lnTo>
                  <a:lnTo>
                    <a:pt x="271426" y="72242"/>
                  </a:lnTo>
                  <a:lnTo>
                    <a:pt x="267739" y="72242"/>
                  </a:lnTo>
                  <a:lnTo>
                    <a:pt x="249299" y="79623"/>
                  </a:lnTo>
                  <a:lnTo>
                    <a:pt x="249299" y="75932"/>
                  </a:lnTo>
                  <a:lnTo>
                    <a:pt x="245603" y="72242"/>
                  </a:lnTo>
                  <a:lnTo>
                    <a:pt x="249299" y="68551"/>
                  </a:lnTo>
                  <a:lnTo>
                    <a:pt x="245603" y="68551"/>
                  </a:lnTo>
                  <a:lnTo>
                    <a:pt x="245603" y="64860"/>
                  </a:lnTo>
                  <a:lnTo>
                    <a:pt x="241917" y="61170"/>
                  </a:lnTo>
                  <a:lnTo>
                    <a:pt x="238231" y="57479"/>
                  </a:lnTo>
                  <a:lnTo>
                    <a:pt x="234535" y="53789"/>
                  </a:lnTo>
                  <a:lnTo>
                    <a:pt x="234535" y="50098"/>
                  </a:lnTo>
                  <a:lnTo>
                    <a:pt x="227163" y="50098"/>
                  </a:lnTo>
                  <a:lnTo>
                    <a:pt x="227163" y="46407"/>
                  </a:lnTo>
                  <a:lnTo>
                    <a:pt x="223467" y="42717"/>
                  </a:lnTo>
                  <a:lnTo>
                    <a:pt x="223467" y="39026"/>
                  </a:lnTo>
                  <a:lnTo>
                    <a:pt x="223467" y="35335"/>
                  </a:lnTo>
                  <a:lnTo>
                    <a:pt x="216095" y="39026"/>
                  </a:lnTo>
                  <a:lnTo>
                    <a:pt x="212399" y="35335"/>
                  </a:lnTo>
                  <a:lnTo>
                    <a:pt x="212399" y="31645"/>
                  </a:lnTo>
                  <a:lnTo>
                    <a:pt x="208713" y="20573"/>
                  </a:lnTo>
                  <a:lnTo>
                    <a:pt x="205027" y="24264"/>
                  </a:lnTo>
                  <a:lnTo>
                    <a:pt x="201331" y="20573"/>
                  </a:lnTo>
                  <a:lnTo>
                    <a:pt x="197645" y="9502"/>
                  </a:lnTo>
                  <a:lnTo>
                    <a:pt x="190263" y="9502"/>
                  </a:lnTo>
                  <a:lnTo>
                    <a:pt x="186577" y="5812"/>
                  </a:lnTo>
                  <a:lnTo>
                    <a:pt x="182891" y="9502"/>
                  </a:lnTo>
                  <a:lnTo>
                    <a:pt x="179205" y="5812"/>
                  </a:lnTo>
                  <a:lnTo>
                    <a:pt x="175509" y="5812"/>
                  </a:lnTo>
                  <a:lnTo>
                    <a:pt x="168137" y="5812"/>
                  </a:lnTo>
                  <a:close/>
                  <a:moveTo>
                    <a:pt x="463269" y="282603"/>
                  </a:moveTo>
                  <a:lnTo>
                    <a:pt x="466955" y="282603"/>
                  </a:lnTo>
                  <a:lnTo>
                    <a:pt x="466955" y="278913"/>
                  </a:lnTo>
                  <a:lnTo>
                    <a:pt x="463269" y="282603"/>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23" name="Freeform: Shape 22">
              <a:extLst>
                <a:ext uri="{FF2B5EF4-FFF2-40B4-BE49-F238E27FC236}">
                  <a16:creationId xmlns:a16="http://schemas.microsoft.com/office/drawing/2014/main" id="{81C1514C-6FB9-4281-90BA-1BFF2F32A2C9}"/>
                </a:ext>
              </a:extLst>
            </p:cNvPr>
            <p:cNvSpPr/>
            <p:nvPr/>
          </p:nvSpPr>
          <p:spPr>
            <a:xfrm>
              <a:off x="6275283" y="2442035"/>
              <a:ext cx="1404534" cy="1319410"/>
            </a:xfrm>
            <a:custGeom>
              <a:avLst/>
              <a:gdLst>
                <a:gd name="connsiteX0" fmla="*/ 160768 w 628650"/>
                <a:gd name="connsiteY0" fmla="*/ 5815 h 590550"/>
                <a:gd name="connsiteX1" fmla="*/ 149700 w 628650"/>
                <a:gd name="connsiteY1" fmla="*/ 13197 h 590550"/>
                <a:gd name="connsiteX2" fmla="*/ 146004 w 628650"/>
                <a:gd name="connsiteY2" fmla="*/ 16887 h 590550"/>
                <a:gd name="connsiteX3" fmla="*/ 142318 w 628650"/>
                <a:gd name="connsiteY3" fmla="*/ 20578 h 590550"/>
                <a:gd name="connsiteX4" fmla="*/ 131250 w 628650"/>
                <a:gd name="connsiteY4" fmla="*/ 20578 h 590550"/>
                <a:gd name="connsiteX5" fmla="*/ 127564 w 628650"/>
                <a:gd name="connsiteY5" fmla="*/ 20578 h 590550"/>
                <a:gd name="connsiteX6" fmla="*/ 131250 w 628650"/>
                <a:gd name="connsiteY6" fmla="*/ 27959 h 590550"/>
                <a:gd name="connsiteX7" fmla="*/ 131250 w 628650"/>
                <a:gd name="connsiteY7" fmla="*/ 31650 h 590550"/>
                <a:gd name="connsiteX8" fmla="*/ 127564 w 628650"/>
                <a:gd name="connsiteY8" fmla="*/ 31650 h 590550"/>
                <a:gd name="connsiteX9" fmla="*/ 123877 w 628650"/>
                <a:gd name="connsiteY9" fmla="*/ 35340 h 590550"/>
                <a:gd name="connsiteX10" fmla="*/ 116495 w 628650"/>
                <a:gd name="connsiteY10" fmla="*/ 39031 h 590550"/>
                <a:gd name="connsiteX11" fmla="*/ 116495 w 628650"/>
                <a:gd name="connsiteY11" fmla="*/ 31650 h 590550"/>
                <a:gd name="connsiteX12" fmla="*/ 105427 w 628650"/>
                <a:gd name="connsiteY12" fmla="*/ 35340 h 590550"/>
                <a:gd name="connsiteX13" fmla="*/ 101741 w 628650"/>
                <a:gd name="connsiteY13" fmla="*/ 39031 h 590550"/>
                <a:gd name="connsiteX14" fmla="*/ 101741 w 628650"/>
                <a:gd name="connsiteY14" fmla="*/ 35340 h 590550"/>
                <a:gd name="connsiteX15" fmla="*/ 98046 w 628650"/>
                <a:gd name="connsiteY15" fmla="*/ 35340 h 590550"/>
                <a:gd name="connsiteX16" fmla="*/ 94359 w 628650"/>
                <a:gd name="connsiteY16" fmla="*/ 31650 h 590550"/>
                <a:gd name="connsiteX17" fmla="*/ 90673 w 628650"/>
                <a:gd name="connsiteY17" fmla="*/ 24269 h 590550"/>
                <a:gd name="connsiteX18" fmla="*/ 90673 w 628650"/>
                <a:gd name="connsiteY18" fmla="*/ 16887 h 590550"/>
                <a:gd name="connsiteX19" fmla="*/ 83291 w 628650"/>
                <a:gd name="connsiteY19" fmla="*/ 20578 h 590550"/>
                <a:gd name="connsiteX20" fmla="*/ 83291 w 628650"/>
                <a:gd name="connsiteY20" fmla="*/ 24269 h 590550"/>
                <a:gd name="connsiteX21" fmla="*/ 75909 w 628650"/>
                <a:gd name="connsiteY21" fmla="*/ 20578 h 590550"/>
                <a:gd name="connsiteX22" fmla="*/ 75909 w 628650"/>
                <a:gd name="connsiteY22" fmla="*/ 24269 h 590550"/>
                <a:gd name="connsiteX23" fmla="*/ 68537 w 628650"/>
                <a:gd name="connsiteY23" fmla="*/ 24269 h 590550"/>
                <a:gd name="connsiteX24" fmla="*/ 64841 w 628650"/>
                <a:gd name="connsiteY24" fmla="*/ 27959 h 590550"/>
                <a:gd name="connsiteX25" fmla="*/ 64841 w 628650"/>
                <a:gd name="connsiteY25" fmla="*/ 31650 h 590550"/>
                <a:gd name="connsiteX26" fmla="*/ 61155 w 628650"/>
                <a:gd name="connsiteY26" fmla="*/ 35340 h 590550"/>
                <a:gd name="connsiteX27" fmla="*/ 61155 w 628650"/>
                <a:gd name="connsiteY27" fmla="*/ 39031 h 590550"/>
                <a:gd name="connsiteX28" fmla="*/ 57469 w 628650"/>
                <a:gd name="connsiteY28" fmla="*/ 42722 h 590550"/>
                <a:gd name="connsiteX29" fmla="*/ 53773 w 628650"/>
                <a:gd name="connsiteY29" fmla="*/ 42722 h 590550"/>
                <a:gd name="connsiteX30" fmla="*/ 53773 w 628650"/>
                <a:gd name="connsiteY30" fmla="*/ 46412 h 590550"/>
                <a:gd name="connsiteX31" fmla="*/ 50087 w 628650"/>
                <a:gd name="connsiteY31" fmla="*/ 46412 h 590550"/>
                <a:gd name="connsiteX32" fmla="*/ 46401 w 628650"/>
                <a:gd name="connsiteY32" fmla="*/ 50102 h 590550"/>
                <a:gd name="connsiteX33" fmla="*/ 42715 w 628650"/>
                <a:gd name="connsiteY33" fmla="*/ 50102 h 590550"/>
                <a:gd name="connsiteX34" fmla="*/ 39019 w 628650"/>
                <a:gd name="connsiteY34" fmla="*/ 50102 h 590550"/>
                <a:gd name="connsiteX35" fmla="*/ 35333 w 628650"/>
                <a:gd name="connsiteY35" fmla="*/ 50102 h 590550"/>
                <a:gd name="connsiteX36" fmla="*/ 31647 w 628650"/>
                <a:gd name="connsiteY36" fmla="*/ 46412 h 590550"/>
                <a:gd name="connsiteX37" fmla="*/ 27951 w 628650"/>
                <a:gd name="connsiteY37" fmla="*/ 46412 h 590550"/>
                <a:gd name="connsiteX38" fmla="*/ 24265 w 628650"/>
                <a:gd name="connsiteY38" fmla="*/ 46412 h 590550"/>
                <a:gd name="connsiteX39" fmla="*/ 24265 w 628650"/>
                <a:gd name="connsiteY39" fmla="*/ 42722 h 590550"/>
                <a:gd name="connsiteX40" fmla="*/ 20579 w 628650"/>
                <a:gd name="connsiteY40" fmla="*/ 42722 h 590550"/>
                <a:gd name="connsiteX41" fmla="*/ 16883 w 628650"/>
                <a:gd name="connsiteY41" fmla="*/ 42722 h 590550"/>
                <a:gd name="connsiteX42" fmla="*/ 16883 w 628650"/>
                <a:gd name="connsiteY42" fmla="*/ 39031 h 590550"/>
                <a:gd name="connsiteX43" fmla="*/ 13197 w 628650"/>
                <a:gd name="connsiteY43" fmla="*/ 39031 h 590550"/>
                <a:gd name="connsiteX44" fmla="*/ 5815 w 628650"/>
                <a:gd name="connsiteY44" fmla="*/ 46412 h 590550"/>
                <a:gd name="connsiteX45" fmla="*/ 9511 w 628650"/>
                <a:gd name="connsiteY45" fmla="*/ 53792 h 590550"/>
                <a:gd name="connsiteX46" fmla="*/ 13197 w 628650"/>
                <a:gd name="connsiteY46" fmla="*/ 57483 h 590550"/>
                <a:gd name="connsiteX47" fmla="*/ 16883 w 628650"/>
                <a:gd name="connsiteY47" fmla="*/ 61174 h 590550"/>
                <a:gd name="connsiteX48" fmla="*/ 16883 w 628650"/>
                <a:gd name="connsiteY48" fmla="*/ 64864 h 590550"/>
                <a:gd name="connsiteX49" fmla="*/ 24265 w 628650"/>
                <a:gd name="connsiteY49" fmla="*/ 64864 h 590550"/>
                <a:gd name="connsiteX50" fmla="*/ 31647 w 628650"/>
                <a:gd name="connsiteY50" fmla="*/ 64864 h 590550"/>
                <a:gd name="connsiteX51" fmla="*/ 35333 w 628650"/>
                <a:gd name="connsiteY51" fmla="*/ 68555 h 590550"/>
                <a:gd name="connsiteX52" fmla="*/ 46401 w 628650"/>
                <a:gd name="connsiteY52" fmla="*/ 72246 h 590550"/>
                <a:gd name="connsiteX53" fmla="*/ 50087 w 628650"/>
                <a:gd name="connsiteY53" fmla="*/ 79627 h 590550"/>
                <a:gd name="connsiteX54" fmla="*/ 53773 w 628650"/>
                <a:gd name="connsiteY54" fmla="*/ 83317 h 590550"/>
                <a:gd name="connsiteX55" fmla="*/ 57469 w 628650"/>
                <a:gd name="connsiteY55" fmla="*/ 83317 h 590550"/>
                <a:gd name="connsiteX56" fmla="*/ 64841 w 628650"/>
                <a:gd name="connsiteY56" fmla="*/ 90698 h 590550"/>
                <a:gd name="connsiteX57" fmla="*/ 68537 w 628650"/>
                <a:gd name="connsiteY57" fmla="*/ 101770 h 590550"/>
                <a:gd name="connsiteX58" fmla="*/ 75909 w 628650"/>
                <a:gd name="connsiteY58" fmla="*/ 116533 h 590550"/>
                <a:gd name="connsiteX59" fmla="*/ 75909 w 628650"/>
                <a:gd name="connsiteY59" fmla="*/ 120223 h 590550"/>
                <a:gd name="connsiteX60" fmla="*/ 79605 w 628650"/>
                <a:gd name="connsiteY60" fmla="*/ 120223 h 590550"/>
                <a:gd name="connsiteX61" fmla="*/ 83291 w 628650"/>
                <a:gd name="connsiteY61" fmla="*/ 123914 h 590550"/>
                <a:gd name="connsiteX62" fmla="*/ 83291 w 628650"/>
                <a:gd name="connsiteY62" fmla="*/ 127604 h 590550"/>
                <a:gd name="connsiteX63" fmla="*/ 86978 w 628650"/>
                <a:gd name="connsiteY63" fmla="*/ 131295 h 590550"/>
                <a:gd name="connsiteX64" fmla="*/ 86978 w 628650"/>
                <a:gd name="connsiteY64" fmla="*/ 134985 h 590550"/>
                <a:gd name="connsiteX65" fmla="*/ 86978 w 628650"/>
                <a:gd name="connsiteY65" fmla="*/ 138675 h 590550"/>
                <a:gd name="connsiteX66" fmla="*/ 79605 w 628650"/>
                <a:gd name="connsiteY66" fmla="*/ 142366 h 590550"/>
                <a:gd name="connsiteX67" fmla="*/ 75909 w 628650"/>
                <a:gd name="connsiteY67" fmla="*/ 146057 h 590550"/>
                <a:gd name="connsiteX68" fmla="*/ 72223 w 628650"/>
                <a:gd name="connsiteY68" fmla="*/ 149747 h 590550"/>
                <a:gd name="connsiteX69" fmla="*/ 72223 w 628650"/>
                <a:gd name="connsiteY69" fmla="*/ 153438 h 590550"/>
                <a:gd name="connsiteX70" fmla="*/ 72223 w 628650"/>
                <a:gd name="connsiteY70" fmla="*/ 157129 h 590550"/>
                <a:gd name="connsiteX71" fmla="*/ 75909 w 628650"/>
                <a:gd name="connsiteY71" fmla="*/ 157129 h 590550"/>
                <a:gd name="connsiteX72" fmla="*/ 75909 w 628650"/>
                <a:gd name="connsiteY72" fmla="*/ 153438 h 590550"/>
                <a:gd name="connsiteX73" fmla="*/ 83291 w 628650"/>
                <a:gd name="connsiteY73" fmla="*/ 157129 h 590550"/>
                <a:gd name="connsiteX74" fmla="*/ 86978 w 628650"/>
                <a:gd name="connsiteY74" fmla="*/ 157129 h 590550"/>
                <a:gd name="connsiteX75" fmla="*/ 94359 w 628650"/>
                <a:gd name="connsiteY75" fmla="*/ 160819 h 590550"/>
                <a:gd name="connsiteX76" fmla="*/ 98046 w 628650"/>
                <a:gd name="connsiteY76" fmla="*/ 164510 h 590550"/>
                <a:gd name="connsiteX77" fmla="*/ 101741 w 628650"/>
                <a:gd name="connsiteY77" fmla="*/ 168200 h 590550"/>
                <a:gd name="connsiteX78" fmla="*/ 109114 w 628650"/>
                <a:gd name="connsiteY78" fmla="*/ 168200 h 590550"/>
                <a:gd name="connsiteX79" fmla="*/ 112809 w 628650"/>
                <a:gd name="connsiteY79" fmla="*/ 175582 h 590550"/>
                <a:gd name="connsiteX80" fmla="*/ 109114 w 628650"/>
                <a:gd name="connsiteY80" fmla="*/ 179272 h 590550"/>
                <a:gd name="connsiteX81" fmla="*/ 98046 w 628650"/>
                <a:gd name="connsiteY81" fmla="*/ 186653 h 590550"/>
                <a:gd name="connsiteX82" fmla="*/ 94359 w 628650"/>
                <a:gd name="connsiteY82" fmla="*/ 186653 h 590550"/>
                <a:gd name="connsiteX83" fmla="*/ 83291 w 628650"/>
                <a:gd name="connsiteY83" fmla="*/ 190344 h 590550"/>
                <a:gd name="connsiteX84" fmla="*/ 83291 w 628650"/>
                <a:gd name="connsiteY84" fmla="*/ 194035 h 590550"/>
                <a:gd name="connsiteX85" fmla="*/ 75909 w 628650"/>
                <a:gd name="connsiteY85" fmla="*/ 197725 h 590550"/>
                <a:gd name="connsiteX86" fmla="*/ 72223 w 628650"/>
                <a:gd name="connsiteY86" fmla="*/ 197725 h 590550"/>
                <a:gd name="connsiteX87" fmla="*/ 64841 w 628650"/>
                <a:gd name="connsiteY87" fmla="*/ 201416 h 590550"/>
                <a:gd name="connsiteX88" fmla="*/ 61155 w 628650"/>
                <a:gd name="connsiteY88" fmla="*/ 197725 h 590550"/>
                <a:gd name="connsiteX89" fmla="*/ 57469 w 628650"/>
                <a:gd name="connsiteY89" fmla="*/ 194035 h 590550"/>
                <a:gd name="connsiteX90" fmla="*/ 27951 w 628650"/>
                <a:gd name="connsiteY90" fmla="*/ 201416 h 590550"/>
                <a:gd name="connsiteX91" fmla="*/ 24265 w 628650"/>
                <a:gd name="connsiteY91" fmla="*/ 205107 h 590550"/>
                <a:gd name="connsiteX92" fmla="*/ 24265 w 628650"/>
                <a:gd name="connsiteY92" fmla="*/ 212488 h 590550"/>
                <a:gd name="connsiteX93" fmla="*/ 24265 w 628650"/>
                <a:gd name="connsiteY93" fmla="*/ 216178 h 590550"/>
                <a:gd name="connsiteX94" fmla="*/ 24265 w 628650"/>
                <a:gd name="connsiteY94" fmla="*/ 219868 h 590550"/>
                <a:gd name="connsiteX95" fmla="*/ 27951 w 628650"/>
                <a:gd name="connsiteY95" fmla="*/ 223559 h 590550"/>
                <a:gd name="connsiteX96" fmla="*/ 27951 w 628650"/>
                <a:gd name="connsiteY96" fmla="*/ 227249 h 590550"/>
                <a:gd name="connsiteX97" fmla="*/ 13197 w 628650"/>
                <a:gd name="connsiteY97" fmla="*/ 223559 h 590550"/>
                <a:gd name="connsiteX98" fmla="*/ 16883 w 628650"/>
                <a:gd name="connsiteY98" fmla="*/ 227249 h 590550"/>
                <a:gd name="connsiteX99" fmla="*/ 20579 w 628650"/>
                <a:gd name="connsiteY99" fmla="*/ 227249 h 590550"/>
                <a:gd name="connsiteX100" fmla="*/ 24265 w 628650"/>
                <a:gd name="connsiteY100" fmla="*/ 227249 h 590550"/>
                <a:gd name="connsiteX101" fmla="*/ 24265 w 628650"/>
                <a:gd name="connsiteY101" fmla="*/ 230940 h 590550"/>
                <a:gd name="connsiteX102" fmla="*/ 27951 w 628650"/>
                <a:gd name="connsiteY102" fmla="*/ 234630 h 590550"/>
                <a:gd name="connsiteX103" fmla="*/ 27951 w 628650"/>
                <a:gd name="connsiteY103" fmla="*/ 238321 h 590550"/>
                <a:gd name="connsiteX104" fmla="*/ 27951 w 628650"/>
                <a:gd name="connsiteY104" fmla="*/ 242012 h 590550"/>
                <a:gd name="connsiteX105" fmla="*/ 31647 w 628650"/>
                <a:gd name="connsiteY105" fmla="*/ 245702 h 590550"/>
                <a:gd name="connsiteX106" fmla="*/ 35333 w 628650"/>
                <a:gd name="connsiteY106" fmla="*/ 249393 h 590550"/>
                <a:gd name="connsiteX107" fmla="*/ 35333 w 628650"/>
                <a:gd name="connsiteY107" fmla="*/ 253083 h 590550"/>
                <a:gd name="connsiteX108" fmla="*/ 35333 w 628650"/>
                <a:gd name="connsiteY108" fmla="*/ 256774 h 590550"/>
                <a:gd name="connsiteX109" fmla="*/ 39019 w 628650"/>
                <a:gd name="connsiteY109" fmla="*/ 260465 h 590550"/>
                <a:gd name="connsiteX110" fmla="*/ 39019 w 628650"/>
                <a:gd name="connsiteY110" fmla="*/ 267846 h 590550"/>
                <a:gd name="connsiteX111" fmla="*/ 39019 w 628650"/>
                <a:gd name="connsiteY111" fmla="*/ 275227 h 590550"/>
                <a:gd name="connsiteX112" fmla="*/ 46401 w 628650"/>
                <a:gd name="connsiteY112" fmla="*/ 271537 h 590550"/>
                <a:gd name="connsiteX113" fmla="*/ 50087 w 628650"/>
                <a:gd name="connsiteY113" fmla="*/ 275227 h 590550"/>
                <a:gd name="connsiteX114" fmla="*/ 57469 w 628650"/>
                <a:gd name="connsiteY114" fmla="*/ 286299 h 590550"/>
                <a:gd name="connsiteX115" fmla="*/ 61155 w 628650"/>
                <a:gd name="connsiteY115" fmla="*/ 293680 h 590550"/>
                <a:gd name="connsiteX116" fmla="*/ 68537 w 628650"/>
                <a:gd name="connsiteY116" fmla="*/ 304751 h 590550"/>
                <a:gd name="connsiteX117" fmla="*/ 68537 w 628650"/>
                <a:gd name="connsiteY117" fmla="*/ 312132 h 590550"/>
                <a:gd name="connsiteX118" fmla="*/ 75909 w 628650"/>
                <a:gd name="connsiteY118" fmla="*/ 308442 h 590550"/>
                <a:gd name="connsiteX119" fmla="*/ 79605 w 628650"/>
                <a:gd name="connsiteY119" fmla="*/ 304751 h 590550"/>
                <a:gd name="connsiteX120" fmla="*/ 83291 w 628650"/>
                <a:gd name="connsiteY120" fmla="*/ 301060 h 590550"/>
                <a:gd name="connsiteX121" fmla="*/ 83291 w 628650"/>
                <a:gd name="connsiteY121" fmla="*/ 304751 h 590550"/>
                <a:gd name="connsiteX122" fmla="*/ 86978 w 628650"/>
                <a:gd name="connsiteY122" fmla="*/ 308442 h 590550"/>
                <a:gd name="connsiteX123" fmla="*/ 90673 w 628650"/>
                <a:gd name="connsiteY123" fmla="*/ 304751 h 590550"/>
                <a:gd name="connsiteX124" fmla="*/ 98046 w 628650"/>
                <a:gd name="connsiteY124" fmla="*/ 297371 h 590550"/>
                <a:gd name="connsiteX125" fmla="*/ 105427 w 628650"/>
                <a:gd name="connsiteY125" fmla="*/ 289990 h 590550"/>
                <a:gd name="connsiteX126" fmla="*/ 109114 w 628650"/>
                <a:gd name="connsiteY126" fmla="*/ 286299 h 590550"/>
                <a:gd name="connsiteX127" fmla="*/ 112809 w 628650"/>
                <a:gd name="connsiteY127" fmla="*/ 286299 h 590550"/>
                <a:gd name="connsiteX128" fmla="*/ 116495 w 628650"/>
                <a:gd name="connsiteY128" fmla="*/ 286299 h 590550"/>
                <a:gd name="connsiteX129" fmla="*/ 120182 w 628650"/>
                <a:gd name="connsiteY129" fmla="*/ 282608 h 590550"/>
                <a:gd name="connsiteX130" fmla="*/ 123877 w 628650"/>
                <a:gd name="connsiteY130" fmla="*/ 286299 h 590550"/>
                <a:gd name="connsiteX131" fmla="*/ 127564 w 628650"/>
                <a:gd name="connsiteY131" fmla="*/ 286299 h 590550"/>
                <a:gd name="connsiteX132" fmla="*/ 131250 w 628650"/>
                <a:gd name="connsiteY132" fmla="*/ 289990 h 590550"/>
                <a:gd name="connsiteX133" fmla="*/ 134936 w 628650"/>
                <a:gd name="connsiteY133" fmla="*/ 293680 h 590550"/>
                <a:gd name="connsiteX134" fmla="*/ 134936 w 628650"/>
                <a:gd name="connsiteY134" fmla="*/ 297371 h 590550"/>
                <a:gd name="connsiteX135" fmla="*/ 134936 w 628650"/>
                <a:gd name="connsiteY135" fmla="*/ 301060 h 590550"/>
                <a:gd name="connsiteX136" fmla="*/ 138632 w 628650"/>
                <a:gd name="connsiteY136" fmla="*/ 304751 h 590550"/>
                <a:gd name="connsiteX137" fmla="*/ 149700 w 628650"/>
                <a:gd name="connsiteY137" fmla="*/ 308442 h 590550"/>
                <a:gd name="connsiteX138" fmla="*/ 153386 w 628650"/>
                <a:gd name="connsiteY138" fmla="*/ 312132 h 590550"/>
                <a:gd name="connsiteX139" fmla="*/ 153386 w 628650"/>
                <a:gd name="connsiteY139" fmla="*/ 315823 h 590550"/>
                <a:gd name="connsiteX140" fmla="*/ 157072 w 628650"/>
                <a:gd name="connsiteY140" fmla="*/ 326895 h 590550"/>
                <a:gd name="connsiteX141" fmla="*/ 157072 w 628650"/>
                <a:gd name="connsiteY141" fmla="*/ 334276 h 590550"/>
                <a:gd name="connsiteX142" fmla="*/ 160768 w 628650"/>
                <a:gd name="connsiteY142" fmla="*/ 337967 h 590550"/>
                <a:gd name="connsiteX143" fmla="*/ 164454 w 628650"/>
                <a:gd name="connsiteY143" fmla="*/ 341657 h 590550"/>
                <a:gd name="connsiteX144" fmla="*/ 164454 w 628650"/>
                <a:gd name="connsiteY144" fmla="*/ 349038 h 590550"/>
                <a:gd name="connsiteX145" fmla="*/ 160768 w 628650"/>
                <a:gd name="connsiteY145" fmla="*/ 352729 h 590550"/>
                <a:gd name="connsiteX146" fmla="*/ 160768 w 628650"/>
                <a:gd name="connsiteY146" fmla="*/ 356420 h 590550"/>
                <a:gd name="connsiteX147" fmla="*/ 160768 w 628650"/>
                <a:gd name="connsiteY147" fmla="*/ 363801 h 590550"/>
                <a:gd name="connsiteX148" fmla="*/ 164454 w 628650"/>
                <a:gd name="connsiteY148" fmla="*/ 367491 h 590550"/>
                <a:gd name="connsiteX149" fmla="*/ 168140 w 628650"/>
                <a:gd name="connsiteY149" fmla="*/ 367491 h 590550"/>
                <a:gd name="connsiteX150" fmla="*/ 168140 w 628650"/>
                <a:gd name="connsiteY150" fmla="*/ 371182 h 590550"/>
                <a:gd name="connsiteX151" fmla="*/ 168140 w 628650"/>
                <a:gd name="connsiteY151" fmla="*/ 374873 h 590550"/>
                <a:gd name="connsiteX152" fmla="*/ 168140 w 628650"/>
                <a:gd name="connsiteY152" fmla="*/ 382253 h 590550"/>
                <a:gd name="connsiteX153" fmla="*/ 164454 w 628650"/>
                <a:gd name="connsiteY153" fmla="*/ 382253 h 590550"/>
                <a:gd name="connsiteX154" fmla="*/ 164454 w 628650"/>
                <a:gd name="connsiteY154" fmla="*/ 385943 h 590550"/>
                <a:gd name="connsiteX155" fmla="*/ 160768 w 628650"/>
                <a:gd name="connsiteY155" fmla="*/ 385943 h 590550"/>
                <a:gd name="connsiteX156" fmla="*/ 153386 w 628650"/>
                <a:gd name="connsiteY156" fmla="*/ 389634 h 590550"/>
                <a:gd name="connsiteX157" fmla="*/ 146004 w 628650"/>
                <a:gd name="connsiteY157" fmla="*/ 389634 h 590550"/>
                <a:gd name="connsiteX158" fmla="*/ 146004 w 628650"/>
                <a:gd name="connsiteY158" fmla="*/ 393323 h 590550"/>
                <a:gd name="connsiteX159" fmla="*/ 142318 w 628650"/>
                <a:gd name="connsiteY159" fmla="*/ 393323 h 590550"/>
                <a:gd name="connsiteX160" fmla="*/ 142318 w 628650"/>
                <a:gd name="connsiteY160" fmla="*/ 397018 h 590550"/>
                <a:gd name="connsiteX161" fmla="*/ 146004 w 628650"/>
                <a:gd name="connsiteY161" fmla="*/ 400704 h 590550"/>
                <a:gd name="connsiteX162" fmla="*/ 149700 w 628650"/>
                <a:gd name="connsiteY162" fmla="*/ 400704 h 590550"/>
                <a:gd name="connsiteX163" fmla="*/ 153386 w 628650"/>
                <a:gd name="connsiteY163" fmla="*/ 404400 h 590550"/>
                <a:gd name="connsiteX164" fmla="*/ 149700 w 628650"/>
                <a:gd name="connsiteY164" fmla="*/ 404400 h 590550"/>
                <a:gd name="connsiteX165" fmla="*/ 146004 w 628650"/>
                <a:gd name="connsiteY165" fmla="*/ 408086 h 590550"/>
                <a:gd name="connsiteX166" fmla="*/ 142318 w 628650"/>
                <a:gd name="connsiteY166" fmla="*/ 408086 h 590550"/>
                <a:gd name="connsiteX167" fmla="*/ 142318 w 628650"/>
                <a:gd name="connsiteY167" fmla="*/ 415468 h 590550"/>
                <a:gd name="connsiteX168" fmla="*/ 142318 w 628650"/>
                <a:gd name="connsiteY168" fmla="*/ 422850 h 590550"/>
                <a:gd name="connsiteX169" fmla="*/ 142318 w 628650"/>
                <a:gd name="connsiteY169" fmla="*/ 430232 h 590550"/>
                <a:gd name="connsiteX170" fmla="*/ 138632 w 628650"/>
                <a:gd name="connsiteY170" fmla="*/ 430232 h 590550"/>
                <a:gd name="connsiteX171" fmla="*/ 138632 w 628650"/>
                <a:gd name="connsiteY171" fmla="*/ 433918 h 590550"/>
                <a:gd name="connsiteX172" fmla="*/ 142318 w 628650"/>
                <a:gd name="connsiteY172" fmla="*/ 433918 h 590550"/>
                <a:gd name="connsiteX173" fmla="*/ 146004 w 628650"/>
                <a:gd name="connsiteY173" fmla="*/ 433918 h 590550"/>
                <a:gd name="connsiteX174" fmla="*/ 146004 w 628650"/>
                <a:gd name="connsiteY174" fmla="*/ 437614 h 590550"/>
                <a:gd name="connsiteX175" fmla="*/ 146004 w 628650"/>
                <a:gd name="connsiteY175" fmla="*/ 448682 h 590550"/>
                <a:gd name="connsiteX176" fmla="*/ 149700 w 628650"/>
                <a:gd name="connsiteY176" fmla="*/ 448682 h 590550"/>
                <a:gd name="connsiteX177" fmla="*/ 153386 w 628650"/>
                <a:gd name="connsiteY177" fmla="*/ 448682 h 590550"/>
                <a:gd name="connsiteX178" fmla="*/ 157072 w 628650"/>
                <a:gd name="connsiteY178" fmla="*/ 448682 h 590550"/>
                <a:gd name="connsiteX179" fmla="*/ 157072 w 628650"/>
                <a:gd name="connsiteY179" fmla="*/ 452377 h 590550"/>
                <a:gd name="connsiteX180" fmla="*/ 157072 w 628650"/>
                <a:gd name="connsiteY180" fmla="*/ 456064 h 590550"/>
                <a:gd name="connsiteX181" fmla="*/ 160768 w 628650"/>
                <a:gd name="connsiteY181" fmla="*/ 456064 h 590550"/>
                <a:gd name="connsiteX182" fmla="*/ 160768 w 628650"/>
                <a:gd name="connsiteY182" fmla="*/ 467132 h 590550"/>
                <a:gd name="connsiteX183" fmla="*/ 164454 w 628650"/>
                <a:gd name="connsiteY183" fmla="*/ 470827 h 590550"/>
                <a:gd name="connsiteX184" fmla="*/ 168140 w 628650"/>
                <a:gd name="connsiteY184" fmla="*/ 474514 h 590550"/>
                <a:gd name="connsiteX185" fmla="*/ 168140 w 628650"/>
                <a:gd name="connsiteY185" fmla="*/ 478209 h 590550"/>
                <a:gd name="connsiteX186" fmla="*/ 168140 w 628650"/>
                <a:gd name="connsiteY186" fmla="*/ 481895 h 590550"/>
                <a:gd name="connsiteX187" fmla="*/ 168140 w 628650"/>
                <a:gd name="connsiteY187" fmla="*/ 485591 h 590550"/>
                <a:gd name="connsiteX188" fmla="*/ 171836 w 628650"/>
                <a:gd name="connsiteY188" fmla="*/ 489277 h 590550"/>
                <a:gd name="connsiteX189" fmla="*/ 175522 w 628650"/>
                <a:gd name="connsiteY189" fmla="*/ 489277 h 590550"/>
                <a:gd name="connsiteX190" fmla="*/ 179208 w 628650"/>
                <a:gd name="connsiteY190" fmla="*/ 489277 h 590550"/>
                <a:gd name="connsiteX191" fmla="*/ 182904 w 628650"/>
                <a:gd name="connsiteY191" fmla="*/ 489277 h 590550"/>
                <a:gd name="connsiteX192" fmla="*/ 182904 w 628650"/>
                <a:gd name="connsiteY192" fmla="*/ 492973 h 590550"/>
                <a:gd name="connsiteX193" fmla="*/ 179208 w 628650"/>
                <a:gd name="connsiteY193" fmla="*/ 492973 h 590550"/>
                <a:gd name="connsiteX194" fmla="*/ 175522 w 628650"/>
                <a:gd name="connsiteY194" fmla="*/ 496659 h 590550"/>
                <a:gd name="connsiteX195" fmla="*/ 175522 w 628650"/>
                <a:gd name="connsiteY195" fmla="*/ 500355 h 590550"/>
                <a:gd name="connsiteX196" fmla="*/ 179208 w 628650"/>
                <a:gd name="connsiteY196" fmla="*/ 507737 h 590550"/>
                <a:gd name="connsiteX197" fmla="*/ 182904 w 628650"/>
                <a:gd name="connsiteY197" fmla="*/ 507737 h 590550"/>
                <a:gd name="connsiteX198" fmla="*/ 186590 w 628650"/>
                <a:gd name="connsiteY198" fmla="*/ 507737 h 590550"/>
                <a:gd name="connsiteX199" fmla="*/ 186590 w 628650"/>
                <a:gd name="connsiteY199" fmla="*/ 504041 h 590550"/>
                <a:gd name="connsiteX200" fmla="*/ 193962 w 628650"/>
                <a:gd name="connsiteY200" fmla="*/ 500355 h 590550"/>
                <a:gd name="connsiteX201" fmla="*/ 197658 w 628650"/>
                <a:gd name="connsiteY201" fmla="*/ 500355 h 590550"/>
                <a:gd name="connsiteX202" fmla="*/ 197658 w 628650"/>
                <a:gd name="connsiteY202" fmla="*/ 504041 h 590550"/>
                <a:gd name="connsiteX203" fmla="*/ 205030 w 628650"/>
                <a:gd name="connsiteY203" fmla="*/ 504041 h 590550"/>
                <a:gd name="connsiteX204" fmla="*/ 208726 w 628650"/>
                <a:gd name="connsiteY204" fmla="*/ 504041 h 590550"/>
                <a:gd name="connsiteX205" fmla="*/ 212412 w 628650"/>
                <a:gd name="connsiteY205" fmla="*/ 507737 h 590550"/>
                <a:gd name="connsiteX206" fmla="*/ 212412 w 628650"/>
                <a:gd name="connsiteY206" fmla="*/ 504041 h 590550"/>
                <a:gd name="connsiteX207" fmla="*/ 216098 w 628650"/>
                <a:gd name="connsiteY207" fmla="*/ 504041 h 590550"/>
                <a:gd name="connsiteX208" fmla="*/ 219794 w 628650"/>
                <a:gd name="connsiteY208" fmla="*/ 504041 h 590550"/>
                <a:gd name="connsiteX209" fmla="*/ 223480 w 628650"/>
                <a:gd name="connsiteY209" fmla="*/ 504041 h 590550"/>
                <a:gd name="connsiteX210" fmla="*/ 230862 w 628650"/>
                <a:gd name="connsiteY210" fmla="*/ 504041 h 590550"/>
                <a:gd name="connsiteX211" fmla="*/ 234548 w 628650"/>
                <a:gd name="connsiteY211" fmla="*/ 504041 h 590550"/>
                <a:gd name="connsiteX212" fmla="*/ 238235 w 628650"/>
                <a:gd name="connsiteY212" fmla="*/ 507737 h 590550"/>
                <a:gd name="connsiteX213" fmla="*/ 241930 w 628650"/>
                <a:gd name="connsiteY213" fmla="*/ 504041 h 590550"/>
                <a:gd name="connsiteX214" fmla="*/ 245616 w 628650"/>
                <a:gd name="connsiteY214" fmla="*/ 504041 h 590550"/>
                <a:gd name="connsiteX215" fmla="*/ 249303 w 628650"/>
                <a:gd name="connsiteY215" fmla="*/ 504041 h 590550"/>
                <a:gd name="connsiteX216" fmla="*/ 252998 w 628650"/>
                <a:gd name="connsiteY216" fmla="*/ 504041 h 590550"/>
                <a:gd name="connsiteX217" fmla="*/ 252998 w 628650"/>
                <a:gd name="connsiteY217" fmla="*/ 507737 h 590550"/>
                <a:gd name="connsiteX218" fmla="*/ 264066 w 628650"/>
                <a:gd name="connsiteY218" fmla="*/ 507737 h 590550"/>
                <a:gd name="connsiteX219" fmla="*/ 264066 w 628650"/>
                <a:gd name="connsiteY219" fmla="*/ 504041 h 590550"/>
                <a:gd name="connsiteX220" fmla="*/ 271439 w 628650"/>
                <a:gd name="connsiteY220" fmla="*/ 504041 h 590550"/>
                <a:gd name="connsiteX221" fmla="*/ 271439 w 628650"/>
                <a:gd name="connsiteY221" fmla="*/ 496659 h 590550"/>
                <a:gd name="connsiteX222" fmla="*/ 275125 w 628650"/>
                <a:gd name="connsiteY222" fmla="*/ 496659 h 590550"/>
                <a:gd name="connsiteX223" fmla="*/ 278821 w 628650"/>
                <a:gd name="connsiteY223" fmla="*/ 492973 h 590550"/>
                <a:gd name="connsiteX224" fmla="*/ 286193 w 628650"/>
                <a:gd name="connsiteY224" fmla="*/ 492973 h 590550"/>
                <a:gd name="connsiteX225" fmla="*/ 289889 w 628650"/>
                <a:gd name="connsiteY225" fmla="*/ 492973 h 590550"/>
                <a:gd name="connsiteX226" fmla="*/ 293575 w 628650"/>
                <a:gd name="connsiteY226" fmla="*/ 489277 h 590550"/>
                <a:gd name="connsiteX227" fmla="*/ 293575 w 628650"/>
                <a:gd name="connsiteY227" fmla="*/ 492973 h 590550"/>
                <a:gd name="connsiteX228" fmla="*/ 297261 w 628650"/>
                <a:gd name="connsiteY228" fmla="*/ 492973 h 590550"/>
                <a:gd name="connsiteX229" fmla="*/ 300957 w 628650"/>
                <a:gd name="connsiteY229" fmla="*/ 492973 h 590550"/>
                <a:gd name="connsiteX230" fmla="*/ 308329 w 628650"/>
                <a:gd name="connsiteY230" fmla="*/ 492973 h 590550"/>
                <a:gd name="connsiteX231" fmla="*/ 312025 w 628650"/>
                <a:gd name="connsiteY231" fmla="*/ 492973 h 590550"/>
                <a:gd name="connsiteX232" fmla="*/ 312025 w 628650"/>
                <a:gd name="connsiteY232" fmla="*/ 496659 h 590550"/>
                <a:gd name="connsiteX233" fmla="*/ 312025 w 628650"/>
                <a:gd name="connsiteY233" fmla="*/ 500355 h 590550"/>
                <a:gd name="connsiteX234" fmla="*/ 315711 w 628650"/>
                <a:gd name="connsiteY234" fmla="*/ 507737 h 590550"/>
                <a:gd name="connsiteX235" fmla="*/ 326779 w 628650"/>
                <a:gd name="connsiteY235" fmla="*/ 515109 h 590550"/>
                <a:gd name="connsiteX236" fmla="*/ 326779 w 628650"/>
                <a:gd name="connsiteY236" fmla="*/ 522491 h 590550"/>
                <a:gd name="connsiteX237" fmla="*/ 330465 w 628650"/>
                <a:gd name="connsiteY237" fmla="*/ 522491 h 590550"/>
                <a:gd name="connsiteX238" fmla="*/ 330465 w 628650"/>
                <a:gd name="connsiteY238" fmla="*/ 526187 h 590550"/>
                <a:gd name="connsiteX239" fmla="*/ 337847 w 628650"/>
                <a:gd name="connsiteY239" fmla="*/ 526187 h 590550"/>
                <a:gd name="connsiteX240" fmla="*/ 337847 w 628650"/>
                <a:gd name="connsiteY240" fmla="*/ 533569 h 590550"/>
                <a:gd name="connsiteX241" fmla="*/ 341533 w 628650"/>
                <a:gd name="connsiteY241" fmla="*/ 537255 h 590550"/>
                <a:gd name="connsiteX242" fmla="*/ 341533 w 628650"/>
                <a:gd name="connsiteY242" fmla="*/ 540951 h 590550"/>
                <a:gd name="connsiteX243" fmla="*/ 345219 w 628650"/>
                <a:gd name="connsiteY243" fmla="*/ 540951 h 590550"/>
                <a:gd name="connsiteX244" fmla="*/ 348915 w 628650"/>
                <a:gd name="connsiteY244" fmla="*/ 544637 h 590550"/>
                <a:gd name="connsiteX245" fmla="*/ 356287 w 628650"/>
                <a:gd name="connsiteY245" fmla="*/ 540951 h 590550"/>
                <a:gd name="connsiteX246" fmla="*/ 359983 w 628650"/>
                <a:gd name="connsiteY246" fmla="*/ 540951 h 590550"/>
                <a:gd name="connsiteX247" fmla="*/ 378424 w 628650"/>
                <a:gd name="connsiteY247" fmla="*/ 544637 h 590550"/>
                <a:gd name="connsiteX248" fmla="*/ 393187 w 628650"/>
                <a:gd name="connsiteY248" fmla="*/ 540951 h 590550"/>
                <a:gd name="connsiteX249" fmla="*/ 396873 w 628650"/>
                <a:gd name="connsiteY249" fmla="*/ 540951 h 590550"/>
                <a:gd name="connsiteX250" fmla="*/ 404255 w 628650"/>
                <a:gd name="connsiteY250" fmla="*/ 544637 h 590550"/>
                <a:gd name="connsiteX251" fmla="*/ 400560 w 628650"/>
                <a:gd name="connsiteY251" fmla="*/ 548332 h 590550"/>
                <a:gd name="connsiteX252" fmla="*/ 404255 w 628650"/>
                <a:gd name="connsiteY252" fmla="*/ 552019 h 590550"/>
                <a:gd name="connsiteX253" fmla="*/ 407942 w 628650"/>
                <a:gd name="connsiteY253" fmla="*/ 555714 h 590550"/>
                <a:gd name="connsiteX254" fmla="*/ 407942 w 628650"/>
                <a:gd name="connsiteY254" fmla="*/ 552019 h 590550"/>
                <a:gd name="connsiteX255" fmla="*/ 411628 w 628650"/>
                <a:gd name="connsiteY255" fmla="*/ 548332 h 590550"/>
                <a:gd name="connsiteX256" fmla="*/ 415314 w 628650"/>
                <a:gd name="connsiteY256" fmla="*/ 544637 h 590550"/>
                <a:gd name="connsiteX257" fmla="*/ 419010 w 628650"/>
                <a:gd name="connsiteY257" fmla="*/ 548332 h 590550"/>
                <a:gd name="connsiteX258" fmla="*/ 419010 w 628650"/>
                <a:gd name="connsiteY258" fmla="*/ 552019 h 590550"/>
                <a:gd name="connsiteX259" fmla="*/ 422696 w 628650"/>
                <a:gd name="connsiteY259" fmla="*/ 544637 h 590550"/>
                <a:gd name="connsiteX260" fmla="*/ 426382 w 628650"/>
                <a:gd name="connsiteY260" fmla="*/ 544637 h 590550"/>
                <a:gd name="connsiteX261" fmla="*/ 437450 w 628650"/>
                <a:gd name="connsiteY261" fmla="*/ 552019 h 590550"/>
                <a:gd name="connsiteX262" fmla="*/ 437450 w 628650"/>
                <a:gd name="connsiteY262" fmla="*/ 555714 h 590550"/>
                <a:gd name="connsiteX263" fmla="*/ 437450 w 628650"/>
                <a:gd name="connsiteY263" fmla="*/ 559400 h 590550"/>
                <a:gd name="connsiteX264" fmla="*/ 437450 w 628650"/>
                <a:gd name="connsiteY264" fmla="*/ 570468 h 590550"/>
                <a:gd name="connsiteX265" fmla="*/ 430078 w 628650"/>
                <a:gd name="connsiteY265" fmla="*/ 581546 h 590550"/>
                <a:gd name="connsiteX266" fmla="*/ 437450 w 628650"/>
                <a:gd name="connsiteY266" fmla="*/ 581546 h 590550"/>
                <a:gd name="connsiteX267" fmla="*/ 441146 w 628650"/>
                <a:gd name="connsiteY267" fmla="*/ 581546 h 590550"/>
                <a:gd name="connsiteX268" fmla="*/ 448518 w 628650"/>
                <a:gd name="connsiteY268" fmla="*/ 585232 h 590550"/>
                <a:gd name="connsiteX269" fmla="*/ 455900 w 628650"/>
                <a:gd name="connsiteY269" fmla="*/ 588928 h 590550"/>
                <a:gd name="connsiteX270" fmla="*/ 459586 w 628650"/>
                <a:gd name="connsiteY270" fmla="*/ 588928 h 590550"/>
                <a:gd name="connsiteX271" fmla="*/ 481722 w 628650"/>
                <a:gd name="connsiteY271" fmla="*/ 588928 h 590550"/>
                <a:gd name="connsiteX272" fmla="*/ 511240 w 628650"/>
                <a:gd name="connsiteY272" fmla="*/ 588928 h 590550"/>
                <a:gd name="connsiteX273" fmla="*/ 522308 w 628650"/>
                <a:gd name="connsiteY273" fmla="*/ 588928 h 590550"/>
                <a:gd name="connsiteX274" fmla="*/ 525994 w 628650"/>
                <a:gd name="connsiteY274" fmla="*/ 585232 h 590550"/>
                <a:gd name="connsiteX275" fmla="*/ 529680 w 628650"/>
                <a:gd name="connsiteY275" fmla="*/ 581546 h 590550"/>
                <a:gd name="connsiteX276" fmla="*/ 533376 w 628650"/>
                <a:gd name="connsiteY276" fmla="*/ 577850 h 590550"/>
                <a:gd name="connsiteX277" fmla="*/ 533376 w 628650"/>
                <a:gd name="connsiteY277" fmla="*/ 574164 h 590550"/>
                <a:gd name="connsiteX278" fmla="*/ 537062 w 628650"/>
                <a:gd name="connsiteY278" fmla="*/ 555714 h 590550"/>
                <a:gd name="connsiteX279" fmla="*/ 540749 w 628650"/>
                <a:gd name="connsiteY279" fmla="*/ 555714 h 590550"/>
                <a:gd name="connsiteX280" fmla="*/ 540749 w 628650"/>
                <a:gd name="connsiteY280" fmla="*/ 552019 h 590550"/>
                <a:gd name="connsiteX281" fmla="*/ 551817 w 628650"/>
                <a:gd name="connsiteY281" fmla="*/ 544637 h 590550"/>
                <a:gd name="connsiteX282" fmla="*/ 551817 w 628650"/>
                <a:gd name="connsiteY282" fmla="*/ 540951 h 590550"/>
                <a:gd name="connsiteX283" fmla="*/ 562885 w 628650"/>
                <a:gd name="connsiteY283" fmla="*/ 537255 h 590550"/>
                <a:gd name="connsiteX284" fmla="*/ 573953 w 628650"/>
                <a:gd name="connsiteY284" fmla="*/ 537255 h 590550"/>
                <a:gd name="connsiteX285" fmla="*/ 577639 w 628650"/>
                <a:gd name="connsiteY285" fmla="*/ 529873 h 590550"/>
                <a:gd name="connsiteX286" fmla="*/ 577639 w 628650"/>
                <a:gd name="connsiteY286" fmla="*/ 526187 h 590550"/>
                <a:gd name="connsiteX287" fmla="*/ 581335 w 628650"/>
                <a:gd name="connsiteY287" fmla="*/ 522491 h 590550"/>
                <a:gd name="connsiteX288" fmla="*/ 581335 w 628650"/>
                <a:gd name="connsiteY288" fmla="*/ 518805 h 590550"/>
                <a:gd name="connsiteX289" fmla="*/ 585021 w 628650"/>
                <a:gd name="connsiteY289" fmla="*/ 515109 h 590550"/>
                <a:gd name="connsiteX290" fmla="*/ 585021 w 628650"/>
                <a:gd name="connsiteY290" fmla="*/ 511423 h 590550"/>
                <a:gd name="connsiteX291" fmla="*/ 585021 w 628650"/>
                <a:gd name="connsiteY291" fmla="*/ 507737 h 590550"/>
                <a:gd name="connsiteX292" fmla="*/ 585021 w 628650"/>
                <a:gd name="connsiteY292" fmla="*/ 504041 h 590550"/>
                <a:gd name="connsiteX293" fmla="*/ 588707 w 628650"/>
                <a:gd name="connsiteY293" fmla="*/ 500355 h 590550"/>
                <a:gd name="connsiteX294" fmla="*/ 596089 w 628650"/>
                <a:gd name="connsiteY294" fmla="*/ 496659 h 590550"/>
                <a:gd name="connsiteX295" fmla="*/ 599775 w 628650"/>
                <a:gd name="connsiteY295" fmla="*/ 500355 h 590550"/>
                <a:gd name="connsiteX296" fmla="*/ 603471 w 628650"/>
                <a:gd name="connsiteY296" fmla="*/ 500355 h 590550"/>
                <a:gd name="connsiteX297" fmla="*/ 607157 w 628650"/>
                <a:gd name="connsiteY297" fmla="*/ 500355 h 590550"/>
                <a:gd name="connsiteX298" fmla="*/ 614539 w 628650"/>
                <a:gd name="connsiteY298" fmla="*/ 500355 h 590550"/>
                <a:gd name="connsiteX299" fmla="*/ 625597 w 628650"/>
                <a:gd name="connsiteY299" fmla="*/ 492973 h 590550"/>
                <a:gd name="connsiteX300" fmla="*/ 625597 w 628650"/>
                <a:gd name="connsiteY300" fmla="*/ 489277 h 590550"/>
                <a:gd name="connsiteX301" fmla="*/ 614539 w 628650"/>
                <a:gd name="connsiteY301" fmla="*/ 474514 h 590550"/>
                <a:gd name="connsiteX302" fmla="*/ 610843 w 628650"/>
                <a:gd name="connsiteY302" fmla="*/ 470827 h 590550"/>
                <a:gd name="connsiteX303" fmla="*/ 610843 w 628650"/>
                <a:gd name="connsiteY303" fmla="*/ 463446 h 590550"/>
                <a:gd name="connsiteX304" fmla="*/ 607157 w 628650"/>
                <a:gd name="connsiteY304" fmla="*/ 463446 h 590550"/>
                <a:gd name="connsiteX305" fmla="*/ 607157 w 628650"/>
                <a:gd name="connsiteY305" fmla="*/ 459759 h 590550"/>
                <a:gd name="connsiteX306" fmla="*/ 607157 w 628650"/>
                <a:gd name="connsiteY306" fmla="*/ 456064 h 590550"/>
                <a:gd name="connsiteX307" fmla="*/ 607157 w 628650"/>
                <a:gd name="connsiteY307" fmla="*/ 452377 h 590550"/>
                <a:gd name="connsiteX308" fmla="*/ 607157 w 628650"/>
                <a:gd name="connsiteY308" fmla="*/ 448682 h 590550"/>
                <a:gd name="connsiteX309" fmla="*/ 610843 w 628650"/>
                <a:gd name="connsiteY309" fmla="*/ 437614 h 590550"/>
                <a:gd name="connsiteX310" fmla="*/ 610843 w 628650"/>
                <a:gd name="connsiteY310" fmla="*/ 433918 h 590550"/>
                <a:gd name="connsiteX311" fmla="*/ 614539 w 628650"/>
                <a:gd name="connsiteY311" fmla="*/ 433918 h 590550"/>
                <a:gd name="connsiteX312" fmla="*/ 614539 w 628650"/>
                <a:gd name="connsiteY312" fmla="*/ 430232 h 590550"/>
                <a:gd name="connsiteX313" fmla="*/ 618225 w 628650"/>
                <a:gd name="connsiteY313" fmla="*/ 430232 h 590550"/>
                <a:gd name="connsiteX314" fmla="*/ 618225 w 628650"/>
                <a:gd name="connsiteY314" fmla="*/ 426536 h 590550"/>
                <a:gd name="connsiteX315" fmla="*/ 618225 w 628650"/>
                <a:gd name="connsiteY315" fmla="*/ 422850 h 590550"/>
                <a:gd name="connsiteX316" fmla="*/ 621911 w 628650"/>
                <a:gd name="connsiteY316" fmla="*/ 415468 h 590550"/>
                <a:gd name="connsiteX317" fmla="*/ 621911 w 628650"/>
                <a:gd name="connsiteY317" fmla="*/ 411782 h 590550"/>
                <a:gd name="connsiteX318" fmla="*/ 629293 w 628650"/>
                <a:gd name="connsiteY318" fmla="*/ 400704 h 590550"/>
                <a:gd name="connsiteX319" fmla="*/ 629293 w 628650"/>
                <a:gd name="connsiteY319" fmla="*/ 382253 h 590550"/>
                <a:gd name="connsiteX320" fmla="*/ 621911 w 628650"/>
                <a:gd name="connsiteY320" fmla="*/ 367491 h 590550"/>
                <a:gd name="connsiteX321" fmla="*/ 621911 w 628650"/>
                <a:gd name="connsiteY321" fmla="*/ 363801 h 590550"/>
                <a:gd name="connsiteX322" fmla="*/ 621911 w 628650"/>
                <a:gd name="connsiteY322" fmla="*/ 360110 h 590550"/>
                <a:gd name="connsiteX323" fmla="*/ 618225 w 628650"/>
                <a:gd name="connsiteY323" fmla="*/ 360110 h 590550"/>
                <a:gd name="connsiteX324" fmla="*/ 614539 w 628650"/>
                <a:gd name="connsiteY324" fmla="*/ 360110 h 590550"/>
                <a:gd name="connsiteX325" fmla="*/ 610843 w 628650"/>
                <a:gd name="connsiteY325" fmla="*/ 360110 h 590550"/>
                <a:gd name="connsiteX326" fmla="*/ 607157 w 628650"/>
                <a:gd name="connsiteY326" fmla="*/ 352729 h 590550"/>
                <a:gd name="connsiteX327" fmla="*/ 603471 w 628650"/>
                <a:gd name="connsiteY327" fmla="*/ 345348 h 590550"/>
                <a:gd name="connsiteX328" fmla="*/ 596089 w 628650"/>
                <a:gd name="connsiteY328" fmla="*/ 337967 h 590550"/>
                <a:gd name="connsiteX329" fmla="*/ 596089 w 628650"/>
                <a:gd name="connsiteY329" fmla="*/ 334276 h 590550"/>
                <a:gd name="connsiteX330" fmla="*/ 592403 w 628650"/>
                <a:gd name="connsiteY330" fmla="*/ 326895 h 590550"/>
                <a:gd name="connsiteX331" fmla="*/ 592403 w 628650"/>
                <a:gd name="connsiteY331" fmla="*/ 319514 h 590550"/>
                <a:gd name="connsiteX332" fmla="*/ 588707 w 628650"/>
                <a:gd name="connsiteY332" fmla="*/ 312132 h 590550"/>
                <a:gd name="connsiteX333" fmla="*/ 588707 w 628650"/>
                <a:gd name="connsiteY333" fmla="*/ 308442 h 590550"/>
                <a:gd name="connsiteX334" fmla="*/ 585021 w 628650"/>
                <a:gd name="connsiteY334" fmla="*/ 308442 h 590550"/>
                <a:gd name="connsiteX335" fmla="*/ 581335 w 628650"/>
                <a:gd name="connsiteY335" fmla="*/ 308442 h 590550"/>
                <a:gd name="connsiteX336" fmla="*/ 577639 w 628650"/>
                <a:gd name="connsiteY336" fmla="*/ 315823 h 590550"/>
                <a:gd name="connsiteX337" fmla="*/ 573953 w 628650"/>
                <a:gd name="connsiteY337" fmla="*/ 326895 h 590550"/>
                <a:gd name="connsiteX338" fmla="*/ 566571 w 628650"/>
                <a:gd name="connsiteY338" fmla="*/ 330585 h 590550"/>
                <a:gd name="connsiteX339" fmla="*/ 566571 w 628650"/>
                <a:gd name="connsiteY339" fmla="*/ 334276 h 590550"/>
                <a:gd name="connsiteX340" fmla="*/ 562885 w 628650"/>
                <a:gd name="connsiteY340" fmla="*/ 334276 h 590550"/>
                <a:gd name="connsiteX341" fmla="*/ 544444 w 628650"/>
                <a:gd name="connsiteY341" fmla="*/ 330585 h 590550"/>
                <a:gd name="connsiteX342" fmla="*/ 537062 w 628650"/>
                <a:gd name="connsiteY342" fmla="*/ 326895 h 590550"/>
                <a:gd name="connsiteX343" fmla="*/ 525994 w 628650"/>
                <a:gd name="connsiteY343" fmla="*/ 323204 h 590550"/>
                <a:gd name="connsiteX344" fmla="*/ 518612 w 628650"/>
                <a:gd name="connsiteY344" fmla="*/ 323204 h 590550"/>
                <a:gd name="connsiteX345" fmla="*/ 522308 w 628650"/>
                <a:gd name="connsiteY345" fmla="*/ 315823 h 590550"/>
                <a:gd name="connsiteX346" fmla="*/ 514926 w 628650"/>
                <a:gd name="connsiteY346" fmla="*/ 315823 h 590550"/>
                <a:gd name="connsiteX347" fmla="*/ 503858 w 628650"/>
                <a:gd name="connsiteY347" fmla="*/ 315823 h 590550"/>
                <a:gd name="connsiteX348" fmla="*/ 481722 w 628650"/>
                <a:gd name="connsiteY348" fmla="*/ 315823 h 590550"/>
                <a:gd name="connsiteX349" fmla="*/ 474350 w 628650"/>
                <a:gd name="connsiteY349" fmla="*/ 315823 h 590550"/>
                <a:gd name="connsiteX350" fmla="*/ 470654 w 628650"/>
                <a:gd name="connsiteY350" fmla="*/ 312132 h 590550"/>
                <a:gd name="connsiteX351" fmla="*/ 455900 w 628650"/>
                <a:gd name="connsiteY351" fmla="*/ 304751 h 590550"/>
                <a:gd name="connsiteX352" fmla="*/ 452214 w 628650"/>
                <a:gd name="connsiteY352" fmla="*/ 301060 h 590550"/>
                <a:gd name="connsiteX353" fmla="*/ 444832 w 628650"/>
                <a:gd name="connsiteY353" fmla="*/ 297371 h 590550"/>
                <a:gd name="connsiteX354" fmla="*/ 448518 w 628650"/>
                <a:gd name="connsiteY354" fmla="*/ 267846 h 590550"/>
                <a:gd name="connsiteX355" fmla="*/ 441146 w 628650"/>
                <a:gd name="connsiteY355" fmla="*/ 256774 h 590550"/>
                <a:gd name="connsiteX356" fmla="*/ 433764 w 628650"/>
                <a:gd name="connsiteY356" fmla="*/ 242012 h 590550"/>
                <a:gd name="connsiteX357" fmla="*/ 437450 w 628650"/>
                <a:gd name="connsiteY357" fmla="*/ 242012 h 590550"/>
                <a:gd name="connsiteX358" fmla="*/ 444832 w 628650"/>
                <a:gd name="connsiteY358" fmla="*/ 245702 h 590550"/>
                <a:gd name="connsiteX359" fmla="*/ 452214 w 628650"/>
                <a:gd name="connsiteY359" fmla="*/ 245702 h 590550"/>
                <a:gd name="connsiteX360" fmla="*/ 455900 w 628650"/>
                <a:gd name="connsiteY360" fmla="*/ 234630 h 590550"/>
                <a:gd name="connsiteX361" fmla="*/ 463282 w 628650"/>
                <a:gd name="connsiteY361" fmla="*/ 234630 h 590550"/>
                <a:gd name="connsiteX362" fmla="*/ 470654 w 628650"/>
                <a:gd name="connsiteY362" fmla="*/ 238321 h 590550"/>
                <a:gd name="connsiteX363" fmla="*/ 474350 w 628650"/>
                <a:gd name="connsiteY363" fmla="*/ 234630 h 590550"/>
                <a:gd name="connsiteX364" fmla="*/ 452214 w 628650"/>
                <a:gd name="connsiteY364" fmla="*/ 216178 h 590550"/>
                <a:gd name="connsiteX365" fmla="*/ 452214 w 628650"/>
                <a:gd name="connsiteY365" fmla="*/ 208797 h 590550"/>
                <a:gd name="connsiteX366" fmla="*/ 455900 w 628650"/>
                <a:gd name="connsiteY366" fmla="*/ 194035 h 590550"/>
                <a:gd name="connsiteX367" fmla="*/ 455900 w 628650"/>
                <a:gd name="connsiteY367" fmla="*/ 190344 h 590550"/>
                <a:gd name="connsiteX368" fmla="*/ 452214 w 628650"/>
                <a:gd name="connsiteY368" fmla="*/ 186653 h 590550"/>
                <a:gd name="connsiteX369" fmla="*/ 448518 w 628650"/>
                <a:gd name="connsiteY369" fmla="*/ 182963 h 590550"/>
                <a:gd name="connsiteX370" fmla="*/ 444832 w 628650"/>
                <a:gd name="connsiteY370" fmla="*/ 182963 h 590550"/>
                <a:gd name="connsiteX371" fmla="*/ 444832 w 628650"/>
                <a:gd name="connsiteY371" fmla="*/ 179272 h 590550"/>
                <a:gd name="connsiteX372" fmla="*/ 444832 w 628650"/>
                <a:gd name="connsiteY372" fmla="*/ 175582 h 590550"/>
                <a:gd name="connsiteX373" fmla="*/ 444832 w 628650"/>
                <a:gd name="connsiteY373" fmla="*/ 171891 h 590550"/>
                <a:gd name="connsiteX374" fmla="*/ 448518 w 628650"/>
                <a:gd name="connsiteY374" fmla="*/ 168200 h 590550"/>
                <a:gd name="connsiteX375" fmla="*/ 444832 w 628650"/>
                <a:gd name="connsiteY375" fmla="*/ 164510 h 590550"/>
                <a:gd name="connsiteX376" fmla="*/ 437450 w 628650"/>
                <a:gd name="connsiteY376" fmla="*/ 164510 h 590550"/>
                <a:gd name="connsiteX377" fmla="*/ 422696 w 628650"/>
                <a:gd name="connsiteY377" fmla="*/ 157129 h 590550"/>
                <a:gd name="connsiteX378" fmla="*/ 415314 w 628650"/>
                <a:gd name="connsiteY378" fmla="*/ 153438 h 590550"/>
                <a:gd name="connsiteX379" fmla="*/ 407942 w 628650"/>
                <a:gd name="connsiteY379" fmla="*/ 149747 h 590550"/>
                <a:gd name="connsiteX380" fmla="*/ 400560 w 628650"/>
                <a:gd name="connsiteY380" fmla="*/ 146057 h 590550"/>
                <a:gd name="connsiteX381" fmla="*/ 400560 w 628650"/>
                <a:gd name="connsiteY381" fmla="*/ 149747 h 590550"/>
                <a:gd name="connsiteX382" fmla="*/ 396873 w 628650"/>
                <a:gd name="connsiteY382" fmla="*/ 149747 h 590550"/>
                <a:gd name="connsiteX383" fmla="*/ 385805 w 628650"/>
                <a:gd name="connsiteY383" fmla="*/ 153438 h 590550"/>
                <a:gd name="connsiteX384" fmla="*/ 371051 w 628650"/>
                <a:gd name="connsiteY384" fmla="*/ 153438 h 590550"/>
                <a:gd name="connsiteX385" fmla="*/ 367355 w 628650"/>
                <a:gd name="connsiteY385" fmla="*/ 157129 h 590550"/>
                <a:gd name="connsiteX386" fmla="*/ 359983 w 628650"/>
                <a:gd name="connsiteY386" fmla="*/ 164510 h 590550"/>
                <a:gd name="connsiteX387" fmla="*/ 352601 w 628650"/>
                <a:gd name="connsiteY387" fmla="*/ 171891 h 590550"/>
                <a:gd name="connsiteX388" fmla="*/ 356287 w 628650"/>
                <a:gd name="connsiteY388" fmla="*/ 194035 h 590550"/>
                <a:gd name="connsiteX389" fmla="*/ 356287 w 628650"/>
                <a:gd name="connsiteY389" fmla="*/ 197725 h 590550"/>
                <a:gd name="connsiteX390" fmla="*/ 352601 w 628650"/>
                <a:gd name="connsiteY390" fmla="*/ 197725 h 590550"/>
                <a:gd name="connsiteX391" fmla="*/ 348915 w 628650"/>
                <a:gd name="connsiteY391" fmla="*/ 194035 h 590550"/>
                <a:gd name="connsiteX392" fmla="*/ 345219 w 628650"/>
                <a:gd name="connsiteY392" fmla="*/ 194035 h 590550"/>
                <a:gd name="connsiteX393" fmla="*/ 337847 w 628650"/>
                <a:gd name="connsiteY393" fmla="*/ 194035 h 590550"/>
                <a:gd name="connsiteX394" fmla="*/ 334161 w 628650"/>
                <a:gd name="connsiteY394" fmla="*/ 190344 h 590550"/>
                <a:gd name="connsiteX395" fmla="*/ 330465 w 628650"/>
                <a:gd name="connsiteY395" fmla="*/ 186653 h 590550"/>
                <a:gd name="connsiteX396" fmla="*/ 330465 w 628650"/>
                <a:gd name="connsiteY396" fmla="*/ 190344 h 590550"/>
                <a:gd name="connsiteX397" fmla="*/ 326779 w 628650"/>
                <a:gd name="connsiteY397" fmla="*/ 194035 h 590550"/>
                <a:gd name="connsiteX398" fmla="*/ 323093 w 628650"/>
                <a:gd name="connsiteY398" fmla="*/ 197725 h 590550"/>
                <a:gd name="connsiteX399" fmla="*/ 319397 w 628650"/>
                <a:gd name="connsiteY399" fmla="*/ 194035 h 590550"/>
                <a:gd name="connsiteX400" fmla="*/ 315711 w 628650"/>
                <a:gd name="connsiteY400" fmla="*/ 194035 h 590550"/>
                <a:gd name="connsiteX401" fmla="*/ 315711 w 628650"/>
                <a:gd name="connsiteY401" fmla="*/ 190344 h 590550"/>
                <a:gd name="connsiteX402" fmla="*/ 315711 w 628650"/>
                <a:gd name="connsiteY402" fmla="*/ 186653 h 590550"/>
                <a:gd name="connsiteX403" fmla="*/ 312025 w 628650"/>
                <a:gd name="connsiteY403" fmla="*/ 186653 h 590550"/>
                <a:gd name="connsiteX404" fmla="*/ 308329 w 628650"/>
                <a:gd name="connsiteY404" fmla="*/ 190344 h 590550"/>
                <a:gd name="connsiteX405" fmla="*/ 308329 w 628650"/>
                <a:gd name="connsiteY405" fmla="*/ 194035 h 590550"/>
                <a:gd name="connsiteX406" fmla="*/ 304643 w 628650"/>
                <a:gd name="connsiteY406" fmla="*/ 194035 h 590550"/>
                <a:gd name="connsiteX407" fmla="*/ 304643 w 628650"/>
                <a:gd name="connsiteY407" fmla="*/ 190344 h 590550"/>
                <a:gd name="connsiteX408" fmla="*/ 300957 w 628650"/>
                <a:gd name="connsiteY408" fmla="*/ 190344 h 590550"/>
                <a:gd name="connsiteX409" fmla="*/ 300957 w 628650"/>
                <a:gd name="connsiteY409" fmla="*/ 194035 h 590550"/>
                <a:gd name="connsiteX410" fmla="*/ 297261 w 628650"/>
                <a:gd name="connsiteY410" fmla="*/ 194035 h 590550"/>
                <a:gd name="connsiteX411" fmla="*/ 293575 w 628650"/>
                <a:gd name="connsiteY411" fmla="*/ 194035 h 590550"/>
                <a:gd name="connsiteX412" fmla="*/ 293575 w 628650"/>
                <a:gd name="connsiteY412" fmla="*/ 197725 h 590550"/>
                <a:gd name="connsiteX413" fmla="*/ 289889 w 628650"/>
                <a:gd name="connsiteY413" fmla="*/ 197725 h 590550"/>
                <a:gd name="connsiteX414" fmla="*/ 286193 w 628650"/>
                <a:gd name="connsiteY414" fmla="*/ 194035 h 590550"/>
                <a:gd name="connsiteX415" fmla="*/ 286193 w 628650"/>
                <a:gd name="connsiteY415" fmla="*/ 186653 h 590550"/>
                <a:gd name="connsiteX416" fmla="*/ 282507 w 628650"/>
                <a:gd name="connsiteY416" fmla="*/ 182963 h 590550"/>
                <a:gd name="connsiteX417" fmla="*/ 282507 w 628650"/>
                <a:gd name="connsiteY417" fmla="*/ 179272 h 590550"/>
                <a:gd name="connsiteX418" fmla="*/ 278821 w 628650"/>
                <a:gd name="connsiteY418" fmla="*/ 179272 h 590550"/>
                <a:gd name="connsiteX419" fmla="*/ 278821 w 628650"/>
                <a:gd name="connsiteY419" fmla="*/ 175582 h 590550"/>
                <a:gd name="connsiteX420" fmla="*/ 278821 w 628650"/>
                <a:gd name="connsiteY420" fmla="*/ 171891 h 590550"/>
                <a:gd name="connsiteX421" fmla="*/ 275125 w 628650"/>
                <a:gd name="connsiteY421" fmla="*/ 171891 h 590550"/>
                <a:gd name="connsiteX422" fmla="*/ 271439 w 628650"/>
                <a:gd name="connsiteY422" fmla="*/ 168200 h 590550"/>
                <a:gd name="connsiteX423" fmla="*/ 267753 w 628650"/>
                <a:gd name="connsiteY423" fmla="*/ 168200 h 590550"/>
                <a:gd name="connsiteX424" fmla="*/ 264066 w 628650"/>
                <a:gd name="connsiteY424" fmla="*/ 164510 h 590550"/>
                <a:gd name="connsiteX425" fmla="*/ 264066 w 628650"/>
                <a:gd name="connsiteY425" fmla="*/ 160819 h 590550"/>
                <a:gd name="connsiteX426" fmla="*/ 260371 w 628650"/>
                <a:gd name="connsiteY426" fmla="*/ 160819 h 590550"/>
                <a:gd name="connsiteX427" fmla="*/ 260371 w 628650"/>
                <a:gd name="connsiteY427" fmla="*/ 157129 h 590550"/>
                <a:gd name="connsiteX428" fmla="*/ 264066 w 628650"/>
                <a:gd name="connsiteY428" fmla="*/ 157129 h 590550"/>
                <a:gd name="connsiteX429" fmla="*/ 264066 w 628650"/>
                <a:gd name="connsiteY429" fmla="*/ 153438 h 590550"/>
                <a:gd name="connsiteX430" fmla="*/ 260371 w 628650"/>
                <a:gd name="connsiteY430" fmla="*/ 153438 h 590550"/>
                <a:gd name="connsiteX431" fmla="*/ 256684 w 628650"/>
                <a:gd name="connsiteY431" fmla="*/ 153438 h 590550"/>
                <a:gd name="connsiteX432" fmla="*/ 252998 w 628650"/>
                <a:gd name="connsiteY432" fmla="*/ 157129 h 590550"/>
                <a:gd name="connsiteX433" fmla="*/ 249303 w 628650"/>
                <a:gd name="connsiteY433" fmla="*/ 157129 h 590550"/>
                <a:gd name="connsiteX434" fmla="*/ 245616 w 628650"/>
                <a:gd name="connsiteY434" fmla="*/ 157129 h 590550"/>
                <a:gd name="connsiteX435" fmla="*/ 241930 w 628650"/>
                <a:gd name="connsiteY435" fmla="*/ 157129 h 590550"/>
                <a:gd name="connsiteX436" fmla="*/ 241930 w 628650"/>
                <a:gd name="connsiteY436" fmla="*/ 153438 h 590550"/>
                <a:gd name="connsiteX437" fmla="*/ 238235 w 628650"/>
                <a:gd name="connsiteY437" fmla="*/ 153438 h 590550"/>
                <a:gd name="connsiteX438" fmla="*/ 238235 w 628650"/>
                <a:gd name="connsiteY438" fmla="*/ 157129 h 590550"/>
                <a:gd name="connsiteX439" fmla="*/ 234548 w 628650"/>
                <a:gd name="connsiteY439" fmla="*/ 157129 h 590550"/>
                <a:gd name="connsiteX440" fmla="*/ 230862 w 628650"/>
                <a:gd name="connsiteY440" fmla="*/ 157129 h 590550"/>
                <a:gd name="connsiteX441" fmla="*/ 230862 w 628650"/>
                <a:gd name="connsiteY441" fmla="*/ 153438 h 590550"/>
                <a:gd name="connsiteX442" fmla="*/ 227166 w 628650"/>
                <a:gd name="connsiteY442" fmla="*/ 153438 h 590550"/>
                <a:gd name="connsiteX443" fmla="*/ 223480 w 628650"/>
                <a:gd name="connsiteY443" fmla="*/ 149747 h 590550"/>
                <a:gd name="connsiteX444" fmla="*/ 223480 w 628650"/>
                <a:gd name="connsiteY444" fmla="*/ 146057 h 590550"/>
                <a:gd name="connsiteX445" fmla="*/ 219794 w 628650"/>
                <a:gd name="connsiteY445" fmla="*/ 146057 h 590550"/>
                <a:gd name="connsiteX446" fmla="*/ 216098 w 628650"/>
                <a:gd name="connsiteY446" fmla="*/ 146057 h 590550"/>
                <a:gd name="connsiteX447" fmla="*/ 212412 w 628650"/>
                <a:gd name="connsiteY447" fmla="*/ 146057 h 590550"/>
                <a:gd name="connsiteX448" fmla="*/ 212412 w 628650"/>
                <a:gd name="connsiteY448" fmla="*/ 142366 h 590550"/>
                <a:gd name="connsiteX449" fmla="*/ 208726 w 628650"/>
                <a:gd name="connsiteY449" fmla="*/ 142366 h 590550"/>
                <a:gd name="connsiteX450" fmla="*/ 205030 w 628650"/>
                <a:gd name="connsiteY450" fmla="*/ 142366 h 590550"/>
                <a:gd name="connsiteX451" fmla="*/ 201344 w 628650"/>
                <a:gd name="connsiteY451" fmla="*/ 142366 h 590550"/>
                <a:gd name="connsiteX452" fmla="*/ 197658 w 628650"/>
                <a:gd name="connsiteY452" fmla="*/ 146057 h 590550"/>
                <a:gd name="connsiteX453" fmla="*/ 197658 w 628650"/>
                <a:gd name="connsiteY453" fmla="*/ 149747 h 590550"/>
                <a:gd name="connsiteX454" fmla="*/ 193962 w 628650"/>
                <a:gd name="connsiteY454" fmla="*/ 146057 h 590550"/>
                <a:gd name="connsiteX455" fmla="*/ 193962 w 628650"/>
                <a:gd name="connsiteY455" fmla="*/ 142366 h 590550"/>
                <a:gd name="connsiteX456" fmla="*/ 190276 w 628650"/>
                <a:gd name="connsiteY456" fmla="*/ 146057 h 590550"/>
                <a:gd name="connsiteX457" fmla="*/ 193962 w 628650"/>
                <a:gd name="connsiteY457" fmla="*/ 149747 h 590550"/>
                <a:gd name="connsiteX458" fmla="*/ 182904 w 628650"/>
                <a:gd name="connsiteY458" fmla="*/ 146057 h 590550"/>
                <a:gd name="connsiteX459" fmla="*/ 186590 w 628650"/>
                <a:gd name="connsiteY459" fmla="*/ 142366 h 590550"/>
                <a:gd name="connsiteX460" fmla="*/ 186590 w 628650"/>
                <a:gd name="connsiteY460" fmla="*/ 138675 h 590550"/>
                <a:gd name="connsiteX461" fmla="*/ 179208 w 628650"/>
                <a:gd name="connsiteY461" fmla="*/ 134985 h 590550"/>
                <a:gd name="connsiteX462" fmla="*/ 179208 w 628650"/>
                <a:gd name="connsiteY462" fmla="*/ 131295 h 590550"/>
                <a:gd name="connsiteX463" fmla="*/ 171836 w 628650"/>
                <a:gd name="connsiteY463" fmla="*/ 120223 h 590550"/>
                <a:gd name="connsiteX464" fmla="*/ 171836 w 628650"/>
                <a:gd name="connsiteY464" fmla="*/ 116533 h 590550"/>
                <a:gd name="connsiteX465" fmla="*/ 171836 w 628650"/>
                <a:gd name="connsiteY465" fmla="*/ 112842 h 590550"/>
                <a:gd name="connsiteX466" fmla="*/ 168140 w 628650"/>
                <a:gd name="connsiteY466" fmla="*/ 105461 h 590550"/>
                <a:gd name="connsiteX467" fmla="*/ 164454 w 628650"/>
                <a:gd name="connsiteY467" fmla="*/ 98080 h 590550"/>
                <a:gd name="connsiteX468" fmla="*/ 160768 w 628650"/>
                <a:gd name="connsiteY468" fmla="*/ 90698 h 590550"/>
                <a:gd name="connsiteX469" fmla="*/ 160768 w 628650"/>
                <a:gd name="connsiteY469" fmla="*/ 87008 h 590550"/>
                <a:gd name="connsiteX470" fmla="*/ 164454 w 628650"/>
                <a:gd name="connsiteY470" fmla="*/ 87008 h 590550"/>
                <a:gd name="connsiteX471" fmla="*/ 168140 w 628650"/>
                <a:gd name="connsiteY471" fmla="*/ 83317 h 590550"/>
                <a:gd name="connsiteX472" fmla="*/ 179208 w 628650"/>
                <a:gd name="connsiteY472" fmla="*/ 79627 h 590550"/>
                <a:gd name="connsiteX473" fmla="*/ 182904 w 628650"/>
                <a:gd name="connsiteY473" fmla="*/ 75936 h 590550"/>
                <a:gd name="connsiteX474" fmla="*/ 186590 w 628650"/>
                <a:gd name="connsiteY474" fmla="*/ 75936 h 590550"/>
                <a:gd name="connsiteX475" fmla="*/ 186590 w 628650"/>
                <a:gd name="connsiteY475" fmla="*/ 72246 h 590550"/>
                <a:gd name="connsiteX476" fmla="*/ 193962 w 628650"/>
                <a:gd name="connsiteY476" fmla="*/ 64864 h 590550"/>
                <a:gd name="connsiteX477" fmla="*/ 197658 w 628650"/>
                <a:gd name="connsiteY477" fmla="*/ 61174 h 590550"/>
                <a:gd name="connsiteX478" fmla="*/ 201344 w 628650"/>
                <a:gd name="connsiteY478" fmla="*/ 53792 h 590550"/>
                <a:gd name="connsiteX479" fmla="*/ 197658 w 628650"/>
                <a:gd name="connsiteY479" fmla="*/ 53792 h 590550"/>
                <a:gd name="connsiteX480" fmla="*/ 193962 w 628650"/>
                <a:gd name="connsiteY480" fmla="*/ 46412 h 590550"/>
                <a:gd name="connsiteX481" fmla="*/ 190276 w 628650"/>
                <a:gd name="connsiteY481" fmla="*/ 42722 h 590550"/>
                <a:gd name="connsiteX482" fmla="*/ 186590 w 628650"/>
                <a:gd name="connsiteY482" fmla="*/ 39031 h 590550"/>
                <a:gd name="connsiteX483" fmla="*/ 179208 w 628650"/>
                <a:gd name="connsiteY483" fmla="*/ 31650 h 590550"/>
                <a:gd name="connsiteX484" fmla="*/ 175522 w 628650"/>
                <a:gd name="connsiteY484" fmla="*/ 27959 h 590550"/>
                <a:gd name="connsiteX485" fmla="*/ 164454 w 628650"/>
                <a:gd name="connsiteY485" fmla="*/ 16887 h 590550"/>
                <a:gd name="connsiteX486" fmla="*/ 164454 w 628650"/>
                <a:gd name="connsiteY486" fmla="*/ 13197 h 590550"/>
                <a:gd name="connsiteX487" fmla="*/ 160768 w 628650"/>
                <a:gd name="connsiteY487" fmla="*/ 5815 h 590550"/>
                <a:gd name="connsiteX488" fmla="*/ 186590 w 628650"/>
                <a:gd name="connsiteY488" fmla="*/ 507737 h 590550"/>
                <a:gd name="connsiteX489" fmla="*/ 186590 w 628650"/>
                <a:gd name="connsiteY489" fmla="*/ 511423 h 590550"/>
                <a:gd name="connsiteX490" fmla="*/ 186590 w 628650"/>
                <a:gd name="connsiteY490" fmla="*/ 515109 h 590550"/>
                <a:gd name="connsiteX491" fmla="*/ 190276 w 628650"/>
                <a:gd name="connsiteY491" fmla="*/ 511423 h 590550"/>
                <a:gd name="connsiteX492" fmla="*/ 186590 w 628650"/>
                <a:gd name="connsiteY492" fmla="*/ 507737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Lst>
              <a:rect l="l" t="t" r="r" b="b"/>
              <a:pathLst>
                <a:path w="628650" h="590550">
                  <a:moveTo>
                    <a:pt x="160768" y="5815"/>
                  </a:moveTo>
                  <a:lnTo>
                    <a:pt x="149700" y="13197"/>
                  </a:lnTo>
                  <a:lnTo>
                    <a:pt x="146004" y="16887"/>
                  </a:lnTo>
                  <a:lnTo>
                    <a:pt x="142318" y="20578"/>
                  </a:lnTo>
                  <a:lnTo>
                    <a:pt x="131250" y="20578"/>
                  </a:lnTo>
                  <a:lnTo>
                    <a:pt x="127564" y="20578"/>
                  </a:lnTo>
                  <a:lnTo>
                    <a:pt x="131250" y="27959"/>
                  </a:lnTo>
                  <a:lnTo>
                    <a:pt x="131250" y="31650"/>
                  </a:lnTo>
                  <a:lnTo>
                    <a:pt x="127564" y="31650"/>
                  </a:lnTo>
                  <a:lnTo>
                    <a:pt x="123877" y="35340"/>
                  </a:lnTo>
                  <a:lnTo>
                    <a:pt x="116495" y="39031"/>
                  </a:lnTo>
                  <a:lnTo>
                    <a:pt x="116495" y="31650"/>
                  </a:lnTo>
                  <a:lnTo>
                    <a:pt x="105427" y="35340"/>
                  </a:lnTo>
                  <a:lnTo>
                    <a:pt x="101741" y="39031"/>
                  </a:lnTo>
                  <a:lnTo>
                    <a:pt x="101741" y="35340"/>
                  </a:lnTo>
                  <a:lnTo>
                    <a:pt x="98046" y="35340"/>
                  </a:lnTo>
                  <a:lnTo>
                    <a:pt x="94359" y="31650"/>
                  </a:lnTo>
                  <a:lnTo>
                    <a:pt x="90673" y="24269"/>
                  </a:lnTo>
                  <a:lnTo>
                    <a:pt x="90673" y="16887"/>
                  </a:lnTo>
                  <a:lnTo>
                    <a:pt x="83291" y="20578"/>
                  </a:lnTo>
                  <a:lnTo>
                    <a:pt x="83291" y="24269"/>
                  </a:lnTo>
                  <a:lnTo>
                    <a:pt x="75909" y="20578"/>
                  </a:lnTo>
                  <a:lnTo>
                    <a:pt x="75909" y="24269"/>
                  </a:lnTo>
                  <a:lnTo>
                    <a:pt x="68537" y="24269"/>
                  </a:lnTo>
                  <a:lnTo>
                    <a:pt x="64841" y="27959"/>
                  </a:lnTo>
                  <a:lnTo>
                    <a:pt x="64841" y="31650"/>
                  </a:lnTo>
                  <a:lnTo>
                    <a:pt x="61155" y="35340"/>
                  </a:lnTo>
                  <a:lnTo>
                    <a:pt x="61155" y="39031"/>
                  </a:lnTo>
                  <a:lnTo>
                    <a:pt x="57469" y="42722"/>
                  </a:lnTo>
                  <a:lnTo>
                    <a:pt x="53773" y="42722"/>
                  </a:lnTo>
                  <a:lnTo>
                    <a:pt x="53773" y="46412"/>
                  </a:lnTo>
                  <a:lnTo>
                    <a:pt x="50087" y="46412"/>
                  </a:lnTo>
                  <a:lnTo>
                    <a:pt x="46401" y="50102"/>
                  </a:lnTo>
                  <a:lnTo>
                    <a:pt x="42715" y="50102"/>
                  </a:lnTo>
                  <a:lnTo>
                    <a:pt x="39019" y="50102"/>
                  </a:lnTo>
                  <a:lnTo>
                    <a:pt x="35333" y="50102"/>
                  </a:lnTo>
                  <a:lnTo>
                    <a:pt x="31647" y="46412"/>
                  </a:lnTo>
                  <a:lnTo>
                    <a:pt x="27951" y="46412"/>
                  </a:lnTo>
                  <a:lnTo>
                    <a:pt x="24265" y="46412"/>
                  </a:lnTo>
                  <a:lnTo>
                    <a:pt x="24265" y="42722"/>
                  </a:lnTo>
                  <a:lnTo>
                    <a:pt x="20579" y="42722"/>
                  </a:lnTo>
                  <a:lnTo>
                    <a:pt x="16883" y="42722"/>
                  </a:lnTo>
                  <a:lnTo>
                    <a:pt x="16883" y="39031"/>
                  </a:lnTo>
                  <a:lnTo>
                    <a:pt x="13197" y="39031"/>
                  </a:lnTo>
                  <a:lnTo>
                    <a:pt x="5815" y="46412"/>
                  </a:lnTo>
                  <a:lnTo>
                    <a:pt x="9511" y="53792"/>
                  </a:lnTo>
                  <a:lnTo>
                    <a:pt x="13197" y="57483"/>
                  </a:lnTo>
                  <a:lnTo>
                    <a:pt x="16883" y="61174"/>
                  </a:lnTo>
                  <a:lnTo>
                    <a:pt x="16883" y="64864"/>
                  </a:lnTo>
                  <a:lnTo>
                    <a:pt x="24265" y="64864"/>
                  </a:lnTo>
                  <a:lnTo>
                    <a:pt x="31647" y="64864"/>
                  </a:lnTo>
                  <a:lnTo>
                    <a:pt x="35333" y="68555"/>
                  </a:lnTo>
                  <a:lnTo>
                    <a:pt x="46401" y="72246"/>
                  </a:lnTo>
                  <a:lnTo>
                    <a:pt x="50087" y="79627"/>
                  </a:lnTo>
                  <a:lnTo>
                    <a:pt x="53773" y="83317"/>
                  </a:lnTo>
                  <a:lnTo>
                    <a:pt x="57469" y="83317"/>
                  </a:lnTo>
                  <a:lnTo>
                    <a:pt x="64841" y="90698"/>
                  </a:lnTo>
                  <a:lnTo>
                    <a:pt x="68537" y="101770"/>
                  </a:lnTo>
                  <a:lnTo>
                    <a:pt x="75909" y="116533"/>
                  </a:lnTo>
                  <a:lnTo>
                    <a:pt x="75909" y="120223"/>
                  </a:lnTo>
                  <a:lnTo>
                    <a:pt x="79605" y="120223"/>
                  </a:lnTo>
                  <a:lnTo>
                    <a:pt x="83291" y="123914"/>
                  </a:lnTo>
                  <a:lnTo>
                    <a:pt x="83291" y="127604"/>
                  </a:lnTo>
                  <a:lnTo>
                    <a:pt x="86978" y="131295"/>
                  </a:lnTo>
                  <a:lnTo>
                    <a:pt x="86978" y="134985"/>
                  </a:lnTo>
                  <a:lnTo>
                    <a:pt x="86978" y="138675"/>
                  </a:lnTo>
                  <a:lnTo>
                    <a:pt x="79605" y="142366"/>
                  </a:lnTo>
                  <a:lnTo>
                    <a:pt x="75909" y="146057"/>
                  </a:lnTo>
                  <a:lnTo>
                    <a:pt x="72223" y="149747"/>
                  </a:lnTo>
                  <a:lnTo>
                    <a:pt x="72223" y="153438"/>
                  </a:lnTo>
                  <a:lnTo>
                    <a:pt x="72223" y="157129"/>
                  </a:lnTo>
                  <a:lnTo>
                    <a:pt x="75909" y="157129"/>
                  </a:lnTo>
                  <a:lnTo>
                    <a:pt x="75909" y="153438"/>
                  </a:lnTo>
                  <a:lnTo>
                    <a:pt x="83291" y="157129"/>
                  </a:lnTo>
                  <a:lnTo>
                    <a:pt x="86978" y="157129"/>
                  </a:lnTo>
                  <a:lnTo>
                    <a:pt x="94359" y="160819"/>
                  </a:lnTo>
                  <a:lnTo>
                    <a:pt x="98046" y="164510"/>
                  </a:lnTo>
                  <a:lnTo>
                    <a:pt x="101741" y="168200"/>
                  </a:lnTo>
                  <a:lnTo>
                    <a:pt x="109114" y="168200"/>
                  </a:lnTo>
                  <a:lnTo>
                    <a:pt x="112809" y="175582"/>
                  </a:lnTo>
                  <a:lnTo>
                    <a:pt x="109114" y="179272"/>
                  </a:lnTo>
                  <a:lnTo>
                    <a:pt x="98046" y="186653"/>
                  </a:lnTo>
                  <a:lnTo>
                    <a:pt x="94359" y="186653"/>
                  </a:lnTo>
                  <a:lnTo>
                    <a:pt x="83291" y="190344"/>
                  </a:lnTo>
                  <a:lnTo>
                    <a:pt x="83291" y="194035"/>
                  </a:lnTo>
                  <a:lnTo>
                    <a:pt x="75909" y="197725"/>
                  </a:lnTo>
                  <a:lnTo>
                    <a:pt x="72223" y="197725"/>
                  </a:lnTo>
                  <a:lnTo>
                    <a:pt x="64841" y="201416"/>
                  </a:lnTo>
                  <a:lnTo>
                    <a:pt x="61155" y="197725"/>
                  </a:lnTo>
                  <a:lnTo>
                    <a:pt x="57469" y="194035"/>
                  </a:lnTo>
                  <a:lnTo>
                    <a:pt x="27951" y="201416"/>
                  </a:lnTo>
                  <a:lnTo>
                    <a:pt x="24265" y="205107"/>
                  </a:lnTo>
                  <a:lnTo>
                    <a:pt x="24265" y="212488"/>
                  </a:lnTo>
                  <a:lnTo>
                    <a:pt x="24265" y="216178"/>
                  </a:lnTo>
                  <a:lnTo>
                    <a:pt x="24265" y="219868"/>
                  </a:lnTo>
                  <a:lnTo>
                    <a:pt x="27951" y="223559"/>
                  </a:lnTo>
                  <a:lnTo>
                    <a:pt x="27951" y="227249"/>
                  </a:lnTo>
                  <a:lnTo>
                    <a:pt x="13197" y="223559"/>
                  </a:lnTo>
                  <a:lnTo>
                    <a:pt x="16883" y="227249"/>
                  </a:lnTo>
                  <a:lnTo>
                    <a:pt x="20579" y="227249"/>
                  </a:lnTo>
                  <a:lnTo>
                    <a:pt x="24265" y="227249"/>
                  </a:lnTo>
                  <a:lnTo>
                    <a:pt x="24265" y="230940"/>
                  </a:lnTo>
                  <a:lnTo>
                    <a:pt x="27951" y="234630"/>
                  </a:lnTo>
                  <a:lnTo>
                    <a:pt x="27951" y="238321"/>
                  </a:lnTo>
                  <a:lnTo>
                    <a:pt x="27951" y="242012"/>
                  </a:lnTo>
                  <a:lnTo>
                    <a:pt x="31647" y="245702"/>
                  </a:lnTo>
                  <a:lnTo>
                    <a:pt x="35333" y="249393"/>
                  </a:lnTo>
                  <a:lnTo>
                    <a:pt x="35333" y="253083"/>
                  </a:lnTo>
                  <a:lnTo>
                    <a:pt x="35333" y="256774"/>
                  </a:lnTo>
                  <a:lnTo>
                    <a:pt x="39019" y="260465"/>
                  </a:lnTo>
                  <a:lnTo>
                    <a:pt x="39019" y="267846"/>
                  </a:lnTo>
                  <a:lnTo>
                    <a:pt x="39019" y="275227"/>
                  </a:lnTo>
                  <a:lnTo>
                    <a:pt x="46401" y="271537"/>
                  </a:lnTo>
                  <a:lnTo>
                    <a:pt x="50087" y="275227"/>
                  </a:lnTo>
                  <a:lnTo>
                    <a:pt x="57469" y="286299"/>
                  </a:lnTo>
                  <a:lnTo>
                    <a:pt x="61155" y="293680"/>
                  </a:lnTo>
                  <a:lnTo>
                    <a:pt x="68537" y="304751"/>
                  </a:lnTo>
                  <a:lnTo>
                    <a:pt x="68537" y="312132"/>
                  </a:lnTo>
                  <a:lnTo>
                    <a:pt x="75909" y="308442"/>
                  </a:lnTo>
                  <a:lnTo>
                    <a:pt x="79605" y="304751"/>
                  </a:lnTo>
                  <a:lnTo>
                    <a:pt x="83291" y="301060"/>
                  </a:lnTo>
                  <a:lnTo>
                    <a:pt x="83291" y="304751"/>
                  </a:lnTo>
                  <a:lnTo>
                    <a:pt x="86978" y="308442"/>
                  </a:lnTo>
                  <a:lnTo>
                    <a:pt x="90673" y="304751"/>
                  </a:lnTo>
                  <a:lnTo>
                    <a:pt x="98046" y="297371"/>
                  </a:lnTo>
                  <a:lnTo>
                    <a:pt x="105427" y="289990"/>
                  </a:lnTo>
                  <a:lnTo>
                    <a:pt x="109114" y="286299"/>
                  </a:lnTo>
                  <a:lnTo>
                    <a:pt x="112809" y="286299"/>
                  </a:lnTo>
                  <a:lnTo>
                    <a:pt x="116495" y="286299"/>
                  </a:lnTo>
                  <a:lnTo>
                    <a:pt x="120182" y="282608"/>
                  </a:lnTo>
                  <a:lnTo>
                    <a:pt x="123877" y="286299"/>
                  </a:lnTo>
                  <a:lnTo>
                    <a:pt x="127564" y="286299"/>
                  </a:lnTo>
                  <a:lnTo>
                    <a:pt x="131250" y="289990"/>
                  </a:lnTo>
                  <a:lnTo>
                    <a:pt x="134936" y="293680"/>
                  </a:lnTo>
                  <a:lnTo>
                    <a:pt x="134936" y="297371"/>
                  </a:lnTo>
                  <a:lnTo>
                    <a:pt x="134936" y="301060"/>
                  </a:lnTo>
                  <a:lnTo>
                    <a:pt x="138632" y="304751"/>
                  </a:lnTo>
                  <a:lnTo>
                    <a:pt x="149700" y="308442"/>
                  </a:lnTo>
                  <a:lnTo>
                    <a:pt x="153386" y="312132"/>
                  </a:lnTo>
                  <a:lnTo>
                    <a:pt x="153386" y="315823"/>
                  </a:lnTo>
                  <a:lnTo>
                    <a:pt x="157072" y="326895"/>
                  </a:lnTo>
                  <a:lnTo>
                    <a:pt x="157072" y="334276"/>
                  </a:lnTo>
                  <a:lnTo>
                    <a:pt x="160768" y="337967"/>
                  </a:lnTo>
                  <a:lnTo>
                    <a:pt x="164454" y="341657"/>
                  </a:lnTo>
                  <a:lnTo>
                    <a:pt x="164454" y="349038"/>
                  </a:lnTo>
                  <a:lnTo>
                    <a:pt x="160768" y="352729"/>
                  </a:lnTo>
                  <a:lnTo>
                    <a:pt x="160768" y="356420"/>
                  </a:lnTo>
                  <a:lnTo>
                    <a:pt x="160768" y="363801"/>
                  </a:lnTo>
                  <a:lnTo>
                    <a:pt x="164454" y="367491"/>
                  </a:lnTo>
                  <a:lnTo>
                    <a:pt x="168140" y="367491"/>
                  </a:lnTo>
                  <a:lnTo>
                    <a:pt x="168140" y="371182"/>
                  </a:lnTo>
                  <a:lnTo>
                    <a:pt x="168140" y="374873"/>
                  </a:lnTo>
                  <a:lnTo>
                    <a:pt x="168140" y="382253"/>
                  </a:lnTo>
                  <a:lnTo>
                    <a:pt x="164454" y="382253"/>
                  </a:lnTo>
                  <a:lnTo>
                    <a:pt x="164454" y="385943"/>
                  </a:lnTo>
                  <a:lnTo>
                    <a:pt x="160768" y="385943"/>
                  </a:lnTo>
                  <a:lnTo>
                    <a:pt x="153386" y="389634"/>
                  </a:lnTo>
                  <a:lnTo>
                    <a:pt x="146004" y="389634"/>
                  </a:lnTo>
                  <a:lnTo>
                    <a:pt x="146004" y="393323"/>
                  </a:lnTo>
                  <a:lnTo>
                    <a:pt x="142318" y="393323"/>
                  </a:lnTo>
                  <a:lnTo>
                    <a:pt x="142318" y="397018"/>
                  </a:lnTo>
                  <a:lnTo>
                    <a:pt x="146004" y="400704"/>
                  </a:lnTo>
                  <a:lnTo>
                    <a:pt x="149700" y="400704"/>
                  </a:lnTo>
                  <a:lnTo>
                    <a:pt x="153386" y="404400"/>
                  </a:lnTo>
                  <a:lnTo>
                    <a:pt x="149700" y="404400"/>
                  </a:lnTo>
                  <a:lnTo>
                    <a:pt x="146004" y="408086"/>
                  </a:lnTo>
                  <a:lnTo>
                    <a:pt x="142318" y="408086"/>
                  </a:lnTo>
                  <a:lnTo>
                    <a:pt x="142318" y="415468"/>
                  </a:lnTo>
                  <a:lnTo>
                    <a:pt x="142318" y="422850"/>
                  </a:lnTo>
                  <a:lnTo>
                    <a:pt x="142318" y="430232"/>
                  </a:lnTo>
                  <a:lnTo>
                    <a:pt x="138632" y="430232"/>
                  </a:lnTo>
                  <a:lnTo>
                    <a:pt x="138632" y="433918"/>
                  </a:lnTo>
                  <a:lnTo>
                    <a:pt x="142318" y="433918"/>
                  </a:lnTo>
                  <a:lnTo>
                    <a:pt x="146004" y="433918"/>
                  </a:lnTo>
                  <a:lnTo>
                    <a:pt x="146004" y="437614"/>
                  </a:lnTo>
                  <a:lnTo>
                    <a:pt x="146004" y="448682"/>
                  </a:lnTo>
                  <a:lnTo>
                    <a:pt x="149700" y="448682"/>
                  </a:lnTo>
                  <a:lnTo>
                    <a:pt x="153386" y="448682"/>
                  </a:lnTo>
                  <a:lnTo>
                    <a:pt x="157072" y="448682"/>
                  </a:lnTo>
                  <a:lnTo>
                    <a:pt x="157072" y="452377"/>
                  </a:lnTo>
                  <a:lnTo>
                    <a:pt x="157072" y="456064"/>
                  </a:lnTo>
                  <a:lnTo>
                    <a:pt x="160768" y="456064"/>
                  </a:lnTo>
                  <a:lnTo>
                    <a:pt x="160768" y="467132"/>
                  </a:lnTo>
                  <a:lnTo>
                    <a:pt x="164454" y="470827"/>
                  </a:lnTo>
                  <a:lnTo>
                    <a:pt x="168140" y="474514"/>
                  </a:lnTo>
                  <a:lnTo>
                    <a:pt x="168140" y="478209"/>
                  </a:lnTo>
                  <a:lnTo>
                    <a:pt x="168140" y="481895"/>
                  </a:lnTo>
                  <a:lnTo>
                    <a:pt x="168140" y="485591"/>
                  </a:lnTo>
                  <a:lnTo>
                    <a:pt x="171836" y="489277"/>
                  </a:lnTo>
                  <a:lnTo>
                    <a:pt x="175522" y="489277"/>
                  </a:lnTo>
                  <a:lnTo>
                    <a:pt x="179208" y="489277"/>
                  </a:lnTo>
                  <a:lnTo>
                    <a:pt x="182904" y="489277"/>
                  </a:lnTo>
                  <a:lnTo>
                    <a:pt x="182904" y="492973"/>
                  </a:lnTo>
                  <a:lnTo>
                    <a:pt x="179208" y="492973"/>
                  </a:lnTo>
                  <a:lnTo>
                    <a:pt x="175522" y="496659"/>
                  </a:lnTo>
                  <a:lnTo>
                    <a:pt x="175522" y="500355"/>
                  </a:lnTo>
                  <a:lnTo>
                    <a:pt x="179208" y="507737"/>
                  </a:lnTo>
                  <a:lnTo>
                    <a:pt x="182904" y="507737"/>
                  </a:lnTo>
                  <a:lnTo>
                    <a:pt x="186590" y="507737"/>
                  </a:lnTo>
                  <a:lnTo>
                    <a:pt x="186590" y="504041"/>
                  </a:lnTo>
                  <a:lnTo>
                    <a:pt x="193962" y="500355"/>
                  </a:lnTo>
                  <a:lnTo>
                    <a:pt x="197658" y="500355"/>
                  </a:lnTo>
                  <a:lnTo>
                    <a:pt x="197658" y="504041"/>
                  </a:lnTo>
                  <a:lnTo>
                    <a:pt x="205030" y="504041"/>
                  </a:lnTo>
                  <a:lnTo>
                    <a:pt x="208726" y="504041"/>
                  </a:lnTo>
                  <a:lnTo>
                    <a:pt x="212412" y="507737"/>
                  </a:lnTo>
                  <a:lnTo>
                    <a:pt x="212412" y="504041"/>
                  </a:lnTo>
                  <a:lnTo>
                    <a:pt x="216098" y="504041"/>
                  </a:lnTo>
                  <a:lnTo>
                    <a:pt x="219794" y="504041"/>
                  </a:lnTo>
                  <a:lnTo>
                    <a:pt x="223480" y="504041"/>
                  </a:lnTo>
                  <a:lnTo>
                    <a:pt x="230862" y="504041"/>
                  </a:lnTo>
                  <a:lnTo>
                    <a:pt x="234548" y="504041"/>
                  </a:lnTo>
                  <a:lnTo>
                    <a:pt x="238235" y="507737"/>
                  </a:lnTo>
                  <a:lnTo>
                    <a:pt x="241930" y="504041"/>
                  </a:lnTo>
                  <a:lnTo>
                    <a:pt x="245616" y="504041"/>
                  </a:lnTo>
                  <a:lnTo>
                    <a:pt x="249303" y="504041"/>
                  </a:lnTo>
                  <a:lnTo>
                    <a:pt x="252998" y="504041"/>
                  </a:lnTo>
                  <a:lnTo>
                    <a:pt x="252998" y="507737"/>
                  </a:lnTo>
                  <a:lnTo>
                    <a:pt x="264066" y="507737"/>
                  </a:lnTo>
                  <a:lnTo>
                    <a:pt x="264066" y="504041"/>
                  </a:lnTo>
                  <a:lnTo>
                    <a:pt x="271439" y="504041"/>
                  </a:lnTo>
                  <a:lnTo>
                    <a:pt x="271439" y="496659"/>
                  </a:lnTo>
                  <a:lnTo>
                    <a:pt x="275125" y="496659"/>
                  </a:lnTo>
                  <a:lnTo>
                    <a:pt x="278821" y="492973"/>
                  </a:lnTo>
                  <a:lnTo>
                    <a:pt x="286193" y="492973"/>
                  </a:lnTo>
                  <a:lnTo>
                    <a:pt x="289889" y="492973"/>
                  </a:lnTo>
                  <a:lnTo>
                    <a:pt x="293575" y="489277"/>
                  </a:lnTo>
                  <a:lnTo>
                    <a:pt x="293575" y="492973"/>
                  </a:lnTo>
                  <a:lnTo>
                    <a:pt x="297261" y="492973"/>
                  </a:lnTo>
                  <a:lnTo>
                    <a:pt x="300957" y="492973"/>
                  </a:lnTo>
                  <a:lnTo>
                    <a:pt x="308329" y="492973"/>
                  </a:lnTo>
                  <a:lnTo>
                    <a:pt x="312025" y="492973"/>
                  </a:lnTo>
                  <a:lnTo>
                    <a:pt x="312025" y="496659"/>
                  </a:lnTo>
                  <a:lnTo>
                    <a:pt x="312025" y="500355"/>
                  </a:lnTo>
                  <a:lnTo>
                    <a:pt x="315711" y="507737"/>
                  </a:lnTo>
                  <a:lnTo>
                    <a:pt x="326779" y="515109"/>
                  </a:lnTo>
                  <a:lnTo>
                    <a:pt x="326779" y="522491"/>
                  </a:lnTo>
                  <a:lnTo>
                    <a:pt x="330465" y="522491"/>
                  </a:lnTo>
                  <a:lnTo>
                    <a:pt x="330465" y="526187"/>
                  </a:lnTo>
                  <a:lnTo>
                    <a:pt x="337847" y="526187"/>
                  </a:lnTo>
                  <a:lnTo>
                    <a:pt x="337847" y="533569"/>
                  </a:lnTo>
                  <a:lnTo>
                    <a:pt x="341533" y="537255"/>
                  </a:lnTo>
                  <a:lnTo>
                    <a:pt x="341533" y="540951"/>
                  </a:lnTo>
                  <a:lnTo>
                    <a:pt x="345219" y="540951"/>
                  </a:lnTo>
                  <a:lnTo>
                    <a:pt x="348915" y="544637"/>
                  </a:lnTo>
                  <a:lnTo>
                    <a:pt x="356287" y="540951"/>
                  </a:lnTo>
                  <a:lnTo>
                    <a:pt x="359983" y="540951"/>
                  </a:lnTo>
                  <a:lnTo>
                    <a:pt x="378424" y="544637"/>
                  </a:lnTo>
                  <a:lnTo>
                    <a:pt x="393187" y="540951"/>
                  </a:lnTo>
                  <a:lnTo>
                    <a:pt x="396873" y="540951"/>
                  </a:lnTo>
                  <a:lnTo>
                    <a:pt x="404255" y="544637"/>
                  </a:lnTo>
                  <a:lnTo>
                    <a:pt x="400560" y="548332"/>
                  </a:lnTo>
                  <a:lnTo>
                    <a:pt x="404255" y="552019"/>
                  </a:lnTo>
                  <a:lnTo>
                    <a:pt x="407942" y="555714"/>
                  </a:lnTo>
                  <a:lnTo>
                    <a:pt x="407942" y="552019"/>
                  </a:lnTo>
                  <a:lnTo>
                    <a:pt x="411628" y="548332"/>
                  </a:lnTo>
                  <a:lnTo>
                    <a:pt x="415314" y="544637"/>
                  </a:lnTo>
                  <a:lnTo>
                    <a:pt x="419010" y="548332"/>
                  </a:lnTo>
                  <a:lnTo>
                    <a:pt x="419010" y="552019"/>
                  </a:lnTo>
                  <a:lnTo>
                    <a:pt x="422696" y="544637"/>
                  </a:lnTo>
                  <a:lnTo>
                    <a:pt x="426382" y="544637"/>
                  </a:lnTo>
                  <a:lnTo>
                    <a:pt x="437450" y="552019"/>
                  </a:lnTo>
                  <a:lnTo>
                    <a:pt x="437450" y="555714"/>
                  </a:lnTo>
                  <a:lnTo>
                    <a:pt x="437450" y="559400"/>
                  </a:lnTo>
                  <a:lnTo>
                    <a:pt x="437450" y="570468"/>
                  </a:lnTo>
                  <a:lnTo>
                    <a:pt x="430078" y="581546"/>
                  </a:lnTo>
                  <a:lnTo>
                    <a:pt x="437450" y="581546"/>
                  </a:lnTo>
                  <a:lnTo>
                    <a:pt x="441146" y="581546"/>
                  </a:lnTo>
                  <a:lnTo>
                    <a:pt x="448518" y="585232"/>
                  </a:lnTo>
                  <a:lnTo>
                    <a:pt x="455900" y="588928"/>
                  </a:lnTo>
                  <a:lnTo>
                    <a:pt x="459586" y="588928"/>
                  </a:lnTo>
                  <a:lnTo>
                    <a:pt x="481722" y="588928"/>
                  </a:lnTo>
                  <a:lnTo>
                    <a:pt x="511240" y="588928"/>
                  </a:lnTo>
                  <a:lnTo>
                    <a:pt x="522308" y="588928"/>
                  </a:lnTo>
                  <a:lnTo>
                    <a:pt x="525994" y="585232"/>
                  </a:lnTo>
                  <a:lnTo>
                    <a:pt x="529680" y="581546"/>
                  </a:lnTo>
                  <a:lnTo>
                    <a:pt x="533376" y="577850"/>
                  </a:lnTo>
                  <a:lnTo>
                    <a:pt x="533376" y="574164"/>
                  </a:lnTo>
                  <a:lnTo>
                    <a:pt x="537062" y="555714"/>
                  </a:lnTo>
                  <a:lnTo>
                    <a:pt x="540749" y="555714"/>
                  </a:lnTo>
                  <a:lnTo>
                    <a:pt x="540749" y="552019"/>
                  </a:lnTo>
                  <a:lnTo>
                    <a:pt x="551817" y="544637"/>
                  </a:lnTo>
                  <a:lnTo>
                    <a:pt x="551817" y="540951"/>
                  </a:lnTo>
                  <a:lnTo>
                    <a:pt x="562885" y="537255"/>
                  </a:lnTo>
                  <a:lnTo>
                    <a:pt x="573953" y="537255"/>
                  </a:lnTo>
                  <a:lnTo>
                    <a:pt x="577639" y="529873"/>
                  </a:lnTo>
                  <a:lnTo>
                    <a:pt x="577639" y="526187"/>
                  </a:lnTo>
                  <a:lnTo>
                    <a:pt x="581335" y="522491"/>
                  </a:lnTo>
                  <a:lnTo>
                    <a:pt x="581335" y="518805"/>
                  </a:lnTo>
                  <a:lnTo>
                    <a:pt x="585021" y="515109"/>
                  </a:lnTo>
                  <a:lnTo>
                    <a:pt x="585021" y="511423"/>
                  </a:lnTo>
                  <a:lnTo>
                    <a:pt x="585021" y="507737"/>
                  </a:lnTo>
                  <a:lnTo>
                    <a:pt x="585021" y="504041"/>
                  </a:lnTo>
                  <a:lnTo>
                    <a:pt x="588707" y="500355"/>
                  </a:lnTo>
                  <a:lnTo>
                    <a:pt x="596089" y="496659"/>
                  </a:lnTo>
                  <a:lnTo>
                    <a:pt x="599775" y="500355"/>
                  </a:lnTo>
                  <a:lnTo>
                    <a:pt x="603471" y="500355"/>
                  </a:lnTo>
                  <a:lnTo>
                    <a:pt x="607157" y="500355"/>
                  </a:lnTo>
                  <a:lnTo>
                    <a:pt x="614539" y="500355"/>
                  </a:lnTo>
                  <a:lnTo>
                    <a:pt x="625597" y="492973"/>
                  </a:lnTo>
                  <a:lnTo>
                    <a:pt x="625597" y="489277"/>
                  </a:lnTo>
                  <a:lnTo>
                    <a:pt x="614539" y="474514"/>
                  </a:lnTo>
                  <a:lnTo>
                    <a:pt x="610843" y="470827"/>
                  </a:lnTo>
                  <a:lnTo>
                    <a:pt x="610843" y="463446"/>
                  </a:lnTo>
                  <a:lnTo>
                    <a:pt x="607157" y="463446"/>
                  </a:lnTo>
                  <a:lnTo>
                    <a:pt x="607157" y="459759"/>
                  </a:lnTo>
                  <a:lnTo>
                    <a:pt x="607157" y="456064"/>
                  </a:lnTo>
                  <a:lnTo>
                    <a:pt x="607157" y="452377"/>
                  </a:lnTo>
                  <a:lnTo>
                    <a:pt x="607157" y="448682"/>
                  </a:lnTo>
                  <a:lnTo>
                    <a:pt x="610843" y="437614"/>
                  </a:lnTo>
                  <a:lnTo>
                    <a:pt x="610843" y="433918"/>
                  </a:lnTo>
                  <a:lnTo>
                    <a:pt x="614539" y="433918"/>
                  </a:lnTo>
                  <a:lnTo>
                    <a:pt x="614539" y="430232"/>
                  </a:lnTo>
                  <a:lnTo>
                    <a:pt x="618225" y="430232"/>
                  </a:lnTo>
                  <a:lnTo>
                    <a:pt x="618225" y="426536"/>
                  </a:lnTo>
                  <a:lnTo>
                    <a:pt x="618225" y="422850"/>
                  </a:lnTo>
                  <a:lnTo>
                    <a:pt x="621911" y="415468"/>
                  </a:lnTo>
                  <a:lnTo>
                    <a:pt x="621911" y="411782"/>
                  </a:lnTo>
                  <a:lnTo>
                    <a:pt x="629293" y="400704"/>
                  </a:lnTo>
                  <a:lnTo>
                    <a:pt x="629293" y="382253"/>
                  </a:lnTo>
                  <a:lnTo>
                    <a:pt x="621911" y="367491"/>
                  </a:lnTo>
                  <a:lnTo>
                    <a:pt x="621911" y="363801"/>
                  </a:lnTo>
                  <a:lnTo>
                    <a:pt x="621911" y="360110"/>
                  </a:lnTo>
                  <a:lnTo>
                    <a:pt x="618225" y="360110"/>
                  </a:lnTo>
                  <a:lnTo>
                    <a:pt x="614539" y="360110"/>
                  </a:lnTo>
                  <a:lnTo>
                    <a:pt x="610843" y="360110"/>
                  </a:lnTo>
                  <a:lnTo>
                    <a:pt x="607157" y="352729"/>
                  </a:lnTo>
                  <a:lnTo>
                    <a:pt x="603471" y="345348"/>
                  </a:lnTo>
                  <a:lnTo>
                    <a:pt x="596089" y="337967"/>
                  </a:lnTo>
                  <a:lnTo>
                    <a:pt x="596089" y="334276"/>
                  </a:lnTo>
                  <a:lnTo>
                    <a:pt x="592403" y="326895"/>
                  </a:lnTo>
                  <a:lnTo>
                    <a:pt x="592403" y="319514"/>
                  </a:lnTo>
                  <a:lnTo>
                    <a:pt x="588707" y="312132"/>
                  </a:lnTo>
                  <a:lnTo>
                    <a:pt x="588707" y="308442"/>
                  </a:lnTo>
                  <a:lnTo>
                    <a:pt x="585021" y="308442"/>
                  </a:lnTo>
                  <a:lnTo>
                    <a:pt x="581335" y="308442"/>
                  </a:lnTo>
                  <a:lnTo>
                    <a:pt x="577639" y="315823"/>
                  </a:lnTo>
                  <a:lnTo>
                    <a:pt x="573953" y="326895"/>
                  </a:lnTo>
                  <a:lnTo>
                    <a:pt x="566571" y="330585"/>
                  </a:lnTo>
                  <a:lnTo>
                    <a:pt x="566571" y="334276"/>
                  </a:lnTo>
                  <a:lnTo>
                    <a:pt x="562885" y="334276"/>
                  </a:lnTo>
                  <a:lnTo>
                    <a:pt x="544444" y="330585"/>
                  </a:lnTo>
                  <a:lnTo>
                    <a:pt x="537062" y="326895"/>
                  </a:lnTo>
                  <a:lnTo>
                    <a:pt x="525994" y="323204"/>
                  </a:lnTo>
                  <a:lnTo>
                    <a:pt x="518612" y="323204"/>
                  </a:lnTo>
                  <a:lnTo>
                    <a:pt x="522308" y="315823"/>
                  </a:lnTo>
                  <a:lnTo>
                    <a:pt x="514926" y="315823"/>
                  </a:lnTo>
                  <a:lnTo>
                    <a:pt x="503858" y="315823"/>
                  </a:lnTo>
                  <a:lnTo>
                    <a:pt x="481722" y="315823"/>
                  </a:lnTo>
                  <a:lnTo>
                    <a:pt x="474350" y="315823"/>
                  </a:lnTo>
                  <a:lnTo>
                    <a:pt x="470654" y="312132"/>
                  </a:lnTo>
                  <a:lnTo>
                    <a:pt x="455900" y="304751"/>
                  </a:lnTo>
                  <a:lnTo>
                    <a:pt x="452214" y="301060"/>
                  </a:lnTo>
                  <a:lnTo>
                    <a:pt x="444832" y="297371"/>
                  </a:lnTo>
                  <a:lnTo>
                    <a:pt x="448518" y="267846"/>
                  </a:lnTo>
                  <a:lnTo>
                    <a:pt x="441146" y="256774"/>
                  </a:lnTo>
                  <a:lnTo>
                    <a:pt x="433764" y="242012"/>
                  </a:lnTo>
                  <a:lnTo>
                    <a:pt x="437450" y="242012"/>
                  </a:lnTo>
                  <a:lnTo>
                    <a:pt x="444832" y="245702"/>
                  </a:lnTo>
                  <a:lnTo>
                    <a:pt x="452214" y="245702"/>
                  </a:lnTo>
                  <a:lnTo>
                    <a:pt x="455900" y="234630"/>
                  </a:lnTo>
                  <a:lnTo>
                    <a:pt x="463282" y="234630"/>
                  </a:lnTo>
                  <a:lnTo>
                    <a:pt x="470654" y="238321"/>
                  </a:lnTo>
                  <a:lnTo>
                    <a:pt x="474350" y="234630"/>
                  </a:lnTo>
                  <a:lnTo>
                    <a:pt x="452214" y="216178"/>
                  </a:lnTo>
                  <a:lnTo>
                    <a:pt x="452214" y="208797"/>
                  </a:lnTo>
                  <a:lnTo>
                    <a:pt x="455900" y="194035"/>
                  </a:lnTo>
                  <a:lnTo>
                    <a:pt x="455900" y="190344"/>
                  </a:lnTo>
                  <a:lnTo>
                    <a:pt x="452214" y="186653"/>
                  </a:lnTo>
                  <a:lnTo>
                    <a:pt x="448518" y="182963"/>
                  </a:lnTo>
                  <a:lnTo>
                    <a:pt x="444832" y="182963"/>
                  </a:lnTo>
                  <a:lnTo>
                    <a:pt x="444832" y="179272"/>
                  </a:lnTo>
                  <a:lnTo>
                    <a:pt x="444832" y="175582"/>
                  </a:lnTo>
                  <a:lnTo>
                    <a:pt x="444832" y="171891"/>
                  </a:lnTo>
                  <a:lnTo>
                    <a:pt x="448518" y="168200"/>
                  </a:lnTo>
                  <a:lnTo>
                    <a:pt x="444832" y="164510"/>
                  </a:lnTo>
                  <a:lnTo>
                    <a:pt x="437450" y="164510"/>
                  </a:lnTo>
                  <a:lnTo>
                    <a:pt x="422696" y="157129"/>
                  </a:lnTo>
                  <a:lnTo>
                    <a:pt x="415314" y="153438"/>
                  </a:lnTo>
                  <a:lnTo>
                    <a:pt x="407942" y="149747"/>
                  </a:lnTo>
                  <a:lnTo>
                    <a:pt x="400560" y="146057"/>
                  </a:lnTo>
                  <a:lnTo>
                    <a:pt x="400560" y="149747"/>
                  </a:lnTo>
                  <a:lnTo>
                    <a:pt x="396873" y="149747"/>
                  </a:lnTo>
                  <a:lnTo>
                    <a:pt x="385805" y="153438"/>
                  </a:lnTo>
                  <a:lnTo>
                    <a:pt x="371051" y="153438"/>
                  </a:lnTo>
                  <a:lnTo>
                    <a:pt x="367355" y="157129"/>
                  </a:lnTo>
                  <a:lnTo>
                    <a:pt x="359983" y="164510"/>
                  </a:lnTo>
                  <a:lnTo>
                    <a:pt x="352601" y="171891"/>
                  </a:lnTo>
                  <a:lnTo>
                    <a:pt x="356287" y="194035"/>
                  </a:lnTo>
                  <a:lnTo>
                    <a:pt x="356287" y="197725"/>
                  </a:lnTo>
                  <a:lnTo>
                    <a:pt x="352601" y="197725"/>
                  </a:lnTo>
                  <a:lnTo>
                    <a:pt x="348915" y="194035"/>
                  </a:lnTo>
                  <a:lnTo>
                    <a:pt x="345219" y="194035"/>
                  </a:lnTo>
                  <a:lnTo>
                    <a:pt x="337847" y="194035"/>
                  </a:lnTo>
                  <a:lnTo>
                    <a:pt x="334161" y="190344"/>
                  </a:lnTo>
                  <a:lnTo>
                    <a:pt x="330465" y="186653"/>
                  </a:lnTo>
                  <a:lnTo>
                    <a:pt x="330465" y="190344"/>
                  </a:lnTo>
                  <a:lnTo>
                    <a:pt x="326779" y="194035"/>
                  </a:lnTo>
                  <a:lnTo>
                    <a:pt x="323093" y="197725"/>
                  </a:lnTo>
                  <a:lnTo>
                    <a:pt x="319397" y="194035"/>
                  </a:lnTo>
                  <a:lnTo>
                    <a:pt x="315711" y="194035"/>
                  </a:lnTo>
                  <a:lnTo>
                    <a:pt x="315711" y="190344"/>
                  </a:lnTo>
                  <a:lnTo>
                    <a:pt x="315711" y="186653"/>
                  </a:lnTo>
                  <a:lnTo>
                    <a:pt x="312025" y="186653"/>
                  </a:lnTo>
                  <a:lnTo>
                    <a:pt x="308329" y="190344"/>
                  </a:lnTo>
                  <a:lnTo>
                    <a:pt x="308329" y="194035"/>
                  </a:lnTo>
                  <a:lnTo>
                    <a:pt x="304643" y="194035"/>
                  </a:lnTo>
                  <a:lnTo>
                    <a:pt x="304643" y="190344"/>
                  </a:lnTo>
                  <a:lnTo>
                    <a:pt x="300957" y="190344"/>
                  </a:lnTo>
                  <a:lnTo>
                    <a:pt x="300957" y="194035"/>
                  </a:lnTo>
                  <a:lnTo>
                    <a:pt x="297261" y="194035"/>
                  </a:lnTo>
                  <a:lnTo>
                    <a:pt x="293575" y="194035"/>
                  </a:lnTo>
                  <a:lnTo>
                    <a:pt x="293575" y="197725"/>
                  </a:lnTo>
                  <a:lnTo>
                    <a:pt x="289889" y="197725"/>
                  </a:lnTo>
                  <a:lnTo>
                    <a:pt x="286193" y="194035"/>
                  </a:lnTo>
                  <a:lnTo>
                    <a:pt x="286193" y="186653"/>
                  </a:lnTo>
                  <a:lnTo>
                    <a:pt x="282507" y="182963"/>
                  </a:lnTo>
                  <a:lnTo>
                    <a:pt x="282507" y="179272"/>
                  </a:lnTo>
                  <a:lnTo>
                    <a:pt x="278821" y="179272"/>
                  </a:lnTo>
                  <a:lnTo>
                    <a:pt x="278821" y="175582"/>
                  </a:lnTo>
                  <a:lnTo>
                    <a:pt x="278821" y="171891"/>
                  </a:lnTo>
                  <a:lnTo>
                    <a:pt x="275125" y="171891"/>
                  </a:lnTo>
                  <a:lnTo>
                    <a:pt x="271439" y="168200"/>
                  </a:lnTo>
                  <a:lnTo>
                    <a:pt x="267753" y="168200"/>
                  </a:lnTo>
                  <a:lnTo>
                    <a:pt x="264066" y="164510"/>
                  </a:lnTo>
                  <a:lnTo>
                    <a:pt x="264066" y="160819"/>
                  </a:lnTo>
                  <a:lnTo>
                    <a:pt x="260371" y="160819"/>
                  </a:lnTo>
                  <a:lnTo>
                    <a:pt x="260371" y="157129"/>
                  </a:lnTo>
                  <a:lnTo>
                    <a:pt x="264066" y="157129"/>
                  </a:lnTo>
                  <a:lnTo>
                    <a:pt x="264066" y="153438"/>
                  </a:lnTo>
                  <a:lnTo>
                    <a:pt x="260371" y="153438"/>
                  </a:lnTo>
                  <a:lnTo>
                    <a:pt x="256684" y="153438"/>
                  </a:lnTo>
                  <a:lnTo>
                    <a:pt x="252998" y="157129"/>
                  </a:lnTo>
                  <a:lnTo>
                    <a:pt x="249303" y="157129"/>
                  </a:lnTo>
                  <a:lnTo>
                    <a:pt x="245616" y="157129"/>
                  </a:lnTo>
                  <a:lnTo>
                    <a:pt x="241930" y="157129"/>
                  </a:lnTo>
                  <a:lnTo>
                    <a:pt x="241930" y="153438"/>
                  </a:lnTo>
                  <a:lnTo>
                    <a:pt x="238235" y="153438"/>
                  </a:lnTo>
                  <a:lnTo>
                    <a:pt x="238235" y="157129"/>
                  </a:lnTo>
                  <a:lnTo>
                    <a:pt x="234548" y="157129"/>
                  </a:lnTo>
                  <a:lnTo>
                    <a:pt x="230862" y="157129"/>
                  </a:lnTo>
                  <a:lnTo>
                    <a:pt x="230862" y="153438"/>
                  </a:lnTo>
                  <a:lnTo>
                    <a:pt x="227166" y="153438"/>
                  </a:lnTo>
                  <a:lnTo>
                    <a:pt x="223480" y="149747"/>
                  </a:lnTo>
                  <a:lnTo>
                    <a:pt x="223480" y="146057"/>
                  </a:lnTo>
                  <a:lnTo>
                    <a:pt x="219794" y="146057"/>
                  </a:lnTo>
                  <a:lnTo>
                    <a:pt x="216098" y="146057"/>
                  </a:lnTo>
                  <a:lnTo>
                    <a:pt x="212412" y="146057"/>
                  </a:lnTo>
                  <a:lnTo>
                    <a:pt x="212412" y="142366"/>
                  </a:lnTo>
                  <a:lnTo>
                    <a:pt x="208726" y="142366"/>
                  </a:lnTo>
                  <a:lnTo>
                    <a:pt x="205030" y="142366"/>
                  </a:lnTo>
                  <a:lnTo>
                    <a:pt x="201344" y="142366"/>
                  </a:lnTo>
                  <a:lnTo>
                    <a:pt x="197658" y="146057"/>
                  </a:lnTo>
                  <a:lnTo>
                    <a:pt x="197658" y="149747"/>
                  </a:lnTo>
                  <a:lnTo>
                    <a:pt x="193962" y="146057"/>
                  </a:lnTo>
                  <a:lnTo>
                    <a:pt x="193962" y="142366"/>
                  </a:lnTo>
                  <a:lnTo>
                    <a:pt x="190276" y="146057"/>
                  </a:lnTo>
                  <a:lnTo>
                    <a:pt x="193962" y="149747"/>
                  </a:lnTo>
                  <a:lnTo>
                    <a:pt x="182904" y="146057"/>
                  </a:lnTo>
                  <a:lnTo>
                    <a:pt x="186590" y="142366"/>
                  </a:lnTo>
                  <a:lnTo>
                    <a:pt x="186590" y="138675"/>
                  </a:lnTo>
                  <a:lnTo>
                    <a:pt x="179208" y="134985"/>
                  </a:lnTo>
                  <a:lnTo>
                    <a:pt x="179208" y="131295"/>
                  </a:lnTo>
                  <a:lnTo>
                    <a:pt x="171836" y="120223"/>
                  </a:lnTo>
                  <a:lnTo>
                    <a:pt x="171836" y="116533"/>
                  </a:lnTo>
                  <a:lnTo>
                    <a:pt x="171836" y="112842"/>
                  </a:lnTo>
                  <a:lnTo>
                    <a:pt x="168140" y="105461"/>
                  </a:lnTo>
                  <a:lnTo>
                    <a:pt x="164454" y="98080"/>
                  </a:lnTo>
                  <a:lnTo>
                    <a:pt x="160768" y="90698"/>
                  </a:lnTo>
                  <a:lnTo>
                    <a:pt x="160768" y="87008"/>
                  </a:lnTo>
                  <a:lnTo>
                    <a:pt x="164454" y="87008"/>
                  </a:lnTo>
                  <a:lnTo>
                    <a:pt x="168140" y="83317"/>
                  </a:lnTo>
                  <a:lnTo>
                    <a:pt x="179208" y="79627"/>
                  </a:lnTo>
                  <a:lnTo>
                    <a:pt x="182904" y="75936"/>
                  </a:lnTo>
                  <a:lnTo>
                    <a:pt x="186590" y="75936"/>
                  </a:lnTo>
                  <a:lnTo>
                    <a:pt x="186590" y="72246"/>
                  </a:lnTo>
                  <a:lnTo>
                    <a:pt x="193962" y="64864"/>
                  </a:lnTo>
                  <a:lnTo>
                    <a:pt x="197658" y="61174"/>
                  </a:lnTo>
                  <a:lnTo>
                    <a:pt x="201344" y="53792"/>
                  </a:lnTo>
                  <a:lnTo>
                    <a:pt x="197658" y="53792"/>
                  </a:lnTo>
                  <a:lnTo>
                    <a:pt x="193962" y="46412"/>
                  </a:lnTo>
                  <a:lnTo>
                    <a:pt x="190276" y="42722"/>
                  </a:lnTo>
                  <a:lnTo>
                    <a:pt x="186590" y="39031"/>
                  </a:lnTo>
                  <a:lnTo>
                    <a:pt x="179208" y="31650"/>
                  </a:lnTo>
                  <a:lnTo>
                    <a:pt x="175522" y="27959"/>
                  </a:lnTo>
                  <a:lnTo>
                    <a:pt x="164454" y="16887"/>
                  </a:lnTo>
                  <a:lnTo>
                    <a:pt x="164454" y="13197"/>
                  </a:lnTo>
                  <a:lnTo>
                    <a:pt x="160768" y="5815"/>
                  </a:lnTo>
                  <a:close/>
                  <a:moveTo>
                    <a:pt x="186590" y="507737"/>
                  </a:moveTo>
                  <a:lnTo>
                    <a:pt x="186590" y="511423"/>
                  </a:lnTo>
                  <a:lnTo>
                    <a:pt x="186590" y="515109"/>
                  </a:lnTo>
                  <a:lnTo>
                    <a:pt x="190276" y="511423"/>
                  </a:lnTo>
                  <a:lnTo>
                    <a:pt x="186590" y="507737"/>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24" name="Freeform: Shape 23">
              <a:extLst>
                <a:ext uri="{FF2B5EF4-FFF2-40B4-BE49-F238E27FC236}">
                  <a16:creationId xmlns:a16="http://schemas.microsoft.com/office/drawing/2014/main" id="{63572D87-6DD6-450F-AF38-BA949310D486}"/>
                </a:ext>
              </a:extLst>
            </p:cNvPr>
            <p:cNvSpPr/>
            <p:nvPr/>
          </p:nvSpPr>
          <p:spPr>
            <a:xfrm>
              <a:off x="5401604" y="3035721"/>
              <a:ext cx="2042957" cy="1425814"/>
            </a:xfrm>
            <a:custGeom>
              <a:avLst/>
              <a:gdLst>
                <a:gd name="connsiteX0" fmla="*/ 437447 w 914400"/>
                <a:gd name="connsiteY0" fmla="*/ 5812 h 638175"/>
                <a:gd name="connsiteX1" fmla="*/ 430065 w 914400"/>
                <a:gd name="connsiteY1" fmla="*/ 9502 h 638175"/>
                <a:gd name="connsiteX2" fmla="*/ 430065 w 914400"/>
                <a:gd name="connsiteY2" fmla="*/ 13193 h 638175"/>
                <a:gd name="connsiteX3" fmla="*/ 426379 w 914400"/>
                <a:gd name="connsiteY3" fmla="*/ 24264 h 638175"/>
                <a:gd name="connsiteX4" fmla="*/ 422693 w 914400"/>
                <a:gd name="connsiteY4" fmla="*/ 31645 h 638175"/>
                <a:gd name="connsiteX5" fmla="*/ 422693 w 914400"/>
                <a:gd name="connsiteY5" fmla="*/ 35335 h 638175"/>
                <a:gd name="connsiteX6" fmla="*/ 422693 w 914400"/>
                <a:gd name="connsiteY6" fmla="*/ 39026 h 638175"/>
                <a:gd name="connsiteX7" fmla="*/ 418998 w 914400"/>
                <a:gd name="connsiteY7" fmla="*/ 46407 h 638175"/>
                <a:gd name="connsiteX8" fmla="*/ 418998 w 914400"/>
                <a:gd name="connsiteY8" fmla="*/ 50098 h 638175"/>
                <a:gd name="connsiteX9" fmla="*/ 418998 w 914400"/>
                <a:gd name="connsiteY9" fmla="*/ 53789 h 638175"/>
                <a:gd name="connsiteX10" fmla="*/ 415311 w 914400"/>
                <a:gd name="connsiteY10" fmla="*/ 50098 h 638175"/>
                <a:gd name="connsiteX11" fmla="*/ 415311 w 914400"/>
                <a:gd name="connsiteY11" fmla="*/ 57479 h 638175"/>
                <a:gd name="connsiteX12" fmla="*/ 411625 w 914400"/>
                <a:gd name="connsiteY12" fmla="*/ 57479 h 638175"/>
                <a:gd name="connsiteX13" fmla="*/ 411625 w 914400"/>
                <a:gd name="connsiteY13" fmla="*/ 53789 h 638175"/>
                <a:gd name="connsiteX14" fmla="*/ 411625 w 914400"/>
                <a:gd name="connsiteY14" fmla="*/ 50098 h 638175"/>
                <a:gd name="connsiteX15" fmla="*/ 407929 w 914400"/>
                <a:gd name="connsiteY15" fmla="*/ 57479 h 638175"/>
                <a:gd name="connsiteX16" fmla="*/ 407929 w 914400"/>
                <a:gd name="connsiteY16" fmla="*/ 61170 h 638175"/>
                <a:gd name="connsiteX17" fmla="*/ 411625 w 914400"/>
                <a:gd name="connsiteY17" fmla="*/ 61170 h 638175"/>
                <a:gd name="connsiteX18" fmla="*/ 411625 w 914400"/>
                <a:gd name="connsiteY18" fmla="*/ 64860 h 638175"/>
                <a:gd name="connsiteX19" fmla="*/ 407929 w 914400"/>
                <a:gd name="connsiteY19" fmla="*/ 64860 h 638175"/>
                <a:gd name="connsiteX20" fmla="*/ 411625 w 914400"/>
                <a:gd name="connsiteY20" fmla="*/ 68551 h 638175"/>
                <a:gd name="connsiteX21" fmla="*/ 407929 w 914400"/>
                <a:gd name="connsiteY21" fmla="*/ 72242 h 638175"/>
                <a:gd name="connsiteX22" fmla="*/ 404243 w 914400"/>
                <a:gd name="connsiteY22" fmla="*/ 75932 h 638175"/>
                <a:gd name="connsiteX23" fmla="*/ 393175 w 914400"/>
                <a:gd name="connsiteY23" fmla="*/ 87004 h 638175"/>
                <a:gd name="connsiteX24" fmla="*/ 385793 w 914400"/>
                <a:gd name="connsiteY24" fmla="*/ 94385 h 638175"/>
                <a:gd name="connsiteX25" fmla="*/ 378421 w 914400"/>
                <a:gd name="connsiteY25" fmla="*/ 98075 h 638175"/>
                <a:gd name="connsiteX26" fmla="*/ 378421 w 914400"/>
                <a:gd name="connsiteY26" fmla="*/ 101766 h 638175"/>
                <a:gd name="connsiteX27" fmla="*/ 374725 w 914400"/>
                <a:gd name="connsiteY27" fmla="*/ 101766 h 638175"/>
                <a:gd name="connsiteX28" fmla="*/ 371039 w 914400"/>
                <a:gd name="connsiteY28" fmla="*/ 105456 h 638175"/>
                <a:gd name="connsiteX29" fmla="*/ 367353 w 914400"/>
                <a:gd name="connsiteY29" fmla="*/ 105456 h 638175"/>
                <a:gd name="connsiteX30" fmla="*/ 363667 w 914400"/>
                <a:gd name="connsiteY30" fmla="*/ 109147 h 638175"/>
                <a:gd name="connsiteX31" fmla="*/ 363667 w 914400"/>
                <a:gd name="connsiteY31" fmla="*/ 112837 h 638175"/>
                <a:gd name="connsiteX32" fmla="*/ 359971 w 914400"/>
                <a:gd name="connsiteY32" fmla="*/ 112837 h 638175"/>
                <a:gd name="connsiteX33" fmla="*/ 359971 w 914400"/>
                <a:gd name="connsiteY33" fmla="*/ 116528 h 638175"/>
                <a:gd name="connsiteX34" fmla="*/ 356285 w 914400"/>
                <a:gd name="connsiteY34" fmla="*/ 116528 h 638175"/>
                <a:gd name="connsiteX35" fmla="*/ 352599 w 914400"/>
                <a:gd name="connsiteY35" fmla="*/ 116528 h 638175"/>
                <a:gd name="connsiteX36" fmla="*/ 345217 w 914400"/>
                <a:gd name="connsiteY36" fmla="*/ 120218 h 638175"/>
                <a:gd name="connsiteX37" fmla="*/ 341531 w 914400"/>
                <a:gd name="connsiteY37" fmla="*/ 123909 h 638175"/>
                <a:gd name="connsiteX38" fmla="*/ 337835 w 914400"/>
                <a:gd name="connsiteY38" fmla="*/ 123909 h 638175"/>
                <a:gd name="connsiteX39" fmla="*/ 334149 w 914400"/>
                <a:gd name="connsiteY39" fmla="*/ 127597 h 638175"/>
                <a:gd name="connsiteX40" fmla="*/ 326767 w 914400"/>
                <a:gd name="connsiteY40" fmla="*/ 131293 h 638175"/>
                <a:gd name="connsiteX41" fmla="*/ 323081 w 914400"/>
                <a:gd name="connsiteY41" fmla="*/ 131293 h 638175"/>
                <a:gd name="connsiteX42" fmla="*/ 319395 w 914400"/>
                <a:gd name="connsiteY42" fmla="*/ 134979 h 638175"/>
                <a:gd name="connsiteX43" fmla="*/ 315699 w 914400"/>
                <a:gd name="connsiteY43" fmla="*/ 138675 h 638175"/>
                <a:gd name="connsiteX44" fmla="*/ 315699 w 914400"/>
                <a:gd name="connsiteY44" fmla="*/ 142361 h 638175"/>
                <a:gd name="connsiteX45" fmla="*/ 312013 w 914400"/>
                <a:gd name="connsiteY45" fmla="*/ 142361 h 638175"/>
                <a:gd name="connsiteX46" fmla="*/ 308326 w 914400"/>
                <a:gd name="connsiteY46" fmla="*/ 142361 h 638175"/>
                <a:gd name="connsiteX47" fmla="*/ 308326 w 914400"/>
                <a:gd name="connsiteY47" fmla="*/ 146057 h 638175"/>
                <a:gd name="connsiteX48" fmla="*/ 308326 w 914400"/>
                <a:gd name="connsiteY48" fmla="*/ 149743 h 638175"/>
                <a:gd name="connsiteX49" fmla="*/ 304631 w 914400"/>
                <a:gd name="connsiteY49" fmla="*/ 149743 h 638175"/>
                <a:gd name="connsiteX50" fmla="*/ 304631 w 914400"/>
                <a:gd name="connsiteY50" fmla="*/ 153439 h 638175"/>
                <a:gd name="connsiteX51" fmla="*/ 300945 w 914400"/>
                <a:gd name="connsiteY51" fmla="*/ 153439 h 638175"/>
                <a:gd name="connsiteX52" fmla="*/ 300945 w 914400"/>
                <a:gd name="connsiteY52" fmla="*/ 157125 h 638175"/>
                <a:gd name="connsiteX53" fmla="*/ 297258 w 914400"/>
                <a:gd name="connsiteY53" fmla="*/ 157125 h 638175"/>
                <a:gd name="connsiteX54" fmla="*/ 297258 w 914400"/>
                <a:gd name="connsiteY54" fmla="*/ 160811 h 638175"/>
                <a:gd name="connsiteX55" fmla="*/ 289877 w 914400"/>
                <a:gd name="connsiteY55" fmla="*/ 164507 h 638175"/>
                <a:gd name="connsiteX56" fmla="*/ 286190 w 914400"/>
                <a:gd name="connsiteY56" fmla="*/ 168193 h 638175"/>
                <a:gd name="connsiteX57" fmla="*/ 282504 w 914400"/>
                <a:gd name="connsiteY57" fmla="*/ 171889 h 638175"/>
                <a:gd name="connsiteX58" fmla="*/ 282504 w 914400"/>
                <a:gd name="connsiteY58" fmla="*/ 175575 h 638175"/>
                <a:gd name="connsiteX59" fmla="*/ 278808 w 914400"/>
                <a:gd name="connsiteY59" fmla="*/ 182957 h 638175"/>
                <a:gd name="connsiteX60" fmla="*/ 278808 w 914400"/>
                <a:gd name="connsiteY60" fmla="*/ 190338 h 638175"/>
                <a:gd name="connsiteX61" fmla="*/ 275122 w 914400"/>
                <a:gd name="connsiteY61" fmla="*/ 197720 h 638175"/>
                <a:gd name="connsiteX62" fmla="*/ 275122 w 914400"/>
                <a:gd name="connsiteY62" fmla="*/ 201407 h 638175"/>
                <a:gd name="connsiteX63" fmla="*/ 271436 w 914400"/>
                <a:gd name="connsiteY63" fmla="*/ 208788 h 638175"/>
                <a:gd name="connsiteX64" fmla="*/ 267740 w 914400"/>
                <a:gd name="connsiteY64" fmla="*/ 212484 h 638175"/>
                <a:gd name="connsiteX65" fmla="*/ 252986 w 914400"/>
                <a:gd name="connsiteY65" fmla="*/ 212484 h 638175"/>
                <a:gd name="connsiteX66" fmla="*/ 249300 w 914400"/>
                <a:gd name="connsiteY66" fmla="*/ 212484 h 638175"/>
                <a:gd name="connsiteX67" fmla="*/ 241918 w 914400"/>
                <a:gd name="connsiteY67" fmla="*/ 219866 h 638175"/>
                <a:gd name="connsiteX68" fmla="*/ 238232 w 914400"/>
                <a:gd name="connsiteY68" fmla="*/ 216170 h 638175"/>
                <a:gd name="connsiteX69" fmla="*/ 234536 w 914400"/>
                <a:gd name="connsiteY69" fmla="*/ 219866 h 638175"/>
                <a:gd name="connsiteX70" fmla="*/ 223478 w 914400"/>
                <a:gd name="connsiteY70" fmla="*/ 223552 h 638175"/>
                <a:gd name="connsiteX71" fmla="*/ 216096 w 914400"/>
                <a:gd name="connsiteY71" fmla="*/ 223552 h 638175"/>
                <a:gd name="connsiteX72" fmla="*/ 212410 w 914400"/>
                <a:gd name="connsiteY72" fmla="*/ 227248 h 638175"/>
                <a:gd name="connsiteX73" fmla="*/ 205028 w 914400"/>
                <a:gd name="connsiteY73" fmla="*/ 227248 h 638175"/>
                <a:gd name="connsiteX74" fmla="*/ 201342 w 914400"/>
                <a:gd name="connsiteY74" fmla="*/ 245698 h 638175"/>
                <a:gd name="connsiteX75" fmla="*/ 201342 w 914400"/>
                <a:gd name="connsiteY75" fmla="*/ 249384 h 638175"/>
                <a:gd name="connsiteX76" fmla="*/ 208714 w 914400"/>
                <a:gd name="connsiteY76" fmla="*/ 253080 h 638175"/>
                <a:gd name="connsiteX77" fmla="*/ 208714 w 914400"/>
                <a:gd name="connsiteY77" fmla="*/ 249384 h 638175"/>
                <a:gd name="connsiteX78" fmla="*/ 223478 w 914400"/>
                <a:gd name="connsiteY78" fmla="*/ 260461 h 638175"/>
                <a:gd name="connsiteX79" fmla="*/ 223478 w 914400"/>
                <a:gd name="connsiteY79" fmla="*/ 264148 h 638175"/>
                <a:gd name="connsiteX80" fmla="*/ 223478 w 914400"/>
                <a:gd name="connsiteY80" fmla="*/ 267843 h 638175"/>
                <a:gd name="connsiteX81" fmla="*/ 223478 w 914400"/>
                <a:gd name="connsiteY81" fmla="*/ 271530 h 638175"/>
                <a:gd name="connsiteX82" fmla="*/ 223478 w 914400"/>
                <a:gd name="connsiteY82" fmla="*/ 275225 h 638175"/>
                <a:gd name="connsiteX83" fmla="*/ 223478 w 914400"/>
                <a:gd name="connsiteY83" fmla="*/ 286293 h 638175"/>
                <a:gd name="connsiteX84" fmla="*/ 227164 w 914400"/>
                <a:gd name="connsiteY84" fmla="*/ 289989 h 638175"/>
                <a:gd name="connsiteX85" fmla="*/ 245604 w 914400"/>
                <a:gd name="connsiteY85" fmla="*/ 289989 h 638175"/>
                <a:gd name="connsiteX86" fmla="*/ 245604 w 914400"/>
                <a:gd name="connsiteY86" fmla="*/ 293675 h 638175"/>
                <a:gd name="connsiteX87" fmla="*/ 241918 w 914400"/>
                <a:gd name="connsiteY87" fmla="*/ 293675 h 638175"/>
                <a:gd name="connsiteX88" fmla="*/ 245604 w 914400"/>
                <a:gd name="connsiteY88" fmla="*/ 297361 h 638175"/>
                <a:gd name="connsiteX89" fmla="*/ 245604 w 914400"/>
                <a:gd name="connsiteY89" fmla="*/ 301057 h 638175"/>
                <a:gd name="connsiteX90" fmla="*/ 245604 w 914400"/>
                <a:gd name="connsiteY90" fmla="*/ 304743 h 638175"/>
                <a:gd name="connsiteX91" fmla="*/ 249300 w 914400"/>
                <a:gd name="connsiteY91" fmla="*/ 304743 h 638175"/>
                <a:gd name="connsiteX92" fmla="*/ 252986 w 914400"/>
                <a:gd name="connsiteY92" fmla="*/ 304743 h 638175"/>
                <a:gd name="connsiteX93" fmla="*/ 252986 w 914400"/>
                <a:gd name="connsiteY93" fmla="*/ 312125 h 638175"/>
                <a:gd name="connsiteX94" fmla="*/ 260368 w 914400"/>
                <a:gd name="connsiteY94" fmla="*/ 312125 h 638175"/>
                <a:gd name="connsiteX95" fmla="*/ 260368 w 914400"/>
                <a:gd name="connsiteY95" fmla="*/ 315821 h 638175"/>
                <a:gd name="connsiteX96" fmla="*/ 260368 w 914400"/>
                <a:gd name="connsiteY96" fmla="*/ 319507 h 638175"/>
                <a:gd name="connsiteX97" fmla="*/ 252986 w 914400"/>
                <a:gd name="connsiteY97" fmla="*/ 319507 h 638175"/>
                <a:gd name="connsiteX98" fmla="*/ 252986 w 914400"/>
                <a:gd name="connsiteY98" fmla="*/ 323203 h 638175"/>
                <a:gd name="connsiteX99" fmla="*/ 252986 w 914400"/>
                <a:gd name="connsiteY99" fmla="*/ 326889 h 638175"/>
                <a:gd name="connsiteX100" fmla="*/ 256672 w 914400"/>
                <a:gd name="connsiteY100" fmla="*/ 326889 h 638175"/>
                <a:gd name="connsiteX101" fmla="*/ 256672 w 914400"/>
                <a:gd name="connsiteY101" fmla="*/ 330585 h 638175"/>
                <a:gd name="connsiteX102" fmla="*/ 252986 w 914400"/>
                <a:gd name="connsiteY102" fmla="*/ 330585 h 638175"/>
                <a:gd name="connsiteX103" fmla="*/ 249300 w 914400"/>
                <a:gd name="connsiteY103" fmla="*/ 330585 h 638175"/>
                <a:gd name="connsiteX104" fmla="*/ 249300 w 914400"/>
                <a:gd name="connsiteY104" fmla="*/ 334271 h 638175"/>
                <a:gd name="connsiteX105" fmla="*/ 245604 w 914400"/>
                <a:gd name="connsiteY105" fmla="*/ 337966 h 638175"/>
                <a:gd name="connsiteX106" fmla="*/ 245604 w 914400"/>
                <a:gd name="connsiteY106" fmla="*/ 345339 h 638175"/>
                <a:gd name="connsiteX107" fmla="*/ 245604 w 914400"/>
                <a:gd name="connsiteY107" fmla="*/ 349035 h 638175"/>
                <a:gd name="connsiteX108" fmla="*/ 241918 w 914400"/>
                <a:gd name="connsiteY108" fmla="*/ 352721 h 638175"/>
                <a:gd name="connsiteX109" fmla="*/ 238232 w 914400"/>
                <a:gd name="connsiteY109" fmla="*/ 356416 h 638175"/>
                <a:gd name="connsiteX110" fmla="*/ 234536 w 914400"/>
                <a:gd name="connsiteY110" fmla="*/ 356416 h 638175"/>
                <a:gd name="connsiteX111" fmla="*/ 234536 w 914400"/>
                <a:gd name="connsiteY111" fmla="*/ 360103 h 638175"/>
                <a:gd name="connsiteX112" fmla="*/ 238232 w 914400"/>
                <a:gd name="connsiteY112" fmla="*/ 363798 h 638175"/>
                <a:gd name="connsiteX113" fmla="*/ 245604 w 914400"/>
                <a:gd name="connsiteY113" fmla="*/ 367484 h 638175"/>
                <a:gd name="connsiteX114" fmla="*/ 249300 w 914400"/>
                <a:gd name="connsiteY114" fmla="*/ 367484 h 638175"/>
                <a:gd name="connsiteX115" fmla="*/ 252986 w 914400"/>
                <a:gd name="connsiteY115" fmla="*/ 367484 h 638175"/>
                <a:gd name="connsiteX116" fmla="*/ 256672 w 914400"/>
                <a:gd name="connsiteY116" fmla="*/ 363798 h 638175"/>
                <a:gd name="connsiteX117" fmla="*/ 260368 w 914400"/>
                <a:gd name="connsiteY117" fmla="*/ 360103 h 638175"/>
                <a:gd name="connsiteX118" fmla="*/ 264054 w 914400"/>
                <a:gd name="connsiteY118" fmla="*/ 360103 h 638175"/>
                <a:gd name="connsiteX119" fmla="*/ 267740 w 914400"/>
                <a:gd name="connsiteY119" fmla="*/ 356416 h 638175"/>
                <a:gd name="connsiteX120" fmla="*/ 267740 w 914400"/>
                <a:gd name="connsiteY120" fmla="*/ 352721 h 638175"/>
                <a:gd name="connsiteX121" fmla="*/ 271436 w 914400"/>
                <a:gd name="connsiteY121" fmla="*/ 352721 h 638175"/>
                <a:gd name="connsiteX122" fmla="*/ 271436 w 914400"/>
                <a:gd name="connsiteY122" fmla="*/ 349035 h 638175"/>
                <a:gd name="connsiteX123" fmla="*/ 271436 w 914400"/>
                <a:gd name="connsiteY123" fmla="*/ 345339 h 638175"/>
                <a:gd name="connsiteX124" fmla="*/ 267740 w 914400"/>
                <a:gd name="connsiteY124" fmla="*/ 341653 h 638175"/>
                <a:gd name="connsiteX125" fmla="*/ 278808 w 914400"/>
                <a:gd name="connsiteY125" fmla="*/ 337966 h 638175"/>
                <a:gd name="connsiteX126" fmla="*/ 282504 w 914400"/>
                <a:gd name="connsiteY126" fmla="*/ 345339 h 638175"/>
                <a:gd name="connsiteX127" fmla="*/ 282504 w 914400"/>
                <a:gd name="connsiteY127" fmla="*/ 349035 h 638175"/>
                <a:gd name="connsiteX128" fmla="*/ 282504 w 914400"/>
                <a:gd name="connsiteY128" fmla="*/ 352721 h 638175"/>
                <a:gd name="connsiteX129" fmla="*/ 282504 w 914400"/>
                <a:gd name="connsiteY129" fmla="*/ 356416 h 638175"/>
                <a:gd name="connsiteX130" fmla="*/ 286190 w 914400"/>
                <a:gd name="connsiteY130" fmla="*/ 360103 h 638175"/>
                <a:gd name="connsiteX131" fmla="*/ 282504 w 914400"/>
                <a:gd name="connsiteY131" fmla="*/ 363798 h 638175"/>
                <a:gd name="connsiteX132" fmla="*/ 282504 w 914400"/>
                <a:gd name="connsiteY132" fmla="*/ 367484 h 638175"/>
                <a:gd name="connsiteX133" fmla="*/ 282504 w 914400"/>
                <a:gd name="connsiteY133" fmla="*/ 385944 h 638175"/>
                <a:gd name="connsiteX134" fmla="*/ 289877 w 914400"/>
                <a:gd name="connsiteY134" fmla="*/ 385944 h 638175"/>
                <a:gd name="connsiteX135" fmla="*/ 289877 w 914400"/>
                <a:gd name="connsiteY135" fmla="*/ 389630 h 638175"/>
                <a:gd name="connsiteX136" fmla="*/ 286190 w 914400"/>
                <a:gd name="connsiteY136" fmla="*/ 389630 h 638175"/>
                <a:gd name="connsiteX137" fmla="*/ 297258 w 914400"/>
                <a:gd name="connsiteY137" fmla="*/ 397012 h 638175"/>
                <a:gd name="connsiteX138" fmla="*/ 297258 w 914400"/>
                <a:gd name="connsiteY138" fmla="*/ 408080 h 638175"/>
                <a:gd name="connsiteX139" fmla="*/ 297258 w 914400"/>
                <a:gd name="connsiteY139" fmla="*/ 411776 h 638175"/>
                <a:gd name="connsiteX140" fmla="*/ 297258 w 914400"/>
                <a:gd name="connsiteY140" fmla="*/ 415462 h 638175"/>
                <a:gd name="connsiteX141" fmla="*/ 297258 w 914400"/>
                <a:gd name="connsiteY141" fmla="*/ 419158 h 638175"/>
                <a:gd name="connsiteX142" fmla="*/ 300945 w 914400"/>
                <a:gd name="connsiteY142" fmla="*/ 422844 h 638175"/>
                <a:gd name="connsiteX143" fmla="*/ 304631 w 914400"/>
                <a:gd name="connsiteY143" fmla="*/ 426539 h 638175"/>
                <a:gd name="connsiteX144" fmla="*/ 308326 w 914400"/>
                <a:gd name="connsiteY144" fmla="*/ 426539 h 638175"/>
                <a:gd name="connsiteX145" fmla="*/ 308326 w 914400"/>
                <a:gd name="connsiteY145" fmla="*/ 430226 h 638175"/>
                <a:gd name="connsiteX146" fmla="*/ 312013 w 914400"/>
                <a:gd name="connsiteY146" fmla="*/ 437607 h 638175"/>
                <a:gd name="connsiteX147" fmla="*/ 312013 w 914400"/>
                <a:gd name="connsiteY147" fmla="*/ 441294 h 638175"/>
                <a:gd name="connsiteX148" fmla="*/ 315699 w 914400"/>
                <a:gd name="connsiteY148" fmla="*/ 444989 h 638175"/>
                <a:gd name="connsiteX149" fmla="*/ 312013 w 914400"/>
                <a:gd name="connsiteY149" fmla="*/ 448676 h 638175"/>
                <a:gd name="connsiteX150" fmla="*/ 315699 w 914400"/>
                <a:gd name="connsiteY150" fmla="*/ 452371 h 638175"/>
                <a:gd name="connsiteX151" fmla="*/ 315699 w 914400"/>
                <a:gd name="connsiteY151" fmla="*/ 456057 h 638175"/>
                <a:gd name="connsiteX152" fmla="*/ 315699 w 914400"/>
                <a:gd name="connsiteY152" fmla="*/ 459753 h 638175"/>
                <a:gd name="connsiteX153" fmla="*/ 312013 w 914400"/>
                <a:gd name="connsiteY153" fmla="*/ 463439 h 638175"/>
                <a:gd name="connsiteX154" fmla="*/ 304631 w 914400"/>
                <a:gd name="connsiteY154" fmla="*/ 467135 h 638175"/>
                <a:gd name="connsiteX155" fmla="*/ 297258 w 914400"/>
                <a:gd name="connsiteY155" fmla="*/ 463439 h 638175"/>
                <a:gd name="connsiteX156" fmla="*/ 286190 w 914400"/>
                <a:gd name="connsiteY156" fmla="*/ 459753 h 638175"/>
                <a:gd name="connsiteX157" fmla="*/ 278808 w 914400"/>
                <a:gd name="connsiteY157" fmla="*/ 456057 h 638175"/>
                <a:gd name="connsiteX158" fmla="*/ 275122 w 914400"/>
                <a:gd name="connsiteY158" fmla="*/ 448676 h 638175"/>
                <a:gd name="connsiteX159" fmla="*/ 271436 w 914400"/>
                <a:gd name="connsiteY159" fmla="*/ 448676 h 638175"/>
                <a:gd name="connsiteX160" fmla="*/ 267740 w 914400"/>
                <a:gd name="connsiteY160" fmla="*/ 448676 h 638175"/>
                <a:gd name="connsiteX161" fmla="*/ 264054 w 914400"/>
                <a:gd name="connsiteY161" fmla="*/ 444989 h 638175"/>
                <a:gd name="connsiteX162" fmla="*/ 260368 w 914400"/>
                <a:gd name="connsiteY162" fmla="*/ 444989 h 638175"/>
                <a:gd name="connsiteX163" fmla="*/ 252986 w 914400"/>
                <a:gd name="connsiteY163" fmla="*/ 441294 h 638175"/>
                <a:gd name="connsiteX164" fmla="*/ 249300 w 914400"/>
                <a:gd name="connsiteY164" fmla="*/ 437607 h 638175"/>
                <a:gd name="connsiteX165" fmla="*/ 245604 w 914400"/>
                <a:gd name="connsiteY165" fmla="*/ 437607 h 638175"/>
                <a:gd name="connsiteX166" fmla="*/ 241918 w 914400"/>
                <a:gd name="connsiteY166" fmla="*/ 437607 h 638175"/>
                <a:gd name="connsiteX167" fmla="*/ 230850 w 914400"/>
                <a:gd name="connsiteY167" fmla="*/ 437607 h 638175"/>
                <a:gd name="connsiteX168" fmla="*/ 227164 w 914400"/>
                <a:gd name="connsiteY168" fmla="*/ 433921 h 638175"/>
                <a:gd name="connsiteX169" fmla="*/ 223478 w 914400"/>
                <a:gd name="connsiteY169" fmla="*/ 433921 h 638175"/>
                <a:gd name="connsiteX170" fmla="*/ 219782 w 914400"/>
                <a:gd name="connsiteY170" fmla="*/ 437607 h 638175"/>
                <a:gd name="connsiteX171" fmla="*/ 216096 w 914400"/>
                <a:gd name="connsiteY171" fmla="*/ 441294 h 638175"/>
                <a:gd name="connsiteX172" fmla="*/ 212410 w 914400"/>
                <a:gd name="connsiteY172" fmla="*/ 441294 h 638175"/>
                <a:gd name="connsiteX173" fmla="*/ 205028 w 914400"/>
                <a:gd name="connsiteY173" fmla="*/ 444989 h 638175"/>
                <a:gd name="connsiteX174" fmla="*/ 201342 w 914400"/>
                <a:gd name="connsiteY174" fmla="*/ 444989 h 638175"/>
                <a:gd name="connsiteX175" fmla="*/ 197646 w 914400"/>
                <a:gd name="connsiteY175" fmla="*/ 448676 h 638175"/>
                <a:gd name="connsiteX176" fmla="*/ 193960 w 914400"/>
                <a:gd name="connsiteY176" fmla="*/ 448676 h 638175"/>
                <a:gd name="connsiteX177" fmla="*/ 186578 w 914400"/>
                <a:gd name="connsiteY177" fmla="*/ 444989 h 638175"/>
                <a:gd name="connsiteX178" fmla="*/ 182892 w 914400"/>
                <a:gd name="connsiteY178" fmla="*/ 448676 h 638175"/>
                <a:gd name="connsiteX179" fmla="*/ 179206 w 914400"/>
                <a:gd name="connsiteY179" fmla="*/ 448676 h 638175"/>
                <a:gd name="connsiteX180" fmla="*/ 175510 w 914400"/>
                <a:gd name="connsiteY180" fmla="*/ 452371 h 638175"/>
                <a:gd name="connsiteX181" fmla="*/ 175510 w 914400"/>
                <a:gd name="connsiteY181" fmla="*/ 456057 h 638175"/>
                <a:gd name="connsiteX182" fmla="*/ 171824 w 914400"/>
                <a:gd name="connsiteY182" fmla="*/ 456057 h 638175"/>
                <a:gd name="connsiteX183" fmla="*/ 168138 w 914400"/>
                <a:gd name="connsiteY183" fmla="*/ 459753 h 638175"/>
                <a:gd name="connsiteX184" fmla="*/ 164442 w 914400"/>
                <a:gd name="connsiteY184" fmla="*/ 459753 h 638175"/>
                <a:gd name="connsiteX185" fmla="*/ 160756 w 914400"/>
                <a:gd name="connsiteY185" fmla="*/ 456057 h 638175"/>
                <a:gd name="connsiteX186" fmla="*/ 157069 w 914400"/>
                <a:gd name="connsiteY186" fmla="*/ 452371 h 638175"/>
                <a:gd name="connsiteX187" fmla="*/ 146001 w 914400"/>
                <a:gd name="connsiteY187" fmla="*/ 452371 h 638175"/>
                <a:gd name="connsiteX188" fmla="*/ 142315 w 914400"/>
                <a:gd name="connsiteY188" fmla="*/ 452371 h 638175"/>
                <a:gd name="connsiteX189" fmla="*/ 134933 w 914400"/>
                <a:gd name="connsiteY189" fmla="*/ 444989 h 638175"/>
                <a:gd name="connsiteX190" fmla="*/ 127554 w 914400"/>
                <a:gd name="connsiteY190" fmla="*/ 441294 h 638175"/>
                <a:gd name="connsiteX191" fmla="*/ 123865 w 914400"/>
                <a:gd name="connsiteY191" fmla="*/ 441294 h 638175"/>
                <a:gd name="connsiteX192" fmla="*/ 120176 w 914400"/>
                <a:gd name="connsiteY192" fmla="*/ 441294 h 638175"/>
                <a:gd name="connsiteX193" fmla="*/ 120176 w 914400"/>
                <a:gd name="connsiteY193" fmla="*/ 448676 h 638175"/>
                <a:gd name="connsiteX194" fmla="*/ 116487 w 914400"/>
                <a:gd name="connsiteY194" fmla="*/ 452371 h 638175"/>
                <a:gd name="connsiteX195" fmla="*/ 112798 w 914400"/>
                <a:gd name="connsiteY195" fmla="*/ 456057 h 638175"/>
                <a:gd name="connsiteX196" fmla="*/ 109108 w 914400"/>
                <a:gd name="connsiteY196" fmla="*/ 456057 h 638175"/>
                <a:gd name="connsiteX197" fmla="*/ 105419 w 914400"/>
                <a:gd name="connsiteY197" fmla="*/ 456057 h 638175"/>
                <a:gd name="connsiteX198" fmla="*/ 101730 w 914400"/>
                <a:gd name="connsiteY198" fmla="*/ 452371 h 638175"/>
                <a:gd name="connsiteX199" fmla="*/ 98041 w 914400"/>
                <a:gd name="connsiteY199" fmla="*/ 448676 h 638175"/>
                <a:gd name="connsiteX200" fmla="*/ 94352 w 914400"/>
                <a:gd name="connsiteY200" fmla="*/ 456057 h 638175"/>
                <a:gd name="connsiteX201" fmla="*/ 90663 w 914400"/>
                <a:gd name="connsiteY201" fmla="*/ 467135 h 638175"/>
                <a:gd name="connsiteX202" fmla="*/ 83284 w 914400"/>
                <a:gd name="connsiteY202" fmla="*/ 474517 h 638175"/>
                <a:gd name="connsiteX203" fmla="*/ 79595 w 914400"/>
                <a:gd name="connsiteY203" fmla="*/ 478203 h 638175"/>
                <a:gd name="connsiteX204" fmla="*/ 83284 w 914400"/>
                <a:gd name="connsiteY204" fmla="*/ 478203 h 638175"/>
                <a:gd name="connsiteX205" fmla="*/ 79595 w 914400"/>
                <a:gd name="connsiteY205" fmla="*/ 481899 h 638175"/>
                <a:gd name="connsiteX206" fmla="*/ 75906 w 914400"/>
                <a:gd name="connsiteY206" fmla="*/ 489271 h 638175"/>
                <a:gd name="connsiteX207" fmla="*/ 72217 w 914400"/>
                <a:gd name="connsiteY207" fmla="*/ 489271 h 638175"/>
                <a:gd name="connsiteX208" fmla="*/ 72217 w 914400"/>
                <a:gd name="connsiteY208" fmla="*/ 492967 h 638175"/>
                <a:gd name="connsiteX209" fmla="*/ 68528 w 914400"/>
                <a:gd name="connsiteY209" fmla="*/ 504035 h 638175"/>
                <a:gd name="connsiteX210" fmla="*/ 64839 w 914400"/>
                <a:gd name="connsiteY210" fmla="*/ 507730 h 638175"/>
                <a:gd name="connsiteX211" fmla="*/ 64839 w 914400"/>
                <a:gd name="connsiteY211" fmla="*/ 511417 h 638175"/>
                <a:gd name="connsiteX212" fmla="*/ 61149 w 914400"/>
                <a:gd name="connsiteY212" fmla="*/ 511417 h 638175"/>
                <a:gd name="connsiteX213" fmla="*/ 53771 w 914400"/>
                <a:gd name="connsiteY213" fmla="*/ 511417 h 638175"/>
                <a:gd name="connsiteX214" fmla="*/ 50082 w 914400"/>
                <a:gd name="connsiteY214" fmla="*/ 511417 h 638175"/>
                <a:gd name="connsiteX215" fmla="*/ 50082 w 914400"/>
                <a:gd name="connsiteY215" fmla="*/ 518799 h 638175"/>
                <a:gd name="connsiteX216" fmla="*/ 46393 w 914400"/>
                <a:gd name="connsiteY216" fmla="*/ 522494 h 638175"/>
                <a:gd name="connsiteX217" fmla="*/ 42704 w 914400"/>
                <a:gd name="connsiteY217" fmla="*/ 522494 h 638175"/>
                <a:gd name="connsiteX218" fmla="*/ 39014 w 914400"/>
                <a:gd name="connsiteY218" fmla="*/ 522494 h 638175"/>
                <a:gd name="connsiteX219" fmla="*/ 35325 w 914400"/>
                <a:gd name="connsiteY219" fmla="*/ 522494 h 638175"/>
                <a:gd name="connsiteX220" fmla="*/ 35325 w 914400"/>
                <a:gd name="connsiteY220" fmla="*/ 526180 h 638175"/>
                <a:gd name="connsiteX221" fmla="*/ 35325 w 914400"/>
                <a:gd name="connsiteY221" fmla="*/ 529876 h 638175"/>
                <a:gd name="connsiteX222" fmla="*/ 39014 w 914400"/>
                <a:gd name="connsiteY222" fmla="*/ 533562 h 638175"/>
                <a:gd name="connsiteX223" fmla="*/ 39014 w 914400"/>
                <a:gd name="connsiteY223" fmla="*/ 537248 h 638175"/>
                <a:gd name="connsiteX224" fmla="*/ 35325 w 914400"/>
                <a:gd name="connsiteY224" fmla="*/ 537248 h 638175"/>
                <a:gd name="connsiteX225" fmla="*/ 31636 w 914400"/>
                <a:gd name="connsiteY225" fmla="*/ 533562 h 638175"/>
                <a:gd name="connsiteX226" fmla="*/ 20569 w 914400"/>
                <a:gd name="connsiteY226" fmla="*/ 537248 h 638175"/>
                <a:gd name="connsiteX227" fmla="*/ 16879 w 914400"/>
                <a:gd name="connsiteY227" fmla="*/ 533562 h 638175"/>
                <a:gd name="connsiteX228" fmla="*/ 9501 w 914400"/>
                <a:gd name="connsiteY228" fmla="*/ 537248 h 638175"/>
                <a:gd name="connsiteX229" fmla="*/ 5812 w 914400"/>
                <a:gd name="connsiteY229" fmla="*/ 533562 h 638175"/>
                <a:gd name="connsiteX230" fmla="*/ 5812 w 914400"/>
                <a:gd name="connsiteY230" fmla="*/ 537248 h 638175"/>
                <a:gd name="connsiteX231" fmla="*/ 5812 w 914400"/>
                <a:gd name="connsiteY231" fmla="*/ 540944 h 638175"/>
                <a:gd name="connsiteX232" fmla="*/ 9501 w 914400"/>
                <a:gd name="connsiteY232" fmla="*/ 544630 h 638175"/>
                <a:gd name="connsiteX233" fmla="*/ 5812 w 914400"/>
                <a:gd name="connsiteY233" fmla="*/ 544630 h 638175"/>
                <a:gd name="connsiteX234" fmla="*/ 9501 w 914400"/>
                <a:gd name="connsiteY234" fmla="*/ 548326 h 638175"/>
                <a:gd name="connsiteX235" fmla="*/ 13190 w 914400"/>
                <a:gd name="connsiteY235" fmla="*/ 548326 h 638175"/>
                <a:gd name="connsiteX236" fmla="*/ 16879 w 914400"/>
                <a:gd name="connsiteY236" fmla="*/ 548326 h 638175"/>
                <a:gd name="connsiteX237" fmla="*/ 24258 w 914400"/>
                <a:gd name="connsiteY237" fmla="*/ 548326 h 638175"/>
                <a:gd name="connsiteX238" fmla="*/ 20569 w 914400"/>
                <a:gd name="connsiteY238" fmla="*/ 563090 h 638175"/>
                <a:gd name="connsiteX239" fmla="*/ 20569 w 914400"/>
                <a:gd name="connsiteY239" fmla="*/ 566776 h 638175"/>
                <a:gd name="connsiteX240" fmla="*/ 13190 w 914400"/>
                <a:gd name="connsiteY240" fmla="*/ 566776 h 638175"/>
                <a:gd name="connsiteX241" fmla="*/ 13190 w 914400"/>
                <a:gd name="connsiteY241" fmla="*/ 570472 h 638175"/>
                <a:gd name="connsiteX242" fmla="*/ 13190 w 914400"/>
                <a:gd name="connsiteY242" fmla="*/ 574158 h 638175"/>
                <a:gd name="connsiteX243" fmla="*/ 16879 w 914400"/>
                <a:gd name="connsiteY243" fmla="*/ 574158 h 638175"/>
                <a:gd name="connsiteX244" fmla="*/ 20569 w 914400"/>
                <a:gd name="connsiteY244" fmla="*/ 577854 h 638175"/>
                <a:gd name="connsiteX245" fmla="*/ 27947 w 914400"/>
                <a:gd name="connsiteY245" fmla="*/ 581540 h 638175"/>
                <a:gd name="connsiteX246" fmla="*/ 31636 w 914400"/>
                <a:gd name="connsiteY246" fmla="*/ 585226 h 638175"/>
                <a:gd name="connsiteX247" fmla="*/ 35325 w 914400"/>
                <a:gd name="connsiteY247" fmla="*/ 585226 h 638175"/>
                <a:gd name="connsiteX248" fmla="*/ 35325 w 914400"/>
                <a:gd name="connsiteY248" fmla="*/ 588922 h 638175"/>
                <a:gd name="connsiteX249" fmla="*/ 39014 w 914400"/>
                <a:gd name="connsiteY249" fmla="*/ 592608 h 638175"/>
                <a:gd name="connsiteX250" fmla="*/ 39014 w 914400"/>
                <a:gd name="connsiteY250" fmla="*/ 596303 h 638175"/>
                <a:gd name="connsiteX251" fmla="*/ 42704 w 914400"/>
                <a:gd name="connsiteY251" fmla="*/ 596303 h 638175"/>
                <a:gd name="connsiteX252" fmla="*/ 42704 w 914400"/>
                <a:gd name="connsiteY252" fmla="*/ 599990 h 638175"/>
                <a:gd name="connsiteX253" fmla="*/ 46393 w 914400"/>
                <a:gd name="connsiteY253" fmla="*/ 599990 h 638175"/>
                <a:gd name="connsiteX254" fmla="*/ 50082 w 914400"/>
                <a:gd name="connsiteY254" fmla="*/ 596303 h 638175"/>
                <a:gd name="connsiteX255" fmla="*/ 53771 w 914400"/>
                <a:gd name="connsiteY255" fmla="*/ 592608 h 638175"/>
                <a:gd name="connsiteX256" fmla="*/ 57460 w 914400"/>
                <a:gd name="connsiteY256" fmla="*/ 592608 h 638175"/>
                <a:gd name="connsiteX257" fmla="*/ 61149 w 914400"/>
                <a:gd name="connsiteY257" fmla="*/ 596303 h 638175"/>
                <a:gd name="connsiteX258" fmla="*/ 64839 w 914400"/>
                <a:gd name="connsiteY258" fmla="*/ 599990 h 638175"/>
                <a:gd name="connsiteX259" fmla="*/ 75906 w 914400"/>
                <a:gd name="connsiteY259" fmla="*/ 603685 h 638175"/>
                <a:gd name="connsiteX260" fmla="*/ 75906 w 914400"/>
                <a:gd name="connsiteY260" fmla="*/ 607372 h 638175"/>
                <a:gd name="connsiteX261" fmla="*/ 75906 w 914400"/>
                <a:gd name="connsiteY261" fmla="*/ 611067 h 638175"/>
                <a:gd name="connsiteX262" fmla="*/ 75906 w 914400"/>
                <a:gd name="connsiteY262" fmla="*/ 614753 h 638175"/>
                <a:gd name="connsiteX263" fmla="*/ 79595 w 914400"/>
                <a:gd name="connsiteY263" fmla="*/ 618449 h 638175"/>
                <a:gd name="connsiteX264" fmla="*/ 75906 w 914400"/>
                <a:gd name="connsiteY264" fmla="*/ 622135 h 638175"/>
                <a:gd name="connsiteX265" fmla="*/ 72217 w 914400"/>
                <a:gd name="connsiteY265" fmla="*/ 625831 h 638175"/>
                <a:gd name="connsiteX266" fmla="*/ 68528 w 914400"/>
                <a:gd name="connsiteY266" fmla="*/ 625831 h 638175"/>
                <a:gd name="connsiteX267" fmla="*/ 68528 w 914400"/>
                <a:gd name="connsiteY267" fmla="*/ 629517 h 638175"/>
                <a:gd name="connsiteX268" fmla="*/ 72217 w 914400"/>
                <a:gd name="connsiteY268" fmla="*/ 633203 h 638175"/>
                <a:gd name="connsiteX269" fmla="*/ 79595 w 914400"/>
                <a:gd name="connsiteY269" fmla="*/ 629517 h 638175"/>
                <a:gd name="connsiteX270" fmla="*/ 86973 w 914400"/>
                <a:gd name="connsiteY270" fmla="*/ 629517 h 638175"/>
                <a:gd name="connsiteX271" fmla="*/ 94352 w 914400"/>
                <a:gd name="connsiteY271" fmla="*/ 629517 h 638175"/>
                <a:gd name="connsiteX272" fmla="*/ 98041 w 914400"/>
                <a:gd name="connsiteY272" fmla="*/ 629517 h 638175"/>
                <a:gd name="connsiteX273" fmla="*/ 105419 w 914400"/>
                <a:gd name="connsiteY273" fmla="*/ 629517 h 638175"/>
                <a:gd name="connsiteX274" fmla="*/ 109108 w 914400"/>
                <a:gd name="connsiteY274" fmla="*/ 629517 h 638175"/>
                <a:gd name="connsiteX275" fmla="*/ 112798 w 914400"/>
                <a:gd name="connsiteY275" fmla="*/ 629517 h 638175"/>
                <a:gd name="connsiteX276" fmla="*/ 116487 w 914400"/>
                <a:gd name="connsiteY276" fmla="*/ 625831 h 638175"/>
                <a:gd name="connsiteX277" fmla="*/ 120176 w 914400"/>
                <a:gd name="connsiteY277" fmla="*/ 629517 h 638175"/>
                <a:gd name="connsiteX278" fmla="*/ 127554 w 914400"/>
                <a:gd name="connsiteY278" fmla="*/ 633203 h 638175"/>
                <a:gd name="connsiteX279" fmla="*/ 131243 w 914400"/>
                <a:gd name="connsiteY279" fmla="*/ 636899 h 638175"/>
                <a:gd name="connsiteX280" fmla="*/ 134933 w 914400"/>
                <a:gd name="connsiteY280" fmla="*/ 633203 h 638175"/>
                <a:gd name="connsiteX281" fmla="*/ 138620 w 914400"/>
                <a:gd name="connsiteY281" fmla="*/ 629517 h 638175"/>
                <a:gd name="connsiteX282" fmla="*/ 146001 w 914400"/>
                <a:gd name="connsiteY282" fmla="*/ 629517 h 638175"/>
                <a:gd name="connsiteX283" fmla="*/ 153383 w 914400"/>
                <a:gd name="connsiteY283" fmla="*/ 633203 h 638175"/>
                <a:gd name="connsiteX284" fmla="*/ 157069 w 914400"/>
                <a:gd name="connsiteY284" fmla="*/ 633203 h 638175"/>
                <a:gd name="connsiteX285" fmla="*/ 157069 w 914400"/>
                <a:gd name="connsiteY285" fmla="*/ 629517 h 638175"/>
                <a:gd name="connsiteX286" fmla="*/ 164442 w 914400"/>
                <a:gd name="connsiteY286" fmla="*/ 625831 h 638175"/>
                <a:gd name="connsiteX287" fmla="*/ 182892 w 914400"/>
                <a:gd name="connsiteY287" fmla="*/ 618449 h 638175"/>
                <a:gd name="connsiteX288" fmla="*/ 182892 w 914400"/>
                <a:gd name="connsiteY288" fmla="*/ 614753 h 638175"/>
                <a:gd name="connsiteX289" fmla="*/ 186578 w 914400"/>
                <a:gd name="connsiteY289" fmla="*/ 614753 h 638175"/>
                <a:gd name="connsiteX290" fmla="*/ 186578 w 914400"/>
                <a:gd name="connsiteY290" fmla="*/ 607372 h 638175"/>
                <a:gd name="connsiteX291" fmla="*/ 186578 w 914400"/>
                <a:gd name="connsiteY291" fmla="*/ 599990 h 638175"/>
                <a:gd name="connsiteX292" fmla="*/ 190274 w 914400"/>
                <a:gd name="connsiteY292" fmla="*/ 592608 h 638175"/>
                <a:gd name="connsiteX293" fmla="*/ 190274 w 914400"/>
                <a:gd name="connsiteY293" fmla="*/ 588922 h 638175"/>
                <a:gd name="connsiteX294" fmla="*/ 197646 w 914400"/>
                <a:gd name="connsiteY294" fmla="*/ 577854 h 638175"/>
                <a:gd name="connsiteX295" fmla="*/ 201342 w 914400"/>
                <a:gd name="connsiteY295" fmla="*/ 574158 h 638175"/>
                <a:gd name="connsiteX296" fmla="*/ 205028 w 914400"/>
                <a:gd name="connsiteY296" fmla="*/ 570472 h 638175"/>
                <a:gd name="connsiteX297" fmla="*/ 205028 w 914400"/>
                <a:gd name="connsiteY297" fmla="*/ 566776 h 638175"/>
                <a:gd name="connsiteX298" fmla="*/ 208714 w 914400"/>
                <a:gd name="connsiteY298" fmla="*/ 563090 h 638175"/>
                <a:gd name="connsiteX299" fmla="*/ 212410 w 914400"/>
                <a:gd name="connsiteY299" fmla="*/ 563090 h 638175"/>
                <a:gd name="connsiteX300" fmla="*/ 212410 w 914400"/>
                <a:gd name="connsiteY300" fmla="*/ 566776 h 638175"/>
                <a:gd name="connsiteX301" fmla="*/ 216096 w 914400"/>
                <a:gd name="connsiteY301" fmla="*/ 570472 h 638175"/>
                <a:gd name="connsiteX302" fmla="*/ 219782 w 914400"/>
                <a:gd name="connsiteY302" fmla="*/ 574158 h 638175"/>
                <a:gd name="connsiteX303" fmla="*/ 223478 w 914400"/>
                <a:gd name="connsiteY303" fmla="*/ 574158 h 638175"/>
                <a:gd name="connsiteX304" fmla="*/ 230850 w 914400"/>
                <a:gd name="connsiteY304" fmla="*/ 574158 h 638175"/>
                <a:gd name="connsiteX305" fmla="*/ 238232 w 914400"/>
                <a:gd name="connsiteY305" fmla="*/ 574158 h 638175"/>
                <a:gd name="connsiteX306" fmla="*/ 241918 w 914400"/>
                <a:gd name="connsiteY306" fmla="*/ 570472 h 638175"/>
                <a:gd name="connsiteX307" fmla="*/ 245604 w 914400"/>
                <a:gd name="connsiteY307" fmla="*/ 563090 h 638175"/>
                <a:gd name="connsiteX308" fmla="*/ 245604 w 914400"/>
                <a:gd name="connsiteY308" fmla="*/ 559394 h 638175"/>
                <a:gd name="connsiteX309" fmla="*/ 249300 w 914400"/>
                <a:gd name="connsiteY309" fmla="*/ 559394 h 638175"/>
                <a:gd name="connsiteX310" fmla="*/ 252986 w 914400"/>
                <a:gd name="connsiteY310" fmla="*/ 559394 h 638175"/>
                <a:gd name="connsiteX311" fmla="*/ 256672 w 914400"/>
                <a:gd name="connsiteY311" fmla="*/ 559394 h 638175"/>
                <a:gd name="connsiteX312" fmla="*/ 260368 w 914400"/>
                <a:gd name="connsiteY312" fmla="*/ 563090 h 638175"/>
                <a:gd name="connsiteX313" fmla="*/ 260368 w 914400"/>
                <a:gd name="connsiteY313" fmla="*/ 566776 h 638175"/>
                <a:gd name="connsiteX314" fmla="*/ 264054 w 914400"/>
                <a:gd name="connsiteY314" fmla="*/ 566776 h 638175"/>
                <a:gd name="connsiteX315" fmla="*/ 267740 w 914400"/>
                <a:gd name="connsiteY315" fmla="*/ 566776 h 638175"/>
                <a:gd name="connsiteX316" fmla="*/ 271436 w 914400"/>
                <a:gd name="connsiteY316" fmla="*/ 570472 h 638175"/>
                <a:gd name="connsiteX317" fmla="*/ 275122 w 914400"/>
                <a:gd name="connsiteY317" fmla="*/ 570472 h 638175"/>
                <a:gd name="connsiteX318" fmla="*/ 278808 w 914400"/>
                <a:gd name="connsiteY318" fmla="*/ 566776 h 638175"/>
                <a:gd name="connsiteX319" fmla="*/ 278808 w 914400"/>
                <a:gd name="connsiteY319" fmla="*/ 563090 h 638175"/>
                <a:gd name="connsiteX320" fmla="*/ 282504 w 914400"/>
                <a:gd name="connsiteY320" fmla="*/ 559394 h 638175"/>
                <a:gd name="connsiteX321" fmla="*/ 286190 w 914400"/>
                <a:gd name="connsiteY321" fmla="*/ 559394 h 638175"/>
                <a:gd name="connsiteX322" fmla="*/ 293572 w 914400"/>
                <a:gd name="connsiteY322" fmla="*/ 559394 h 638175"/>
                <a:gd name="connsiteX323" fmla="*/ 297258 w 914400"/>
                <a:gd name="connsiteY323" fmla="*/ 559394 h 638175"/>
                <a:gd name="connsiteX324" fmla="*/ 300945 w 914400"/>
                <a:gd name="connsiteY324" fmla="*/ 559394 h 638175"/>
                <a:gd name="connsiteX325" fmla="*/ 308326 w 914400"/>
                <a:gd name="connsiteY325" fmla="*/ 563090 h 638175"/>
                <a:gd name="connsiteX326" fmla="*/ 312013 w 914400"/>
                <a:gd name="connsiteY326" fmla="*/ 566776 h 638175"/>
                <a:gd name="connsiteX327" fmla="*/ 315699 w 914400"/>
                <a:gd name="connsiteY327" fmla="*/ 566776 h 638175"/>
                <a:gd name="connsiteX328" fmla="*/ 323081 w 914400"/>
                <a:gd name="connsiteY328" fmla="*/ 566776 h 638175"/>
                <a:gd name="connsiteX329" fmla="*/ 326767 w 914400"/>
                <a:gd name="connsiteY329" fmla="*/ 570472 h 638175"/>
                <a:gd name="connsiteX330" fmla="*/ 326767 w 914400"/>
                <a:gd name="connsiteY330" fmla="*/ 577854 h 638175"/>
                <a:gd name="connsiteX331" fmla="*/ 330463 w 914400"/>
                <a:gd name="connsiteY331" fmla="*/ 581540 h 638175"/>
                <a:gd name="connsiteX332" fmla="*/ 334149 w 914400"/>
                <a:gd name="connsiteY332" fmla="*/ 585226 h 638175"/>
                <a:gd name="connsiteX333" fmla="*/ 337835 w 914400"/>
                <a:gd name="connsiteY333" fmla="*/ 588922 h 638175"/>
                <a:gd name="connsiteX334" fmla="*/ 341531 w 914400"/>
                <a:gd name="connsiteY334" fmla="*/ 588922 h 638175"/>
                <a:gd name="connsiteX335" fmla="*/ 345217 w 914400"/>
                <a:gd name="connsiteY335" fmla="*/ 588922 h 638175"/>
                <a:gd name="connsiteX336" fmla="*/ 348903 w 914400"/>
                <a:gd name="connsiteY336" fmla="*/ 592608 h 638175"/>
                <a:gd name="connsiteX337" fmla="*/ 352599 w 914400"/>
                <a:gd name="connsiteY337" fmla="*/ 592608 h 638175"/>
                <a:gd name="connsiteX338" fmla="*/ 352599 w 914400"/>
                <a:gd name="connsiteY338" fmla="*/ 599990 h 638175"/>
                <a:gd name="connsiteX339" fmla="*/ 356285 w 914400"/>
                <a:gd name="connsiteY339" fmla="*/ 599990 h 638175"/>
                <a:gd name="connsiteX340" fmla="*/ 359971 w 914400"/>
                <a:gd name="connsiteY340" fmla="*/ 603685 h 638175"/>
                <a:gd name="connsiteX341" fmla="*/ 363667 w 914400"/>
                <a:gd name="connsiteY341" fmla="*/ 603685 h 638175"/>
                <a:gd name="connsiteX342" fmla="*/ 367353 w 914400"/>
                <a:gd name="connsiteY342" fmla="*/ 603685 h 638175"/>
                <a:gd name="connsiteX343" fmla="*/ 371039 w 914400"/>
                <a:gd name="connsiteY343" fmla="*/ 607372 h 638175"/>
                <a:gd name="connsiteX344" fmla="*/ 374725 w 914400"/>
                <a:gd name="connsiteY344" fmla="*/ 611067 h 638175"/>
                <a:gd name="connsiteX345" fmla="*/ 374725 w 914400"/>
                <a:gd name="connsiteY345" fmla="*/ 614753 h 638175"/>
                <a:gd name="connsiteX346" fmla="*/ 378421 w 914400"/>
                <a:gd name="connsiteY346" fmla="*/ 618449 h 638175"/>
                <a:gd name="connsiteX347" fmla="*/ 382107 w 914400"/>
                <a:gd name="connsiteY347" fmla="*/ 618449 h 638175"/>
                <a:gd name="connsiteX348" fmla="*/ 385793 w 914400"/>
                <a:gd name="connsiteY348" fmla="*/ 618449 h 638175"/>
                <a:gd name="connsiteX349" fmla="*/ 393175 w 914400"/>
                <a:gd name="connsiteY349" fmla="*/ 618449 h 638175"/>
                <a:gd name="connsiteX350" fmla="*/ 396861 w 914400"/>
                <a:gd name="connsiteY350" fmla="*/ 618449 h 638175"/>
                <a:gd name="connsiteX351" fmla="*/ 407929 w 914400"/>
                <a:gd name="connsiteY351" fmla="*/ 614753 h 638175"/>
                <a:gd name="connsiteX352" fmla="*/ 411625 w 914400"/>
                <a:gd name="connsiteY352" fmla="*/ 614753 h 638175"/>
                <a:gd name="connsiteX353" fmla="*/ 422693 w 914400"/>
                <a:gd name="connsiteY353" fmla="*/ 614753 h 638175"/>
                <a:gd name="connsiteX354" fmla="*/ 430065 w 914400"/>
                <a:gd name="connsiteY354" fmla="*/ 614753 h 638175"/>
                <a:gd name="connsiteX355" fmla="*/ 433761 w 914400"/>
                <a:gd name="connsiteY355" fmla="*/ 614753 h 638175"/>
                <a:gd name="connsiteX356" fmla="*/ 437447 w 914400"/>
                <a:gd name="connsiteY356" fmla="*/ 614753 h 638175"/>
                <a:gd name="connsiteX357" fmla="*/ 437447 w 914400"/>
                <a:gd name="connsiteY357" fmla="*/ 611067 h 638175"/>
                <a:gd name="connsiteX358" fmla="*/ 437447 w 914400"/>
                <a:gd name="connsiteY358" fmla="*/ 607372 h 638175"/>
                <a:gd name="connsiteX359" fmla="*/ 433761 w 914400"/>
                <a:gd name="connsiteY359" fmla="*/ 603685 h 638175"/>
                <a:gd name="connsiteX360" fmla="*/ 437447 w 914400"/>
                <a:gd name="connsiteY360" fmla="*/ 599990 h 638175"/>
                <a:gd name="connsiteX361" fmla="*/ 444820 w 914400"/>
                <a:gd name="connsiteY361" fmla="*/ 599990 h 638175"/>
                <a:gd name="connsiteX362" fmla="*/ 448516 w 914400"/>
                <a:gd name="connsiteY362" fmla="*/ 599990 h 638175"/>
                <a:gd name="connsiteX363" fmla="*/ 452202 w 914400"/>
                <a:gd name="connsiteY363" fmla="*/ 603685 h 638175"/>
                <a:gd name="connsiteX364" fmla="*/ 455888 w 914400"/>
                <a:gd name="connsiteY364" fmla="*/ 607372 h 638175"/>
                <a:gd name="connsiteX365" fmla="*/ 455888 w 914400"/>
                <a:gd name="connsiteY365" fmla="*/ 611067 h 638175"/>
                <a:gd name="connsiteX366" fmla="*/ 459583 w 914400"/>
                <a:gd name="connsiteY366" fmla="*/ 614753 h 638175"/>
                <a:gd name="connsiteX367" fmla="*/ 459583 w 914400"/>
                <a:gd name="connsiteY367" fmla="*/ 618449 h 638175"/>
                <a:gd name="connsiteX368" fmla="*/ 463270 w 914400"/>
                <a:gd name="connsiteY368" fmla="*/ 622135 h 638175"/>
                <a:gd name="connsiteX369" fmla="*/ 466956 w 914400"/>
                <a:gd name="connsiteY369" fmla="*/ 622135 h 638175"/>
                <a:gd name="connsiteX370" fmla="*/ 466956 w 914400"/>
                <a:gd name="connsiteY370" fmla="*/ 625831 h 638175"/>
                <a:gd name="connsiteX371" fmla="*/ 470652 w 914400"/>
                <a:gd name="connsiteY371" fmla="*/ 629517 h 638175"/>
                <a:gd name="connsiteX372" fmla="*/ 474338 w 914400"/>
                <a:gd name="connsiteY372" fmla="*/ 629517 h 638175"/>
                <a:gd name="connsiteX373" fmla="*/ 478024 w 914400"/>
                <a:gd name="connsiteY373" fmla="*/ 625831 h 638175"/>
                <a:gd name="connsiteX374" fmla="*/ 478024 w 914400"/>
                <a:gd name="connsiteY374" fmla="*/ 622135 h 638175"/>
                <a:gd name="connsiteX375" fmla="*/ 481720 w 914400"/>
                <a:gd name="connsiteY375" fmla="*/ 618449 h 638175"/>
                <a:gd name="connsiteX376" fmla="*/ 489092 w 914400"/>
                <a:gd name="connsiteY376" fmla="*/ 614753 h 638175"/>
                <a:gd name="connsiteX377" fmla="*/ 492788 w 914400"/>
                <a:gd name="connsiteY377" fmla="*/ 614753 h 638175"/>
                <a:gd name="connsiteX378" fmla="*/ 496474 w 914400"/>
                <a:gd name="connsiteY378" fmla="*/ 607372 h 638175"/>
                <a:gd name="connsiteX379" fmla="*/ 496474 w 914400"/>
                <a:gd name="connsiteY379" fmla="*/ 603685 h 638175"/>
                <a:gd name="connsiteX380" fmla="*/ 492788 w 914400"/>
                <a:gd name="connsiteY380" fmla="*/ 603685 h 638175"/>
                <a:gd name="connsiteX381" fmla="*/ 492788 w 914400"/>
                <a:gd name="connsiteY381" fmla="*/ 596303 h 638175"/>
                <a:gd name="connsiteX382" fmla="*/ 496474 w 914400"/>
                <a:gd name="connsiteY382" fmla="*/ 596303 h 638175"/>
                <a:gd name="connsiteX383" fmla="*/ 492788 w 914400"/>
                <a:gd name="connsiteY383" fmla="*/ 592608 h 638175"/>
                <a:gd name="connsiteX384" fmla="*/ 489092 w 914400"/>
                <a:gd name="connsiteY384" fmla="*/ 592608 h 638175"/>
                <a:gd name="connsiteX385" fmla="*/ 489092 w 914400"/>
                <a:gd name="connsiteY385" fmla="*/ 588922 h 638175"/>
                <a:gd name="connsiteX386" fmla="*/ 489092 w 914400"/>
                <a:gd name="connsiteY386" fmla="*/ 585226 h 638175"/>
                <a:gd name="connsiteX387" fmla="*/ 489092 w 914400"/>
                <a:gd name="connsiteY387" fmla="*/ 581540 h 638175"/>
                <a:gd name="connsiteX388" fmla="*/ 481720 w 914400"/>
                <a:gd name="connsiteY388" fmla="*/ 574158 h 638175"/>
                <a:gd name="connsiteX389" fmla="*/ 478024 w 914400"/>
                <a:gd name="connsiteY389" fmla="*/ 574158 h 638175"/>
                <a:gd name="connsiteX390" fmla="*/ 474338 w 914400"/>
                <a:gd name="connsiteY390" fmla="*/ 574158 h 638175"/>
                <a:gd name="connsiteX391" fmla="*/ 474338 w 914400"/>
                <a:gd name="connsiteY391" fmla="*/ 570472 h 638175"/>
                <a:gd name="connsiteX392" fmla="*/ 478024 w 914400"/>
                <a:gd name="connsiteY392" fmla="*/ 566776 h 638175"/>
                <a:gd name="connsiteX393" fmla="*/ 481720 w 914400"/>
                <a:gd name="connsiteY393" fmla="*/ 566776 h 638175"/>
                <a:gd name="connsiteX394" fmla="*/ 474338 w 914400"/>
                <a:gd name="connsiteY394" fmla="*/ 563090 h 638175"/>
                <a:gd name="connsiteX395" fmla="*/ 481720 w 914400"/>
                <a:gd name="connsiteY395" fmla="*/ 552012 h 638175"/>
                <a:gd name="connsiteX396" fmla="*/ 485406 w 914400"/>
                <a:gd name="connsiteY396" fmla="*/ 552012 h 638175"/>
                <a:gd name="connsiteX397" fmla="*/ 485406 w 914400"/>
                <a:gd name="connsiteY397" fmla="*/ 555708 h 638175"/>
                <a:gd name="connsiteX398" fmla="*/ 492788 w 914400"/>
                <a:gd name="connsiteY398" fmla="*/ 555708 h 638175"/>
                <a:gd name="connsiteX399" fmla="*/ 496474 w 914400"/>
                <a:gd name="connsiteY399" fmla="*/ 555708 h 638175"/>
                <a:gd name="connsiteX400" fmla="*/ 503856 w 914400"/>
                <a:gd name="connsiteY400" fmla="*/ 552012 h 638175"/>
                <a:gd name="connsiteX401" fmla="*/ 507542 w 914400"/>
                <a:gd name="connsiteY401" fmla="*/ 552012 h 638175"/>
                <a:gd name="connsiteX402" fmla="*/ 511228 w 914400"/>
                <a:gd name="connsiteY402" fmla="*/ 548326 h 638175"/>
                <a:gd name="connsiteX403" fmla="*/ 514924 w 914400"/>
                <a:gd name="connsiteY403" fmla="*/ 544630 h 638175"/>
                <a:gd name="connsiteX404" fmla="*/ 518610 w 914400"/>
                <a:gd name="connsiteY404" fmla="*/ 548326 h 638175"/>
                <a:gd name="connsiteX405" fmla="*/ 522296 w 914400"/>
                <a:gd name="connsiteY405" fmla="*/ 544630 h 638175"/>
                <a:gd name="connsiteX406" fmla="*/ 525982 w 914400"/>
                <a:gd name="connsiteY406" fmla="*/ 540944 h 638175"/>
                <a:gd name="connsiteX407" fmla="*/ 529678 w 914400"/>
                <a:gd name="connsiteY407" fmla="*/ 540944 h 638175"/>
                <a:gd name="connsiteX408" fmla="*/ 525982 w 914400"/>
                <a:gd name="connsiteY408" fmla="*/ 537248 h 638175"/>
                <a:gd name="connsiteX409" fmla="*/ 529678 w 914400"/>
                <a:gd name="connsiteY409" fmla="*/ 533562 h 638175"/>
                <a:gd name="connsiteX410" fmla="*/ 533364 w 914400"/>
                <a:gd name="connsiteY410" fmla="*/ 529876 h 638175"/>
                <a:gd name="connsiteX411" fmla="*/ 537050 w 914400"/>
                <a:gd name="connsiteY411" fmla="*/ 533562 h 638175"/>
                <a:gd name="connsiteX412" fmla="*/ 544432 w 914400"/>
                <a:gd name="connsiteY412" fmla="*/ 540944 h 638175"/>
                <a:gd name="connsiteX413" fmla="*/ 548118 w 914400"/>
                <a:gd name="connsiteY413" fmla="*/ 540944 h 638175"/>
                <a:gd name="connsiteX414" fmla="*/ 551814 w 914400"/>
                <a:gd name="connsiteY414" fmla="*/ 540944 h 638175"/>
                <a:gd name="connsiteX415" fmla="*/ 566568 w 914400"/>
                <a:gd name="connsiteY415" fmla="*/ 544630 h 638175"/>
                <a:gd name="connsiteX416" fmla="*/ 577636 w 914400"/>
                <a:gd name="connsiteY416" fmla="*/ 544630 h 638175"/>
                <a:gd name="connsiteX417" fmla="*/ 581323 w 914400"/>
                <a:gd name="connsiteY417" fmla="*/ 548326 h 638175"/>
                <a:gd name="connsiteX418" fmla="*/ 581323 w 914400"/>
                <a:gd name="connsiteY418" fmla="*/ 540944 h 638175"/>
                <a:gd name="connsiteX419" fmla="*/ 581323 w 914400"/>
                <a:gd name="connsiteY419" fmla="*/ 537248 h 638175"/>
                <a:gd name="connsiteX420" fmla="*/ 581323 w 914400"/>
                <a:gd name="connsiteY420" fmla="*/ 533562 h 638175"/>
                <a:gd name="connsiteX421" fmla="*/ 581323 w 914400"/>
                <a:gd name="connsiteY421" fmla="*/ 529876 h 638175"/>
                <a:gd name="connsiteX422" fmla="*/ 573950 w 914400"/>
                <a:gd name="connsiteY422" fmla="*/ 526180 h 638175"/>
                <a:gd name="connsiteX423" fmla="*/ 570254 w 914400"/>
                <a:gd name="connsiteY423" fmla="*/ 526180 h 638175"/>
                <a:gd name="connsiteX424" fmla="*/ 570254 w 914400"/>
                <a:gd name="connsiteY424" fmla="*/ 522494 h 638175"/>
                <a:gd name="connsiteX425" fmla="*/ 570254 w 914400"/>
                <a:gd name="connsiteY425" fmla="*/ 518799 h 638175"/>
                <a:gd name="connsiteX426" fmla="*/ 566568 w 914400"/>
                <a:gd name="connsiteY426" fmla="*/ 511417 h 638175"/>
                <a:gd name="connsiteX427" fmla="*/ 562882 w 914400"/>
                <a:gd name="connsiteY427" fmla="*/ 507730 h 638175"/>
                <a:gd name="connsiteX428" fmla="*/ 555500 w 914400"/>
                <a:gd name="connsiteY428" fmla="*/ 507730 h 638175"/>
                <a:gd name="connsiteX429" fmla="*/ 551814 w 914400"/>
                <a:gd name="connsiteY429" fmla="*/ 507730 h 638175"/>
                <a:gd name="connsiteX430" fmla="*/ 555500 w 914400"/>
                <a:gd name="connsiteY430" fmla="*/ 504035 h 638175"/>
                <a:gd name="connsiteX431" fmla="*/ 555500 w 914400"/>
                <a:gd name="connsiteY431" fmla="*/ 500349 h 638175"/>
                <a:gd name="connsiteX432" fmla="*/ 559186 w 914400"/>
                <a:gd name="connsiteY432" fmla="*/ 500349 h 638175"/>
                <a:gd name="connsiteX433" fmla="*/ 562882 w 914400"/>
                <a:gd name="connsiteY433" fmla="*/ 504035 h 638175"/>
                <a:gd name="connsiteX434" fmla="*/ 577636 w 914400"/>
                <a:gd name="connsiteY434" fmla="*/ 496653 h 638175"/>
                <a:gd name="connsiteX435" fmla="*/ 581323 w 914400"/>
                <a:gd name="connsiteY435" fmla="*/ 500349 h 638175"/>
                <a:gd name="connsiteX436" fmla="*/ 585009 w 914400"/>
                <a:gd name="connsiteY436" fmla="*/ 500349 h 638175"/>
                <a:gd name="connsiteX437" fmla="*/ 588704 w 914400"/>
                <a:gd name="connsiteY437" fmla="*/ 504035 h 638175"/>
                <a:gd name="connsiteX438" fmla="*/ 596077 w 914400"/>
                <a:gd name="connsiteY438" fmla="*/ 507730 h 638175"/>
                <a:gd name="connsiteX439" fmla="*/ 596077 w 914400"/>
                <a:gd name="connsiteY439" fmla="*/ 511417 h 638175"/>
                <a:gd name="connsiteX440" fmla="*/ 588704 w 914400"/>
                <a:gd name="connsiteY440" fmla="*/ 511417 h 638175"/>
                <a:gd name="connsiteX441" fmla="*/ 592391 w 914400"/>
                <a:gd name="connsiteY441" fmla="*/ 515112 h 638175"/>
                <a:gd name="connsiteX442" fmla="*/ 596077 w 914400"/>
                <a:gd name="connsiteY442" fmla="*/ 518799 h 638175"/>
                <a:gd name="connsiteX443" fmla="*/ 599772 w 914400"/>
                <a:gd name="connsiteY443" fmla="*/ 522494 h 638175"/>
                <a:gd name="connsiteX444" fmla="*/ 607145 w 914400"/>
                <a:gd name="connsiteY444" fmla="*/ 526180 h 638175"/>
                <a:gd name="connsiteX445" fmla="*/ 614527 w 914400"/>
                <a:gd name="connsiteY445" fmla="*/ 526180 h 638175"/>
                <a:gd name="connsiteX446" fmla="*/ 614527 w 914400"/>
                <a:gd name="connsiteY446" fmla="*/ 522494 h 638175"/>
                <a:gd name="connsiteX447" fmla="*/ 621909 w 914400"/>
                <a:gd name="connsiteY447" fmla="*/ 522494 h 638175"/>
                <a:gd name="connsiteX448" fmla="*/ 625595 w 914400"/>
                <a:gd name="connsiteY448" fmla="*/ 526180 h 638175"/>
                <a:gd name="connsiteX449" fmla="*/ 629281 w 914400"/>
                <a:gd name="connsiteY449" fmla="*/ 526180 h 638175"/>
                <a:gd name="connsiteX450" fmla="*/ 629281 w 914400"/>
                <a:gd name="connsiteY450" fmla="*/ 522494 h 638175"/>
                <a:gd name="connsiteX451" fmla="*/ 632977 w 914400"/>
                <a:gd name="connsiteY451" fmla="*/ 522494 h 638175"/>
                <a:gd name="connsiteX452" fmla="*/ 632977 w 914400"/>
                <a:gd name="connsiteY452" fmla="*/ 518799 h 638175"/>
                <a:gd name="connsiteX453" fmla="*/ 636663 w 914400"/>
                <a:gd name="connsiteY453" fmla="*/ 522494 h 638175"/>
                <a:gd name="connsiteX454" fmla="*/ 647731 w 914400"/>
                <a:gd name="connsiteY454" fmla="*/ 526180 h 638175"/>
                <a:gd name="connsiteX455" fmla="*/ 647731 w 914400"/>
                <a:gd name="connsiteY455" fmla="*/ 529876 h 638175"/>
                <a:gd name="connsiteX456" fmla="*/ 651417 w 914400"/>
                <a:gd name="connsiteY456" fmla="*/ 537248 h 638175"/>
                <a:gd name="connsiteX457" fmla="*/ 651417 w 914400"/>
                <a:gd name="connsiteY457" fmla="*/ 540944 h 638175"/>
                <a:gd name="connsiteX458" fmla="*/ 658799 w 914400"/>
                <a:gd name="connsiteY458" fmla="*/ 537248 h 638175"/>
                <a:gd name="connsiteX459" fmla="*/ 666171 w 914400"/>
                <a:gd name="connsiteY459" fmla="*/ 537248 h 638175"/>
                <a:gd name="connsiteX460" fmla="*/ 669867 w 914400"/>
                <a:gd name="connsiteY460" fmla="*/ 537248 h 638175"/>
                <a:gd name="connsiteX461" fmla="*/ 673553 w 914400"/>
                <a:gd name="connsiteY461" fmla="*/ 540944 h 638175"/>
                <a:gd name="connsiteX462" fmla="*/ 677239 w 914400"/>
                <a:gd name="connsiteY462" fmla="*/ 540944 h 638175"/>
                <a:gd name="connsiteX463" fmla="*/ 680935 w 914400"/>
                <a:gd name="connsiteY463" fmla="*/ 544630 h 638175"/>
                <a:gd name="connsiteX464" fmla="*/ 680935 w 914400"/>
                <a:gd name="connsiteY464" fmla="*/ 548326 h 638175"/>
                <a:gd name="connsiteX465" fmla="*/ 680935 w 914400"/>
                <a:gd name="connsiteY465" fmla="*/ 552012 h 638175"/>
                <a:gd name="connsiteX466" fmla="*/ 684621 w 914400"/>
                <a:gd name="connsiteY466" fmla="*/ 552012 h 638175"/>
                <a:gd name="connsiteX467" fmla="*/ 688307 w 914400"/>
                <a:gd name="connsiteY467" fmla="*/ 552012 h 638175"/>
                <a:gd name="connsiteX468" fmla="*/ 692003 w 914400"/>
                <a:gd name="connsiteY468" fmla="*/ 552012 h 638175"/>
                <a:gd name="connsiteX469" fmla="*/ 699375 w 914400"/>
                <a:gd name="connsiteY469" fmla="*/ 555708 h 638175"/>
                <a:gd name="connsiteX470" fmla="*/ 703071 w 914400"/>
                <a:gd name="connsiteY470" fmla="*/ 555708 h 638175"/>
                <a:gd name="connsiteX471" fmla="*/ 699375 w 914400"/>
                <a:gd name="connsiteY471" fmla="*/ 548326 h 638175"/>
                <a:gd name="connsiteX472" fmla="*/ 703071 w 914400"/>
                <a:gd name="connsiteY472" fmla="*/ 552012 h 638175"/>
                <a:gd name="connsiteX473" fmla="*/ 699375 w 914400"/>
                <a:gd name="connsiteY473" fmla="*/ 544630 h 638175"/>
                <a:gd name="connsiteX474" fmla="*/ 699375 w 914400"/>
                <a:gd name="connsiteY474" fmla="*/ 540944 h 638175"/>
                <a:gd name="connsiteX475" fmla="*/ 703071 w 914400"/>
                <a:gd name="connsiteY475" fmla="*/ 537248 h 638175"/>
                <a:gd name="connsiteX476" fmla="*/ 699375 w 914400"/>
                <a:gd name="connsiteY476" fmla="*/ 537248 h 638175"/>
                <a:gd name="connsiteX477" fmla="*/ 699375 w 914400"/>
                <a:gd name="connsiteY477" fmla="*/ 533562 h 638175"/>
                <a:gd name="connsiteX478" fmla="*/ 695689 w 914400"/>
                <a:gd name="connsiteY478" fmla="*/ 533562 h 638175"/>
                <a:gd name="connsiteX479" fmla="*/ 692003 w 914400"/>
                <a:gd name="connsiteY479" fmla="*/ 529876 h 638175"/>
                <a:gd name="connsiteX480" fmla="*/ 692003 w 914400"/>
                <a:gd name="connsiteY480" fmla="*/ 526180 h 638175"/>
                <a:gd name="connsiteX481" fmla="*/ 692003 w 914400"/>
                <a:gd name="connsiteY481" fmla="*/ 518799 h 638175"/>
                <a:gd name="connsiteX482" fmla="*/ 699375 w 914400"/>
                <a:gd name="connsiteY482" fmla="*/ 522494 h 638175"/>
                <a:gd name="connsiteX483" fmla="*/ 703071 w 914400"/>
                <a:gd name="connsiteY483" fmla="*/ 522494 h 638175"/>
                <a:gd name="connsiteX484" fmla="*/ 706757 w 914400"/>
                <a:gd name="connsiteY484" fmla="*/ 526180 h 638175"/>
                <a:gd name="connsiteX485" fmla="*/ 710443 w 914400"/>
                <a:gd name="connsiteY485" fmla="*/ 526180 h 638175"/>
                <a:gd name="connsiteX486" fmla="*/ 710443 w 914400"/>
                <a:gd name="connsiteY486" fmla="*/ 529876 h 638175"/>
                <a:gd name="connsiteX487" fmla="*/ 714139 w 914400"/>
                <a:gd name="connsiteY487" fmla="*/ 529876 h 638175"/>
                <a:gd name="connsiteX488" fmla="*/ 717825 w 914400"/>
                <a:gd name="connsiteY488" fmla="*/ 529876 h 638175"/>
                <a:gd name="connsiteX489" fmla="*/ 721512 w 914400"/>
                <a:gd name="connsiteY489" fmla="*/ 526180 h 638175"/>
                <a:gd name="connsiteX490" fmla="*/ 725207 w 914400"/>
                <a:gd name="connsiteY490" fmla="*/ 533562 h 638175"/>
                <a:gd name="connsiteX491" fmla="*/ 728893 w 914400"/>
                <a:gd name="connsiteY491" fmla="*/ 533562 h 638175"/>
                <a:gd name="connsiteX492" fmla="*/ 732580 w 914400"/>
                <a:gd name="connsiteY492" fmla="*/ 537248 h 638175"/>
                <a:gd name="connsiteX493" fmla="*/ 736266 w 914400"/>
                <a:gd name="connsiteY493" fmla="*/ 533562 h 638175"/>
                <a:gd name="connsiteX494" fmla="*/ 747334 w 914400"/>
                <a:gd name="connsiteY494" fmla="*/ 529876 h 638175"/>
                <a:gd name="connsiteX495" fmla="*/ 747334 w 914400"/>
                <a:gd name="connsiteY495" fmla="*/ 526180 h 638175"/>
                <a:gd name="connsiteX496" fmla="*/ 747334 w 914400"/>
                <a:gd name="connsiteY496" fmla="*/ 522494 h 638175"/>
                <a:gd name="connsiteX497" fmla="*/ 751029 w 914400"/>
                <a:gd name="connsiteY497" fmla="*/ 522494 h 638175"/>
                <a:gd name="connsiteX498" fmla="*/ 754716 w 914400"/>
                <a:gd name="connsiteY498" fmla="*/ 518799 h 638175"/>
                <a:gd name="connsiteX499" fmla="*/ 758402 w 914400"/>
                <a:gd name="connsiteY499" fmla="*/ 518799 h 638175"/>
                <a:gd name="connsiteX500" fmla="*/ 762098 w 914400"/>
                <a:gd name="connsiteY500" fmla="*/ 518799 h 638175"/>
                <a:gd name="connsiteX501" fmla="*/ 765784 w 914400"/>
                <a:gd name="connsiteY501" fmla="*/ 515112 h 638175"/>
                <a:gd name="connsiteX502" fmla="*/ 765784 w 914400"/>
                <a:gd name="connsiteY502" fmla="*/ 511417 h 638175"/>
                <a:gd name="connsiteX503" fmla="*/ 769470 w 914400"/>
                <a:gd name="connsiteY503" fmla="*/ 511417 h 638175"/>
                <a:gd name="connsiteX504" fmla="*/ 773166 w 914400"/>
                <a:gd name="connsiteY504" fmla="*/ 507730 h 638175"/>
                <a:gd name="connsiteX505" fmla="*/ 773166 w 914400"/>
                <a:gd name="connsiteY505" fmla="*/ 511417 h 638175"/>
                <a:gd name="connsiteX506" fmla="*/ 776852 w 914400"/>
                <a:gd name="connsiteY506" fmla="*/ 511417 h 638175"/>
                <a:gd name="connsiteX507" fmla="*/ 780538 w 914400"/>
                <a:gd name="connsiteY507" fmla="*/ 507730 h 638175"/>
                <a:gd name="connsiteX508" fmla="*/ 787920 w 914400"/>
                <a:gd name="connsiteY508" fmla="*/ 504035 h 638175"/>
                <a:gd name="connsiteX509" fmla="*/ 806360 w 914400"/>
                <a:gd name="connsiteY509" fmla="*/ 496653 h 638175"/>
                <a:gd name="connsiteX510" fmla="*/ 810056 w 914400"/>
                <a:gd name="connsiteY510" fmla="*/ 496653 h 638175"/>
                <a:gd name="connsiteX511" fmla="*/ 813742 w 914400"/>
                <a:gd name="connsiteY511" fmla="*/ 496653 h 638175"/>
                <a:gd name="connsiteX512" fmla="*/ 813742 w 914400"/>
                <a:gd name="connsiteY512" fmla="*/ 492967 h 638175"/>
                <a:gd name="connsiteX513" fmla="*/ 821124 w 914400"/>
                <a:gd name="connsiteY513" fmla="*/ 489271 h 638175"/>
                <a:gd name="connsiteX514" fmla="*/ 828496 w 914400"/>
                <a:gd name="connsiteY514" fmla="*/ 485585 h 638175"/>
                <a:gd name="connsiteX515" fmla="*/ 832192 w 914400"/>
                <a:gd name="connsiteY515" fmla="*/ 485585 h 638175"/>
                <a:gd name="connsiteX516" fmla="*/ 835878 w 914400"/>
                <a:gd name="connsiteY516" fmla="*/ 481899 h 638175"/>
                <a:gd name="connsiteX517" fmla="*/ 835878 w 914400"/>
                <a:gd name="connsiteY517" fmla="*/ 485585 h 638175"/>
                <a:gd name="connsiteX518" fmla="*/ 839564 w 914400"/>
                <a:gd name="connsiteY518" fmla="*/ 485585 h 638175"/>
                <a:gd name="connsiteX519" fmla="*/ 843260 w 914400"/>
                <a:gd name="connsiteY519" fmla="*/ 485585 h 638175"/>
                <a:gd name="connsiteX520" fmla="*/ 843260 w 914400"/>
                <a:gd name="connsiteY520" fmla="*/ 489271 h 638175"/>
                <a:gd name="connsiteX521" fmla="*/ 846946 w 914400"/>
                <a:gd name="connsiteY521" fmla="*/ 492967 h 638175"/>
                <a:gd name="connsiteX522" fmla="*/ 854328 w 914400"/>
                <a:gd name="connsiteY522" fmla="*/ 500349 h 638175"/>
                <a:gd name="connsiteX523" fmla="*/ 861700 w 914400"/>
                <a:gd name="connsiteY523" fmla="*/ 496653 h 638175"/>
                <a:gd name="connsiteX524" fmla="*/ 861700 w 914400"/>
                <a:gd name="connsiteY524" fmla="*/ 492967 h 638175"/>
                <a:gd name="connsiteX525" fmla="*/ 865396 w 914400"/>
                <a:gd name="connsiteY525" fmla="*/ 492967 h 638175"/>
                <a:gd name="connsiteX526" fmla="*/ 869082 w 914400"/>
                <a:gd name="connsiteY526" fmla="*/ 489271 h 638175"/>
                <a:gd name="connsiteX527" fmla="*/ 872769 w 914400"/>
                <a:gd name="connsiteY527" fmla="*/ 489271 h 638175"/>
                <a:gd name="connsiteX528" fmla="*/ 872769 w 914400"/>
                <a:gd name="connsiteY528" fmla="*/ 485585 h 638175"/>
                <a:gd name="connsiteX529" fmla="*/ 876455 w 914400"/>
                <a:gd name="connsiteY529" fmla="*/ 481899 h 638175"/>
                <a:gd name="connsiteX530" fmla="*/ 880150 w 914400"/>
                <a:gd name="connsiteY530" fmla="*/ 481899 h 638175"/>
                <a:gd name="connsiteX531" fmla="*/ 887523 w 914400"/>
                <a:gd name="connsiteY531" fmla="*/ 470821 h 638175"/>
                <a:gd name="connsiteX532" fmla="*/ 891218 w 914400"/>
                <a:gd name="connsiteY532" fmla="*/ 467135 h 638175"/>
                <a:gd name="connsiteX533" fmla="*/ 891218 w 914400"/>
                <a:gd name="connsiteY533" fmla="*/ 463439 h 638175"/>
                <a:gd name="connsiteX534" fmla="*/ 891218 w 914400"/>
                <a:gd name="connsiteY534" fmla="*/ 459753 h 638175"/>
                <a:gd name="connsiteX535" fmla="*/ 891218 w 914400"/>
                <a:gd name="connsiteY535" fmla="*/ 448676 h 638175"/>
                <a:gd name="connsiteX536" fmla="*/ 898591 w 914400"/>
                <a:gd name="connsiteY536" fmla="*/ 444989 h 638175"/>
                <a:gd name="connsiteX537" fmla="*/ 905973 w 914400"/>
                <a:gd name="connsiteY537" fmla="*/ 444989 h 638175"/>
                <a:gd name="connsiteX538" fmla="*/ 909659 w 914400"/>
                <a:gd name="connsiteY538" fmla="*/ 437607 h 638175"/>
                <a:gd name="connsiteX539" fmla="*/ 905973 w 914400"/>
                <a:gd name="connsiteY539" fmla="*/ 433921 h 638175"/>
                <a:gd name="connsiteX540" fmla="*/ 905973 w 914400"/>
                <a:gd name="connsiteY540" fmla="*/ 426539 h 638175"/>
                <a:gd name="connsiteX541" fmla="*/ 905973 w 914400"/>
                <a:gd name="connsiteY541" fmla="*/ 422844 h 638175"/>
                <a:gd name="connsiteX542" fmla="*/ 894905 w 914400"/>
                <a:gd name="connsiteY542" fmla="*/ 419158 h 638175"/>
                <a:gd name="connsiteX543" fmla="*/ 898591 w 914400"/>
                <a:gd name="connsiteY543" fmla="*/ 419158 h 638175"/>
                <a:gd name="connsiteX544" fmla="*/ 876455 w 914400"/>
                <a:gd name="connsiteY544" fmla="*/ 404394 h 638175"/>
                <a:gd name="connsiteX545" fmla="*/ 872769 w 914400"/>
                <a:gd name="connsiteY545" fmla="*/ 400698 h 638175"/>
                <a:gd name="connsiteX546" fmla="*/ 869082 w 914400"/>
                <a:gd name="connsiteY546" fmla="*/ 393316 h 638175"/>
                <a:gd name="connsiteX547" fmla="*/ 850632 w 914400"/>
                <a:gd name="connsiteY547" fmla="*/ 385944 h 638175"/>
                <a:gd name="connsiteX548" fmla="*/ 835878 w 914400"/>
                <a:gd name="connsiteY548" fmla="*/ 385944 h 638175"/>
                <a:gd name="connsiteX549" fmla="*/ 835878 w 914400"/>
                <a:gd name="connsiteY549" fmla="*/ 382248 h 638175"/>
                <a:gd name="connsiteX550" fmla="*/ 835878 w 914400"/>
                <a:gd name="connsiteY550" fmla="*/ 374866 h 638175"/>
                <a:gd name="connsiteX551" fmla="*/ 835878 w 914400"/>
                <a:gd name="connsiteY551" fmla="*/ 371180 h 638175"/>
                <a:gd name="connsiteX552" fmla="*/ 839564 w 914400"/>
                <a:gd name="connsiteY552" fmla="*/ 367484 h 638175"/>
                <a:gd name="connsiteX553" fmla="*/ 839564 w 914400"/>
                <a:gd name="connsiteY553" fmla="*/ 363798 h 638175"/>
                <a:gd name="connsiteX554" fmla="*/ 839564 w 914400"/>
                <a:gd name="connsiteY554" fmla="*/ 360103 h 638175"/>
                <a:gd name="connsiteX555" fmla="*/ 850632 w 914400"/>
                <a:gd name="connsiteY555" fmla="*/ 360103 h 638175"/>
                <a:gd name="connsiteX556" fmla="*/ 858014 w 914400"/>
                <a:gd name="connsiteY556" fmla="*/ 356416 h 638175"/>
                <a:gd name="connsiteX557" fmla="*/ 865396 w 914400"/>
                <a:gd name="connsiteY557" fmla="*/ 352721 h 638175"/>
                <a:gd name="connsiteX558" fmla="*/ 865396 w 914400"/>
                <a:gd name="connsiteY558" fmla="*/ 349035 h 638175"/>
                <a:gd name="connsiteX559" fmla="*/ 865396 w 914400"/>
                <a:gd name="connsiteY559" fmla="*/ 345339 h 638175"/>
                <a:gd name="connsiteX560" fmla="*/ 865396 w 914400"/>
                <a:gd name="connsiteY560" fmla="*/ 341653 h 638175"/>
                <a:gd name="connsiteX561" fmla="*/ 869082 w 914400"/>
                <a:gd name="connsiteY561" fmla="*/ 341653 h 638175"/>
                <a:gd name="connsiteX562" fmla="*/ 869082 w 914400"/>
                <a:gd name="connsiteY562" fmla="*/ 337966 h 638175"/>
                <a:gd name="connsiteX563" fmla="*/ 872769 w 914400"/>
                <a:gd name="connsiteY563" fmla="*/ 323203 h 638175"/>
                <a:gd name="connsiteX564" fmla="*/ 850632 w 914400"/>
                <a:gd name="connsiteY564" fmla="*/ 323203 h 638175"/>
                <a:gd name="connsiteX565" fmla="*/ 846946 w 914400"/>
                <a:gd name="connsiteY565" fmla="*/ 323203 h 638175"/>
                <a:gd name="connsiteX566" fmla="*/ 839564 w 914400"/>
                <a:gd name="connsiteY566" fmla="*/ 319507 h 638175"/>
                <a:gd name="connsiteX567" fmla="*/ 832192 w 914400"/>
                <a:gd name="connsiteY567" fmla="*/ 315821 h 638175"/>
                <a:gd name="connsiteX568" fmla="*/ 828496 w 914400"/>
                <a:gd name="connsiteY568" fmla="*/ 315821 h 638175"/>
                <a:gd name="connsiteX569" fmla="*/ 821124 w 914400"/>
                <a:gd name="connsiteY569" fmla="*/ 315821 h 638175"/>
                <a:gd name="connsiteX570" fmla="*/ 828496 w 914400"/>
                <a:gd name="connsiteY570" fmla="*/ 304743 h 638175"/>
                <a:gd name="connsiteX571" fmla="*/ 828496 w 914400"/>
                <a:gd name="connsiteY571" fmla="*/ 293675 h 638175"/>
                <a:gd name="connsiteX572" fmla="*/ 828496 w 914400"/>
                <a:gd name="connsiteY572" fmla="*/ 289989 h 638175"/>
                <a:gd name="connsiteX573" fmla="*/ 828496 w 914400"/>
                <a:gd name="connsiteY573" fmla="*/ 286293 h 638175"/>
                <a:gd name="connsiteX574" fmla="*/ 817428 w 914400"/>
                <a:gd name="connsiteY574" fmla="*/ 278911 h 638175"/>
                <a:gd name="connsiteX575" fmla="*/ 813742 w 914400"/>
                <a:gd name="connsiteY575" fmla="*/ 278911 h 638175"/>
                <a:gd name="connsiteX576" fmla="*/ 810056 w 914400"/>
                <a:gd name="connsiteY576" fmla="*/ 286293 h 638175"/>
                <a:gd name="connsiteX577" fmla="*/ 810056 w 914400"/>
                <a:gd name="connsiteY577" fmla="*/ 282607 h 638175"/>
                <a:gd name="connsiteX578" fmla="*/ 806360 w 914400"/>
                <a:gd name="connsiteY578" fmla="*/ 278911 h 638175"/>
                <a:gd name="connsiteX579" fmla="*/ 802674 w 914400"/>
                <a:gd name="connsiteY579" fmla="*/ 282607 h 638175"/>
                <a:gd name="connsiteX580" fmla="*/ 798988 w 914400"/>
                <a:gd name="connsiteY580" fmla="*/ 286293 h 638175"/>
                <a:gd name="connsiteX581" fmla="*/ 798988 w 914400"/>
                <a:gd name="connsiteY581" fmla="*/ 289989 h 638175"/>
                <a:gd name="connsiteX582" fmla="*/ 795302 w 914400"/>
                <a:gd name="connsiteY582" fmla="*/ 286293 h 638175"/>
                <a:gd name="connsiteX583" fmla="*/ 791606 w 914400"/>
                <a:gd name="connsiteY583" fmla="*/ 282607 h 638175"/>
                <a:gd name="connsiteX584" fmla="*/ 795302 w 914400"/>
                <a:gd name="connsiteY584" fmla="*/ 278911 h 638175"/>
                <a:gd name="connsiteX585" fmla="*/ 787920 w 914400"/>
                <a:gd name="connsiteY585" fmla="*/ 275225 h 638175"/>
                <a:gd name="connsiteX586" fmla="*/ 784234 w 914400"/>
                <a:gd name="connsiteY586" fmla="*/ 275225 h 638175"/>
                <a:gd name="connsiteX587" fmla="*/ 769470 w 914400"/>
                <a:gd name="connsiteY587" fmla="*/ 278911 h 638175"/>
                <a:gd name="connsiteX588" fmla="*/ 751029 w 914400"/>
                <a:gd name="connsiteY588" fmla="*/ 275225 h 638175"/>
                <a:gd name="connsiteX589" fmla="*/ 747334 w 914400"/>
                <a:gd name="connsiteY589" fmla="*/ 275225 h 638175"/>
                <a:gd name="connsiteX590" fmla="*/ 739961 w 914400"/>
                <a:gd name="connsiteY590" fmla="*/ 278911 h 638175"/>
                <a:gd name="connsiteX591" fmla="*/ 736266 w 914400"/>
                <a:gd name="connsiteY591" fmla="*/ 275225 h 638175"/>
                <a:gd name="connsiteX592" fmla="*/ 732580 w 914400"/>
                <a:gd name="connsiteY592" fmla="*/ 275225 h 638175"/>
                <a:gd name="connsiteX593" fmla="*/ 732580 w 914400"/>
                <a:gd name="connsiteY593" fmla="*/ 271530 h 638175"/>
                <a:gd name="connsiteX594" fmla="*/ 728893 w 914400"/>
                <a:gd name="connsiteY594" fmla="*/ 267843 h 638175"/>
                <a:gd name="connsiteX595" fmla="*/ 728893 w 914400"/>
                <a:gd name="connsiteY595" fmla="*/ 260461 h 638175"/>
                <a:gd name="connsiteX596" fmla="*/ 721512 w 914400"/>
                <a:gd name="connsiteY596" fmla="*/ 260461 h 638175"/>
                <a:gd name="connsiteX597" fmla="*/ 721512 w 914400"/>
                <a:gd name="connsiteY597" fmla="*/ 256766 h 638175"/>
                <a:gd name="connsiteX598" fmla="*/ 717825 w 914400"/>
                <a:gd name="connsiteY598" fmla="*/ 256766 h 638175"/>
                <a:gd name="connsiteX599" fmla="*/ 717825 w 914400"/>
                <a:gd name="connsiteY599" fmla="*/ 249384 h 638175"/>
                <a:gd name="connsiteX600" fmla="*/ 706757 w 914400"/>
                <a:gd name="connsiteY600" fmla="*/ 242012 h 638175"/>
                <a:gd name="connsiteX601" fmla="*/ 703071 w 914400"/>
                <a:gd name="connsiteY601" fmla="*/ 234630 h 638175"/>
                <a:gd name="connsiteX602" fmla="*/ 703071 w 914400"/>
                <a:gd name="connsiteY602" fmla="*/ 230934 h 638175"/>
                <a:gd name="connsiteX603" fmla="*/ 703071 w 914400"/>
                <a:gd name="connsiteY603" fmla="*/ 227248 h 638175"/>
                <a:gd name="connsiteX604" fmla="*/ 699375 w 914400"/>
                <a:gd name="connsiteY604" fmla="*/ 227248 h 638175"/>
                <a:gd name="connsiteX605" fmla="*/ 692003 w 914400"/>
                <a:gd name="connsiteY605" fmla="*/ 227248 h 638175"/>
                <a:gd name="connsiteX606" fmla="*/ 688307 w 914400"/>
                <a:gd name="connsiteY606" fmla="*/ 227248 h 638175"/>
                <a:gd name="connsiteX607" fmla="*/ 684621 w 914400"/>
                <a:gd name="connsiteY607" fmla="*/ 227248 h 638175"/>
                <a:gd name="connsiteX608" fmla="*/ 684621 w 914400"/>
                <a:gd name="connsiteY608" fmla="*/ 223552 h 638175"/>
                <a:gd name="connsiteX609" fmla="*/ 680935 w 914400"/>
                <a:gd name="connsiteY609" fmla="*/ 227248 h 638175"/>
                <a:gd name="connsiteX610" fmla="*/ 677239 w 914400"/>
                <a:gd name="connsiteY610" fmla="*/ 227248 h 638175"/>
                <a:gd name="connsiteX611" fmla="*/ 669867 w 914400"/>
                <a:gd name="connsiteY611" fmla="*/ 227248 h 638175"/>
                <a:gd name="connsiteX612" fmla="*/ 666171 w 914400"/>
                <a:gd name="connsiteY612" fmla="*/ 230934 h 638175"/>
                <a:gd name="connsiteX613" fmla="*/ 662485 w 914400"/>
                <a:gd name="connsiteY613" fmla="*/ 230934 h 638175"/>
                <a:gd name="connsiteX614" fmla="*/ 662485 w 914400"/>
                <a:gd name="connsiteY614" fmla="*/ 238316 h 638175"/>
                <a:gd name="connsiteX615" fmla="*/ 655113 w 914400"/>
                <a:gd name="connsiteY615" fmla="*/ 238316 h 638175"/>
                <a:gd name="connsiteX616" fmla="*/ 655113 w 914400"/>
                <a:gd name="connsiteY616" fmla="*/ 242012 h 638175"/>
                <a:gd name="connsiteX617" fmla="*/ 644045 w 914400"/>
                <a:gd name="connsiteY617" fmla="*/ 242012 h 638175"/>
                <a:gd name="connsiteX618" fmla="*/ 644045 w 914400"/>
                <a:gd name="connsiteY618" fmla="*/ 238316 h 638175"/>
                <a:gd name="connsiteX619" fmla="*/ 640349 w 914400"/>
                <a:gd name="connsiteY619" fmla="*/ 238316 h 638175"/>
                <a:gd name="connsiteX620" fmla="*/ 636663 w 914400"/>
                <a:gd name="connsiteY620" fmla="*/ 238316 h 638175"/>
                <a:gd name="connsiteX621" fmla="*/ 632977 w 914400"/>
                <a:gd name="connsiteY621" fmla="*/ 238316 h 638175"/>
                <a:gd name="connsiteX622" fmla="*/ 629281 w 914400"/>
                <a:gd name="connsiteY622" fmla="*/ 242012 h 638175"/>
                <a:gd name="connsiteX623" fmla="*/ 625595 w 914400"/>
                <a:gd name="connsiteY623" fmla="*/ 238316 h 638175"/>
                <a:gd name="connsiteX624" fmla="*/ 621909 w 914400"/>
                <a:gd name="connsiteY624" fmla="*/ 238316 h 638175"/>
                <a:gd name="connsiteX625" fmla="*/ 614527 w 914400"/>
                <a:gd name="connsiteY625" fmla="*/ 238316 h 638175"/>
                <a:gd name="connsiteX626" fmla="*/ 610840 w 914400"/>
                <a:gd name="connsiteY626" fmla="*/ 238316 h 638175"/>
                <a:gd name="connsiteX627" fmla="*/ 607145 w 914400"/>
                <a:gd name="connsiteY627" fmla="*/ 238316 h 638175"/>
                <a:gd name="connsiteX628" fmla="*/ 603459 w 914400"/>
                <a:gd name="connsiteY628" fmla="*/ 238316 h 638175"/>
                <a:gd name="connsiteX629" fmla="*/ 603459 w 914400"/>
                <a:gd name="connsiteY629" fmla="*/ 242012 h 638175"/>
                <a:gd name="connsiteX630" fmla="*/ 599772 w 914400"/>
                <a:gd name="connsiteY630" fmla="*/ 238316 h 638175"/>
                <a:gd name="connsiteX631" fmla="*/ 596077 w 914400"/>
                <a:gd name="connsiteY631" fmla="*/ 238316 h 638175"/>
                <a:gd name="connsiteX632" fmla="*/ 588704 w 914400"/>
                <a:gd name="connsiteY632" fmla="*/ 238316 h 638175"/>
                <a:gd name="connsiteX633" fmla="*/ 588704 w 914400"/>
                <a:gd name="connsiteY633" fmla="*/ 234630 h 638175"/>
                <a:gd name="connsiteX634" fmla="*/ 585009 w 914400"/>
                <a:gd name="connsiteY634" fmla="*/ 234630 h 638175"/>
                <a:gd name="connsiteX635" fmla="*/ 577636 w 914400"/>
                <a:gd name="connsiteY635" fmla="*/ 238316 h 638175"/>
                <a:gd name="connsiteX636" fmla="*/ 577636 w 914400"/>
                <a:gd name="connsiteY636" fmla="*/ 242012 h 638175"/>
                <a:gd name="connsiteX637" fmla="*/ 581323 w 914400"/>
                <a:gd name="connsiteY637" fmla="*/ 245698 h 638175"/>
                <a:gd name="connsiteX638" fmla="*/ 577636 w 914400"/>
                <a:gd name="connsiteY638" fmla="*/ 249384 h 638175"/>
                <a:gd name="connsiteX639" fmla="*/ 577636 w 914400"/>
                <a:gd name="connsiteY639" fmla="*/ 245698 h 638175"/>
                <a:gd name="connsiteX640" fmla="*/ 577636 w 914400"/>
                <a:gd name="connsiteY640" fmla="*/ 242012 h 638175"/>
                <a:gd name="connsiteX641" fmla="*/ 573950 w 914400"/>
                <a:gd name="connsiteY641" fmla="*/ 242012 h 638175"/>
                <a:gd name="connsiteX642" fmla="*/ 570254 w 914400"/>
                <a:gd name="connsiteY642" fmla="*/ 242012 h 638175"/>
                <a:gd name="connsiteX643" fmla="*/ 566568 w 914400"/>
                <a:gd name="connsiteY643" fmla="*/ 234630 h 638175"/>
                <a:gd name="connsiteX644" fmla="*/ 566568 w 914400"/>
                <a:gd name="connsiteY644" fmla="*/ 230934 h 638175"/>
                <a:gd name="connsiteX645" fmla="*/ 570254 w 914400"/>
                <a:gd name="connsiteY645" fmla="*/ 227248 h 638175"/>
                <a:gd name="connsiteX646" fmla="*/ 573950 w 914400"/>
                <a:gd name="connsiteY646" fmla="*/ 227248 h 638175"/>
                <a:gd name="connsiteX647" fmla="*/ 573950 w 914400"/>
                <a:gd name="connsiteY647" fmla="*/ 223552 h 638175"/>
                <a:gd name="connsiteX648" fmla="*/ 570254 w 914400"/>
                <a:gd name="connsiteY648" fmla="*/ 223552 h 638175"/>
                <a:gd name="connsiteX649" fmla="*/ 566568 w 914400"/>
                <a:gd name="connsiteY649" fmla="*/ 223552 h 638175"/>
                <a:gd name="connsiteX650" fmla="*/ 562882 w 914400"/>
                <a:gd name="connsiteY650" fmla="*/ 223552 h 638175"/>
                <a:gd name="connsiteX651" fmla="*/ 559186 w 914400"/>
                <a:gd name="connsiteY651" fmla="*/ 219866 h 638175"/>
                <a:gd name="connsiteX652" fmla="*/ 559186 w 914400"/>
                <a:gd name="connsiteY652" fmla="*/ 216170 h 638175"/>
                <a:gd name="connsiteX653" fmla="*/ 559186 w 914400"/>
                <a:gd name="connsiteY653" fmla="*/ 212484 h 638175"/>
                <a:gd name="connsiteX654" fmla="*/ 559186 w 914400"/>
                <a:gd name="connsiteY654" fmla="*/ 208788 h 638175"/>
                <a:gd name="connsiteX655" fmla="*/ 555500 w 914400"/>
                <a:gd name="connsiteY655" fmla="*/ 205102 h 638175"/>
                <a:gd name="connsiteX656" fmla="*/ 551814 w 914400"/>
                <a:gd name="connsiteY656" fmla="*/ 201407 h 638175"/>
                <a:gd name="connsiteX657" fmla="*/ 551814 w 914400"/>
                <a:gd name="connsiteY657" fmla="*/ 190338 h 638175"/>
                <a:gd name="connsiteX658" fmla="*/ 548118 w 914400"/>
                <a:gd name="connsiteY658" fmla="*/ 190338 h 638175"/>
                <a:gd name="connsiteX659" fmla="*/ 548118 w 914400"/>
                <a:gd name="connsiteY659" fmla="*/ 186652 h 638175"/>
                <a:gd name="connsiteX660" fmla="*/ 548118 w 914400"/>
                <a:gd name="connsiteY660" fmla="*/ 182957 h 638175"/>
                <a:gd name="connsiteX661" fmla="*/ 544432 w 914400"/>
                <a:gd name="connsiteY661" fmla="*/ 182957 h 638175"/>
                <a:gd name="connsiteX662" fmla="*/ 540746 w 914400"/>
                <a:gd name="connsiteY662" fmla="*/ 182957 h 638175"/>
                <a:gd name="connsiteX663" fmla="*/ 537050 w 914400"/>
                <a:gd name="connsiteY663" fmla="*/ 182957 h 638175"/>
                <a:gd name="connsiteX664" fmla="*/ 537050 w 914400"/>
                <a:gd name="connsiteY664" fmla="*/ 171889 h 638175"/>
                <a:gd name="connsiteX665" fmla="*/ 537050 w 914400"/>
                <a:gd name="connsiteY665" fmla="*/ 168193 h 638175"/>
                <a:gd name="connsiteX666" fmla="*/ 533364 w 914400"/>
                <a:gd name="connsiteY666" fmla="*/ 168193 h 638175"/>
                <a:gd name="connsiteX667" fmla="*/ 529678 w 914400"/>
                <a:gd name="connsiteY667" fmla="*/ 168193 h 638175"/>
                <a:gd name="connsiteX668" fmla="*/ 529678 w 914400"/>
                <a:gd name="connsiteY668" fmla="*/ 164507 h 638175"/>
                <a:gd name="connsiteX669" fmla="*/ 533364 w 914400"/>
                <a:gd name="connsiteY669" fmla="*/ 164507 h 638175"/>
                <a:gd name="connsiteX670" fmla="*/ 533364 w 914400"/>
                <a:gd name="connsiteY670" fmla="*/ 157125 h 638175"/>
                <a:gd name="connsiteX671" fmla="*/ 533364 w 914400"/>
                <a:gd name="connsiteY671" fmla="*/ 149743 h 638175"/>
                <a:gd name="connsiteX672" fmla="*/ 533364 w 914400"/>
                <a:gd name="connsiteY672" fmla="*/ 142361 h 638175"/>
                <a:gd name="connsiteX673" fmla="*/ 537050 w 914400"/>
                <a:gd name="connsiteY673" fmla="*/ 142361 h 638175"/>
                <a:gd name="connsiteX674" fmla="*/ 540746 w 914400"/>
                <a:gd name="connsiteY674" fmla="*/ 138675 h 638175"/>
                <a:gd name="connsiteX675" fmla="*/ 544432 w 914400"/>
                <a:gd name="connsiteY675" fmla="*/ 138675 h 638175"/>
                <a:gd name="connsiteX676" fmla="*/ 540746 w 914400"/>
                <a:gd name="connsiteY676" fmla="*/ 134979 h 638175"/>
                <a:gd name="connsiteX677" fmla="*/ 537050 w 914400"/>
                <a:gd name="connsiteY677" fmla="*/ 134979 h 638175"/>
                <a:gd name="connsiteX678" fmla="*/ 533364 w 914400"/>
                <a:gd name="connsiteY678" fmla="*/ 131293 h 638175"/>
                <a:gd name="connsiteX679" fmla="*/ 533364 w 914400"/>
                <a:gd name="connsiteY679" fmla="*/ 127597 h 638175"/>
                <a:gd name="connsiteX680" fmla="*/ 537050 w 914400"/>
                <a:gd name="connsiteY680" fmla="*/ 127597 h 638175"/>
                <a:gd name="connsiteX681" fmla="*/ 537050 w 914400"/>
                <a:gd name="connsiteY681" fmla="*/ 123909 h 638175"/>
                <a:gd name="connsiteX682" fmla="*/ 544432 w 914400"/>
                <a:gd name="connsiteY682" fmla="*/ 123909 h 638175"/>
                <a:gd name="connsiteX683" fmla="*/ 551814 w 914400"/>
                <a:gd name="connsiteY683" fmla="*/ 120218 h 638175"/>
                <a:gd name="connsiteX684" fmla="*/ 555500 w 914400"/>
                <a:gd name="connsiteY684" fmla="*/ 120218 h 638175"/>
                <a:gd name="connsiteX685" fmla="*/ 555500 w 914400"/>
                <a:gd name="connsiteY685" fmla="*/ 116528 h 638175"/>
                <a:gd name="connsiteX686" fmla="*/ 559186 w 914400"/>
                <a:gd name="connsiteY686" fmla="*/ 116528 h 638175"/>
                <a:gd name="connsiteX687" fmla="*/ 559186 w 914400"/>
                <a:gd name="connsiteY687" fmla="*/ 109147 h 638175"/>
                <a:gd name="connsiteX688" fmla="*/ 559186 w 914400"/>
                <a:gd name="connsiteY688" fmla="*/ 105456 h 638175"/>
                <a:gd name="connsiteX689" fmla="*/ 559186 w 914400"/>
                <a:gd name="connsiteY689" fmla="*/ 101766 h 638175"/>
                <a:gd name="connsiteX690" fmla="*/ 555500 w 914400"/>
                <a:gd name="connsiteY690" fmla="*/ 101766 h 638175"/>
                <a:gd name="connsiteX691" fmla="*/ 551814 w 914400"/>
                <a:gd name="connsiteY691" fmla="*/ 98075 h 638175"/>
                <a:gd name="connsiteX692" fmla="*/ 551814 w 914400"/>
                <a:gd name="connsiteY692" fmla="*/ 90695 h 638175"/>
                <a:gd name="connsiteX693" fmla="*/ 551814 w 914400"/>
                <a:gd name="connsiteY693" fmla="*/ 87004 h 638175"/>
                <a:gd name="connsiteX694" fmla="*/ 555500 w 914400"/>
                <a:gd name="connsiteY694" fmla="*/ 83313 h 638175"/>
                <a:gd name="connsiteX695" fmla="*/ 555500 w 914400"/>
                <a:gd name="connsiteY695" fmla="*/ 75932 h 638175"/>
                <a:gd name="connsiteX696" fmla="*/ 551814 w 914400"/>
                <a:gd name="connsiteY696" fmla="*/ 72242 h 638175"/>
                <a:gd name="connsiteX697" fmla="*/ 548118 w 914400"/>
                <a:gd name="connsiteY697" fmla="*/ 68551 h 638175"/>
                <a:gd name="connsiteX698" fmla="*/ 548118 w 914400"/>
                <a:gd name="connsiteY698" fmla="*/ 61170 h 638175"/>
                <a:gd name="connsiteX699" fmla="*/ 544432 w 914400"/>
                <a:gd name="connsiteY699" fmla="*/ 50098 h 638175"/>
                <a:gd name="connsiteX700" fmla="*/ 544432 w 914400"/>
                <a:gd name="connsiteY700" fmla="*/ 46407 h 638175"/>
                <a:gd name="connsiteX701" fmla="*/ 540746 w 914400"/>
                <a:gd name="connsiteY701" fmla="*/ 42717 h 638175"/>
                <a:gd name="connsiteX702" fmla="*/ 529678 w 914400"/>
                <a:gd name="connsiteY702" fmla="*/ 39026 h 638175"/>
                <a:gd name="connsiteX703" fmla="*/ 525982 w 914400"/>
                <a:gd name="connsiteY703" fmla="*/ 35335 h 638175"/>
                <a:gd name="connsiteX704" fmla="*/ 525982 w 914400"/>
                <a:gd name="connsiteY704" fmla="*/ 31645 h 638175"/>
                <a:gd name="connsiteX705" fmla="*/ 525982 w 914400"/>
                <a:gd name="connsiteY705" fmla="*/ 27954 h 638175"/>
                <a:gd name="connsiteX706" fmla="*/ 522296 w 914400"/>
                <a:gd name="connsiteY706" fmla="*/ 24264 h 638175"/>
                <a:gd name="connsiteX707" fmla="*/ 518610 w 914400"/>
                <a:gd name="connsiteY707" fmla="*/ 20573 h 638175"/>
                <a:gd name="connsiteX708" fmla="*/ 514924 w 914400"/>
                <a:gd name="connsiteY708" fmla="*/ 20573 h 638175"/>
                <a:gd name="connsiteX709" fmla="*/ 511228 w 914400"/>
                <a:gd name="connsiteY709" fmla="*/ 16882 h 638175"/>
                <a:gd name="connsiteX710" fmla="*/ 507542 w 914400"/>
                <a:gd name="connsiteY710" fmla="*/ 20573 h 638175"/>
                <a:gd name="connsiteX711" fmla="*/ 503856 w 914400"/>
                <a:gd name="connsiteY711" fmla="*/ 20573 h 638175"/>
                <a:gd name="connsiteX712" fmla="*/ 500160 w 914400"/>
                <a:gd name="connsiteY712" fmla="*/ 20573 h 638175"/>
                <a:gd name="connsiteX713" fmla="*/ 496474 w 914400"/>
                <a:gd name="connsiteY713" fmla="*/ 24264 h 638175"/>
                <a:gd name="connsiteX714" fmla="*/ 489092 w 914400"/>
                <a:gd name="connsiteY714" fmla="*/ 31645 h 638175"/>
                <a:gd name="connsiteX715" fmla="*/ 481720 w 914400"/>
                <a:gd name="connsiteY715" fmla="*/ 39026 h 638175"/>
                <a:gd name="connsiteX716" fmla="*/ 478024 w 914400"/>
                <a:gd name="connsiteY716" fmla="*/ 42717 h 638175"/>
                <a:gd name="connsiteX717" fmla="*/ 474338 w 914400"/>
                <a:gd name="connsiteY717" fmla="*/ 39026 h 638175"/>
                <a:gd name="connsiteX718" fmla="*/ 474338 w 914400"/>
                <a:gd name="connsiteY718" fmla="*/ 35335 h 638175"/>
                <a:gd name="connsiteX719" fmla="*/ 470652 w 914400"/>
                <a:gd name="connsiteY719" fmla="*/ 39026 h 638175"/>
                <a:gd name="connsiteX720" fmla="*/ 466956 w 914400"/>
                <a:gd name="connsiteY720" fmla="*/ 42717 h 638175"/>
                <a:gd name="connsiteX721" fmla="*/ 459583 w 914400"/>
                <a:gd name="connsiteY721" fmla="*/ 46407 h 638175"/>
                <a:gd name="connsiteX722" fmla="*/ 459583 w 914400"/>
                <a:gd name="connsiteY722" fmla="*/ 39026 h 638175"/>
                <a:gd name="connsiteX723" fmla="*/ 452202 w 914400"/>
                <a:gd name="connsiteY723" fmla="*/ 27954 h 638175"/>
                <a:gd name="connsiteX724" fmla="*/ 448516 w 914400"/>
                <a:gd name="connsiteY724" fmla="*/ 20573 h 638175"/>
                <a:gd name="connsiteX725" fmla="*/ 441134 w 914400"/>
                <a:gd name="connsiteY725" fmla="*/ 9502 h 638175"/>
                <a:gd name="connsiteX726" fmla="*/ 437447 w 914400"/>
                <a:gd name="connsiteY726" fmla="*/ 5812 h 638175"/>
                <a:gd name="connsiteX727" fmla="*/ 315699 w 914400"/>
                <a:gd name="connsiteY727" fmla="*/ 138675 h 638175"/>
                <a:gd name="connsiteX728" fmla="*/ 308326 w 914400"/>
                <a:gd name="connsiteY728" fmla="*/ 134979 h 638175"/>
                <a:gd name="connsiteX729" fmla="*/ 312013 w 914400"/>
                <a:gd name="connsiteY729" fmla="*/ 138675 h 638175"/>
                <a:gd name="connsiteX730" fmla="*/ 315699 w 914400"/>
                <a:gd name="connsiteY730" fmla="*/ 138675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Lst>
              <a:rect l="l" t="t" r="r" b="b"/>
              <a:pathLst>
                <a:path w="914400" h="638175">
                  <a:moveTo>
                    <a:pt x="437447" y="5812"/>
                  </a:moveTo>
                  <a:lnTo>
                    <a:pt x="430065" y="9502"/>
                  </a:lnTo>
                  <a:lnTo>
                    <a:pt x="430065" y="13193"/>
                  </a:lnTo>
                  <a:lnTo>
                    <a:pt x="426379" y="24264"/>
                  </a:lnTo>
                  <a:lnTo>
                    <a:pt x="422693" y="31645"/>
                  </a:lnTo>
                  <a:lnTo>
                    <a:pt x="422693" y="35335"/>
                  </a:lnTo>
                  <a:lnTo>
                    <a:pt x="422693" y="39026"/>
                  </a:lnTo>
                  <a:lnTo>
                    <a:pt x="418998" y="46407"/>
                  </a:lnTo>
                  <a:lnTo>
                    <a:pt x="418998" y="50098"/>
                  </a:lnTo>
                  <a:lnTo>
                    <a:pt x="418998" y="53789"/>
                  </a:lnTo>
                  <a:lnTo>
                    <a:pt x="415311" y="50098"/>
                  </a:lnTo>
                  <a:lnTo>
                    <a:pt x="415311" y="57479"/>
                  </a:lnTo>
                  <a:lnTo>
                    <a:pt x="411625" y="57479"/>
                  </a:lnTo>
                  <a:lnTo>
                    <a:pt x="411625" y="53789"/>
                  </a:lnTo>
                  <a:lnTo>
                    <a:pt x="411625" y="50098"/>
                  </a:lnTo>
                  <a:lnTo>
                    <a:pt x="407929" y="57479"/>
                  </a:lnTo>
                  <a:lnTo>
                    <a:pt x="407929" y="61170"/>
                  </a:lnTo>
                  <a:lnTo>
                    <a:pt x="411625" y="61170"/>
                  </a:lnTo>
                  <a:lnTo>
                    <a:pt x="411625" y="64860"/>
                  </a:lnTo>
                  <a:lnTo>
                    <a:pt x="407929" y="64860"/>
                  </a:lnTo>
                  <a:lnTo>
                    <a:pt x="411625" y="68551"/>
                  </a:lnTo>
                  <a:lnTo>
                    <a:pt x="407929" y="72242"/>
                  </a:lnTo>
                  <a:lnTo>
                    <a:pt x="404243" y="75932"/>
                  </a:lnTo>
                  <a:lnTo>
                    <a:pt x="393175" y="87004"/>
                  </a:lnTo>
                  <a:lnTo>
                    <a:pt x="385793" y="94385"/>
                  </a:lnTo>
                  <a:lnTo>
                    <a:pt x="378421" y="98075"/>
                  </a:lnTo>
                  <a:lnTo>
                    <a:pt x="378421" y="101766"/>
                  </a:lnTo>
                  <a:lnTo>
                    <a:pt x="374725" y="101766"/>
                  </a:lnTo>
                  <a:lnTo>
                    <a:pt x="371039" y="105456"/>
                  </a:lnTo>
                  <a:lnTo>
                    <a:pt x="367353" y="105456"/>
                  </a:lnTo>
                  <a:lnTo>
                    <a:pt x="363667" y="109147"/>
                  </a:lnTo>
                  <a:lnTo>
                    <a:pt x="363667" y="112837"/>
                  </a:lnTo>
                  <a:lnTo>
                    <a:pt x="359971" y="112837"/>
                  </a:lnTo>
                  <a:lnTo>
                    <a:pt x="359971" y="116528"/>
                  </a:lnTo>
                  <a:lnTo>
                    <a:pt x="356285" y="116528"/>
                  </a:lnTo>
                  <a:lnTo>
                    <a:pt x="352599" y="116528"/>
                  </a:lnTo>
                  <a:lnTo>
                    <a:pt x="345217" y="120218"/>
                  </a:lnTo>
                  <a:lnTo>
                    <a:pt x="341531" y="123909"/>
                  </a:lnTo>
                  <a:lnTo>
                    <a:pt x="337835" y="123909"/>
                  </a:lnTo>
                  <a:lnTo>
                    <a:pt x="334149" y="127597"/>
                  </a:lnTo>
                  <a:lnTo>
                    <a:pt x="326767" y="131293"/>
                  </a:lnTo>
                  <a:lnTo>
                    <a:pt x="323081" y="131293"/>
                  </a:lnTo>
                  <a:lnTo>
                    <a:pt x="319395" y="134979"/>
                  </a:lnTo>
                  <a:lnTo>
                    <a:pt x="315699" y="138675"/>
                  </a:lnTo>
                  <a:lnTo>
                    <a:pt x="315699" y="142361"/>
                  </a:lnTo>
                  <a:lnTo>
                    <a:pt x="312013" y="142361"/>
                  </a:lnTo>
                  <a:lnTo>
                    <a:pt x="308326" y="142361"/>
                  </a:lnTo>
                  <a:lnTo>
                    <a:pt x="308326" y="146057"/>
                  </a:lnTo>
                  <a:lnTo>
                    <a:pt x="308326" y="149743"/>
                  </a:lnTo>
                  <a:lnTo>
                    <a:pt x="304631" y="149743"/>
                  </a:lnTo>
                  <a:lnTo>
                    <a:pt x="304631" y="153439"/>
                  </a:lnTo>
                  <a:lnTo>
                    <a:pt x="300945" y="153439"/>
                  </a:lnTo>
                  <a:lnTo>
                    <a:pt x="300945" y="157125"/>
                  </a:lnTo>
                  <a:lnTo>
                    <a:pt x="297258" y="157125"/>
                  </a:lnTo>
                  <a:lnTo>
                    <a:pt x="297258" y="160811"/>
                  </a:lnTo>
                  <a:lnTo>
                    <a:pt x="289877" y="164507"/>
                  </a:lnTo>
                  <a:lnTo>
                    <a:pt x="286190" y="168193"/>
                  </a:lnTo>
                  <a:lnTo>
                    <a:pt x="282504" y="171889"/>
                  </a:lnTo>
                  <a:lnTo>
                    <a:pt x="282504" y="175575"/>
                  </a:lnTo>
                  <a:lnTo>
                    <a:pt x="278808" y="182957"/>
                  </a:lnTo>
                  <a:lnTo>
                    <a:pt x="278808" y="190338"/>
                  </a:lnTo>
                  <a:lnTo>
                    <a:pt x="275122" y="197720"/>
                  </a:lnTo>
                  <a:lnTo>
                    <a:pt x="275122" y="201407"/>
                  </a:lnTo>
                  <a:lnTo>
                    <a:pt x="271436" y="208788"/>
                  </a:lnTo>
                  <a:lnTo>
                    <a:pt x="267740" y="212484"/>
                  </a:lnTo>
                  <a:lnTo>
                    <a:pt x="252986" y="212484"/>
                  </a:lnTo>
                  <a:lnTo>
                    <a:pt x="249300" y="212484"/>
                  </a:lnTo>
                  <a:lnTo>
                    <a:pt x="241918" y="219866"/>
                  </a:lnTo>
                  <a:lnTo>
                    <a:pt x="238232" y="216170"/>
                  </a:lnTo>
                  <a:lnTo>
                    <a:pt x="234536" y="219866"/>
                  </a:lnTo>
                  <a:lnTo>
                    <a:pt x="223478" y="223552"/>
                  </a:lnTo>
                  <a:lnTo>
                    <a:pt x="216096" y="223552"/>
                  </a:lnTo>
                  <a:lnTo>
                    <a:pt x="212410" y="227248"/>
                  </a:lnTo>
                  <a:lnTo>
                    <a:pt x="205028" y="227248"/>
                  </a:lnTo>
                  <a:lnTo>
                    <a:pt x="201342" y="245698"/>
                  </a:lnTo>
                  <a:lnTo>
                    <a:pt x="201342" y="249384"/>
                  </a:lnTo>
                  <a:lnTo>
                    <a:pt x="208714" y="253080"/>
                  </a:lnTo>
                  <a:lnTo>
                    <a:pt x="208714" y="249384"/>
                  </a:lnTo>
                  <a:lnTo>
                    <a:pt x="223478" y="260461"/>
                  </a:lnTo>
                  <a:lnTo>
                    <a:pt x="223478" y="264148"/>
                  </a:lnTo>
                  <a:lnTo>
                    <a:pt x="223478" y="267843"/>
                  </a:lnTo>
                  <a:lnTo>
                    <a:pt x="223478" y="271530"/>
                  </a:lnTo>
                  <a:lnTo>
                    <a:pt x="223478" y="275225"/>
                  </a:lnTo>
                  <a:lnTo>
                    <a:pt x="223478" y="286293"/>
                  </a:lnTo>
                  <a:lnTo>
                    <a:pt x="227164" y="289989"/>
                  </a:lnTo>
                  <a:lnTo>
                    <a:pt x="245604" y="289989"/>
                  </a:lnTo>
                  <a:lnTo>
                    <a:pt x="245604" y="293675"/>
                  </a:lnTo>
                  <a:lnTo>
                    <a:pt x="241918" y="293675"/>
                  </a:lnTo>
                  <a:lnTo>
                    <a:pt x="245604" y="297361"/>
                  </a:lnTo>
                  <a:lnTo>
                    <a:pt x="245604" y="301057"/>
                  </a:lnTo>
                  <a:lnTo>
                    <a:pt x="245604" y="304743"/>
                  </a:lnTo>
                  <a:lnTo>
                    <a:pt x="249300" y="304743"/>
                  </a:lnTo>
                  <a:lnTo>
                    <a:pt x="252986" y="304743"/>
                  </a:lnTo>
                  <a:lnTo>
                    <a:pt x="252986" y="312125"/>
                  </a:lnTo>
                  <a:lnTo>
                    <a:pt x="260368" y="312125"/>
                  </a:lnTo>
                  <a:lnTo>
                    <a:pt x="260368" y="315821"/>
                  </a:lnTo>
                  <a:lnTo>
                    <a:pt x="260368" y="319507"/>
                  </a:lnTo>
                  <a:lnTo>
                    <a:pt x="252986" y="319507"/>
                  </a:lnTo>
                  <a:lnTo>
                    <a:pt x="252986" y="323203"/>
                  </a:lnTo>
                  <a:lnTo>
                    <a:pt x="252986" y="326889"/>
                  </a:lnTo>
                  <a:lnTo>
                    <a:pt x="256672" y="326889"/>
                  </a:lnTo>
                  <a:lnTo>
                    <a:pt x="256672" y="330585"/>
                  </a:lnTo>
                  <a:lnTo>
                    <a:pt x="252986" y="330585"/>
                  </a:lnTo>
                  <a:lnTo>
                    <a:pt x="249300" y="330585"/>
                  </a:lnTo>
                  <a:lnTo>
                    <a:pt x="249300" y="334271"/>
                  </a:lnTo>
                  <a:lnTo>
                    <a:pt x="245604" y="337966"/>
                  </a:lnTo>
                  <a:lnTo>
                    <a:pt x="245604" y="345339"/>
                  </a:lnTo>
                  <a:lnTo>
                    <a:pt x="245604" y="349035"/>
                  </a:lnTo>
                  <a:lnTo>
                    <a:pt x="241918" y="352721"/>
                  </a:lnTo>
                  <a:lnTo>
                    <a:pt x="238232" y="356416"/>
                  </a:lnTo>
                  <a:lnTo>
                    <a:pt x="234536" y="356416"/>
                  </a:lnTo>
                  <a:lnTo>
                    <a:pt x="234536" y="360103"/>
                  </a:lnTo>
                  <a:lnTo>
                    <a:pt x="238232" y="363798"/>
                  </a:lnTo>
                  <a:lnTo>
                    <a:pt x="245604" y="367484"/>
                  </a:lnTo>
                  <a:lnTo>
                    <a:pt x="249300" y="367484"/>
                  </a:lnTo>
                  <a:lnTo>
                    <a:pt x="252986" y="367484"/>
                  </a:lnTo>
                  <a:lnTo>
                    <a:pt x="256672" y="363798"/>
                  </a:lnTo>
                  <a:lnTo>
                    <a:pt x="260368" y="360103"/>
                  </a:lnTo>
                  <a:lnTo>
                    <a:pt x="264054" y="360103"/>
                  </a:lnTo>
                  <a:lnTo>
                    <a:pt x="267740" y="356416"/>
                  </a:lnTo>
                  <a:lnTo>
                    <a:pt x="267740" y="352721"/>
                  </a:lnTo>
                  <a:lnTo>
                    <a:pt x="271436" y="352721"/>
                  </a:lnTo>
                  <a:lnTo>
                    <a:pt x="271436" y="349035"/>
                  </a:lnTo>
                  <a:lnTo>
                    <a:pt x="271436" y="345339"/>
                  </a:lnTo>
                  <a:lnTo>
                    <a:pt x="267740" y="341653"/>
                  </a:lnTo>
                  <a:lnTo>
                    <a:pt x="278808" y="337966"/>
                  </a:lnTo>
                  <a:lnTo>
                    <a:pt x="282504" y="345339"/>
                  </a:lnTo>
                  <a:lnTo>
                    <a:pt x="282504" y="349035"/>
                  </a:lnTo>
                  <a:lnTo>
                    <a:pt x="282504" y="352721"/>
                  </a:lnTo>
                  <a:lnTo>
                    <a:pt x="282504" y="356416"/>
                  </a:lnTo>
                  <a:lnTo>
                    <a:pt x="286190" y="360103"/>
                  </a:lnTo>
                  <a:lnTo>
                    <a:pt x="282504" y="363798"/>
                  </a:lnTo>
                  <a:lnTo>
                    <a:pt x="282504" y="367484"/>
                  </a:lnTo>
                  <a:lnTo>
                    <a:pt x="282504" y="385944"/>
                  </a:lnTo>
                  <a:lnTo>
                    <a:pt x="289877" y="385944"/>
                  </a:lnTo>
                  <a:lnTo>
                    <a:pt x="289877" y="389630"/>
                  </a:lnTo>
                  <a:lnTo>
                    <a:pt x="286190" y="389630"/>
                  </a:lnTo>
                  <a:lnTo>
                    <a:pt x="297258" y="397012"/>
                  </a:lnTo>
                  <a:lnTo>
                    <a:pt x="297258" y="408080"/>
                  </a:lnTo>
                  <a:lnTo>
                    <a:pt x="297258" y="411776"/>
                  </a:lnTo>
                  <a:lnTo>
                    <a:pt x="297258" y="415462"/>
                  </a:lnTo>
                  <a:lnTo>
                    <a:pt x="297258" y="419158"/>
                  </a:lnTo>
                  <a:lnTo>
                    <a:pt x="300945" y="422844"/>
                  </a:lnTo>
                  <a:lnTo>
                    <a:pt x="304631" y="426539"/>
                  </a:lnTo>
                  <a:lnTo>
                    <a:pt x="308326" y="426539"/>
                  </a:lnTo>
                  <a:lnTo>
                    <a:pt x="308326" y="430226"/>
                  </a:lnTo>
                  <a:lnTo>
                    <a:pt x="312013" y="437607"/>
                  </a:lnTo>
                  <a:lnTo>
                    <a:pt x="312013" y="441294"/>
                  </a:lnTo>
                  <a:lnTo>
                    <a:pt x="315699" y="444989"/>
                  </a:lnTo>
                  <a:lnTo>
                    <a:pt x="312013" y="448676"/>
                  </a:lnTo>
                  <a:lnTo>
                    <a:pt x="315699" y="452371"/>
                  </a:lnTo>
                  <a:lnTo>
                    <a:pt x="315699" y="456057"/>
                  </a:lnTo>
                  <a:lnTo>
                    <a:pt x="315699" y="459753"/>
                  </a:lnTo>
                  <a:lnTo>
                    <a:pt x="312013" y="463439"/>
                  </a:lnTo>
                  <a:lnTo>
                    <a:pt x="304631" y="467135"/>
                  </a:lnTo>
                  <a:lnTo>
                    <a:pt x="297258" y="463439"/>
                  </a:lnTo>
                  <a:lnTo>
                    <a:pt x="286190" y="459753"/>
                  </a:lnTo>
                  <a:lnTo>
                    <a:pt x="278808" y="456057"/>
                  </a:lnTo>
                  <a:lnTo>
                    <a:pt x="275122" y="448676"/>
                  </a:lnTo>
                  <a:lnTo>
                    <a:pt x="271436" y="448676"/>
                  </a:lnTo>
                  <a:lnTo>
                    <a:pt x="267740" y="448676"/>
                  </a:lnTo>
                  <a:lnTo>
                    <a:pt x="264054" y="444989"/>
                  </a:lnTo>
                  <a:lnTo>
                    <a:pt x="260368" y="444989"/>
                  </a:lnTo>
                  <a:lnTo>
                    <a:pt x="252986" y="441294"/>
                  </a:lnTo>
                  <a:lnTo>
                    <a:pt x="249300" y="437607"/>
                  </a:lnTo>
                  <a:lnTo>
                    <a:pt x="245604" y="437607"/>
                  </a:lnTo>
                  <a:lnTo>
                    <a:pt x="241918" y="437607"/>
                  </a:lnTo>
                  <a:lnTo>
                    <a:pt x="230850" y="437607"/>
                  </a:lnTo>
                  <a:lnTo>
                    <a:pt x="227164" y="433921"/>
                  </a:lnTo>
                  <a:lnTo>
                    <a:pt x="223478" y="433921"/>
                  </a:lnTo>
                  <a:lnTo>
                    <a:pt x="219782" y="437607"/>
                  </a:lnTo>
                  <a:lnTo>
                    <a:pt x="216096" y="441294"/>
                  </a:lnTo>
                  <a:lnTo>
                    <a:pt x="212410" y="441294"/>
                  </a:lnTo>
                  <a:lnTo>
                    <a:pt x="205028" y="444989"/>
                  </a:lnTo>
                  <a:lnTo>
                    <a:pt x="201342" y="444989"/>
                  </a:lnTo>
                  <a:lnTo>
                    <a:pt x="197646" y="448676"/>
                  </a:lnTo>
                  <a:lnTo>
                    <a:pt x="193960" y="448676"/>
                  </a:lnTo>
                  <a:lnTo>
                    <a:pt x="186578" y="444989"/>
                  </a:lnTo>
                  <a:lnTo>
                    <a:pt x="182892" y="448676"/>
                  </a:lnTo>
                  <a:lnTo>
                    <a:pt x="179206" y="448676"/>
                  </a:lnTo>
                  <a:lnTo>
                    <a:pt x="175510" y="452371"/>
                  </a:lnTo>
                  <a:lnTo>
                    <a:pt x="175510" y="456057"/>
                  </a:lnTo>
                  <a:lnTo>
                    <a:pt x="171824" y="456057"/>
                  </a:lnTo>
                  <a:lnTo>
                    <a:pt x="168138" y="459753"/>
                  </a:lnTo>
                  <a:lnTo>
                    <a:pt x="164442" y="459753"/>
                  </a:lnTo>
                  <a:lnTo>
                    <a:pt x="160756" y="456057"/>
                  </a:lnTo>
                  <a:lnTo>
                    <a:pt x="157069" y="452371"/>
                  </a:lnTo>
                  <a:lnTo>
                    <a:pt x="146001" y="452371"/>
                  </a:lnTo>
                  <a:lnTo>
                    <a:pt x="142315" y="452371"/>
                  </a:lnTo>
                  <a:lnTo>
                    <a:pt x="134933" y="444989"/>
                  </a:lnTo>
                  <a:lnTo>
                    <a:pt x="127554" y="441294"/>
                  </a:lnTo>
                  <a:lnTo>
                    <a:pt x="123865" y="441294"/>
                  </a:lnTo>
                  <a:lnTo>
                    <a:pt x="120176" y="441294"/>
                  </a:lnTo>
                  <a:lnTo>
                    <a:pt x="120176" y="448676"/>
                  </a:lnTo>
                  <a:lnTo>
                    <a:pt x="116487" y="452371"/>
                  </a:lnTo>
                  <a:lnTo>
                    <a:pt x="112798" y="456057"/>
                  </a:lnTo>
                  <a:lnTo>
                    <a:pt x="109108" y="456057"/>
                  </a:lnTo>
                  <a:lnTo>
                    <a:pt x="105419" y="456057"/>
                  </a:lnTo>
                  <a:lnTo>
                    <a:pt x="101730" y="452371"/>
                  </a:lnTo>
                  <a:lnTo>
                    <a:pt x="98041" y="448676"/>
                  </a:lnTo>
                  <a:lnTo>
                    <a:pt x="94352" y="456057"/>
                  </a:lnTo>
                  <a:lnTo>
                    <a:pt x="90663" y="467135"/>
                  </a:lnTo>
                  <a:lnTo>
                    <a:pt x="83284" y="474517"/>
                  </a:lnTo>
                  <a:lnTo>
                    <a:pt x="79595" y="478203"/>
                  </a:lnTo>
                  <a:lnTo>
                    <a:pt x="83284" y="478203"/>
                  </a:lnTo>
                  <a:lnTo>
                    <a:pt x="79595" y="481899"/>
                  </a:lnTo>
                  <a:lnTo>
                    <a:pt x="75906" y="489271"/>
                  </a:lnTo>
                  <a:lnTo>
                    <a:pt x="72217" y="489271"/>
                  </a:lnTo>
                  <a:lnTo>
                    <a:pt x="72217" y="492967"/>
                  </a:lnTo>
                  <a:lnTo>
                    <a:pt x="68528" y="504035"/>
                  </a:lnTo>
                  <a:lnTo>
                    <a:pt x="64839" y="507730"/>
                  </a:lnTo>
                  <a:lnTo>
                    <a:pt x="64839" y="511417"/>
                  </a:lnTo>
                  <a:lnTo>
                    <a:pt x="61149" y="511417"/>
                  </a:lnTo>
                  <a:lnTo>
                    <a:pt x="53771" y="511417"/>
                  </a:lnTo>
                  <a:lnTo>
                    <a:pt x="50082" y="511417"/>
                  </a:lnTo>
                  <a:lnTo>
                    <a:pt x="50082" y="518799"/>
                  </a:lnTo>
                  <a:lnTo>
                    <a:pt x="46393" y="522494"/>
                  </a:lnTo>
                  <a:lnTo>
                    <a:pt x="42704" y="522494"/>
                  </a:lnTo>
                  <a:lnTo>
                    <a:pt x="39014" y="522494"/>
                  </a:lnTo>
                  <a:lnTo>
                    <a:pt x="35325" y="522494"/>
                  </a:lnTo>
                  <a:lnTo>
                    <a:pt x="35325" y="526180"/>
                  </a:lnTo>
                  <a:lnTo>
                    <a:pt x="35325" y="529876"/>
                  </a:lnTo>
                  <a:lnTo>
                    <a:pt x="39014" y="533562"/>
                  </a:lnTo>
                  <a:lnTo>
                    <a:pt x="39014" y="537248"/>
                  </a:lnTo>
                  <a:lnTo>
                    <a:pt x="35325" y="537248"/>
                  </a:lnTo>
                  <a:lnTo>
                    <a:pt x="31636" y="533562"/>
                  </a:lnTo>
                  <a:lnTo>
                    <a:pt x="20569" y="537248"/>
                  </a:lnTo>
                  <a:lnTo>
                    <a:pt x="16879" y="533562"/>
                  </a:lnTo>
                  <a:lnTo>
                    <a:pt x="9501" y="537248"/>
                  </a:lnTo>
                  <a:lnTo>
                    <a:pt x="5812" y="533562"/>
                  </a:lnTo>
                  <a:lnTo>
                    <a:pt x="5812" y="537248"/>
                  </a:lnTo>
                  <a:lnTo>
                    <a:pt x="5812" y="540944"/>
                  </a:lnTo>
                  <a:lnTo>
                    <a:pt x="9501" y="544630"/>
                  </a:lnTo>
                  <a:lnTo>
                    <a:pt x="5812" y="544630"/>
                  </a:lnTo>
                  <a:lnTo>
                    <a:pt x="9501" y="548326"/>
                  </a:lnTo>
                  <a:lnTo>
                    <a:pt x="13190" y="548326"/>
                  </a:lnTo>
                  <a:lnTo>
                    <a:pt x="16879" y="548326"/>
                  </a:lnTo>
                  <a:lnTo>
                    <a:pt x="24258" y="548326"/>
                  </a:lnTo>
                  <a:lnTo>
                    <a:pt x="20569" y="563090"/>
                  </a:lnTo>
                  <a:lnTo>
                    <a:pt x="20569" y="566776"/>
                  </a:lnTo>
                  <a:lnTo>
                    <a:pt x="13190" y="566776"/>
                  </a:lnTo>
                  <a:lnTo>
                    <a:pt x="13190" y="570472"/>
                  </a:lnTo>
                  <a:lnTo>
                    <a:pt x="13190" y="574158"/>
                  </a:lnTo>
                  <a:lnTo>
                    <a:pt x="16879" y="574158"/>
                  </a:lnTo>
                  <a:lnTo>
                    <a:pt x="20569" y="577854"/>
                  </a:lnTo>
                  <a:lnTo>
                    <a:pt x="27947" y="581540"/>
                  </a:lnTo>
                  <a:lnTo>
                    <a:pt x="31636" y="585226"/>
                  </a:lnTo>
                  <a:lnTo>
                    <a:pt x="35325" y="585226"/>
                  </a:lnTo>
                  <a:lnTo>
                    <a:pt x="35325" y="588922"/>
                  </a:lnTo>
                  <a:lnTo>
                    <a:pt x="39014" y="592608"/>
                  </a:lnTo>
                  <a:lnTo>
                    <a:pt x="39014" y="596303"/>
                  </a:lnTo>
                  <a:lnTo>
                    <a:pt x="42704" y="596303"/>
                  </a:lnTo>
                  <a:lnTo>
                    <a:pt x="42704" y="599990"/>
                  </a:lnTo>
                  <a:lnTo>
                    <a:pt x="46393" y="599990"/>
                  </a:lnTo>
                  <a:lnTo>
                    <a:pt x="50082" y="596303"/>
                  </a:lnTo>
                  <a:lnTo>
                    <a:pt x="53771" y="592608"/>
                  </a:lnTo>
                  <a:lnTo>
                    <a:pt x="57460" y="592608"/>
                  </a:lnTo>
                  <a:lnTo>
                    <a:pt x="61149" y="596303"/>
                  </a:lnTo>
                  <a:lnTo>
                    <a:pt x="64839" y="599990"/>
                  </a:lnTo>
                  <a:lnTo>
                    <a:pt x="75906" y="603685"/>
                  </a:lnTo>
                  <a:lnTo>
                    <a:pt x="75906" y="607372"/>
                  </a:lnTo>
                  <a:lnTo>
                    <a:pt x="75906" y="611067"/>
                  </a:lnTo>
                  <a:lnTo>
                    <a:pt x="75906" y="614753"/>
                  </a:lnTo>
                  <a:lnTo>
                    <a:pt x="79595" y="618449"/>
                  </a:lnTo>
                  <a:lnTo>
                    <a:pt x="75906" y="622135"/>
                  </a:lnTo>
                  <a:lnTo>
                    <a:pt x="72217" y="625831"/>
                  </a:lnTo>
                  <a:lnTo>
                    <a:pt x="68528" y="625831"/>
                  </a:lnTo>
                  <a:lnTo>
                    <a:pt x="68528" y="629517"/>
                  </a:lnTo>
                  <a:lnTo>
                    <a:pt x="72217" y="633203"/>
                  </a:lnTo>
                  <a:lnTo>
                    <a:pt x="79595" y="629517"/>
                  </a:lnTo>
                  <a:lnTo>
                    <a:pt x="86973" y="629517"/>
                  </a:lnTo>
                  <a:lnTo>
                    <a:pt x="94352" y="629517"/>
                  </a:lnTo>
                  <a:lnTo>
                    <a:pt x="98041" y="629517"/>
                  </a:lnTo>
                  <a:lnTo>
                    <a:pt x="105419" y="629517"/>
                  </a:lnTo>
                  <a:lnTo>
                    <a:pt x="109108" y="629517"/>
                  </a:lnTo>
                  <a:lnTo>
                    <a:pt x="112798" y="629517"/>
                  </a:lnTo>
                  <a:lnTo>
                    <a:pt x="116487" y="625831"/>
                  </a:lnTo>
                  <a:lnTo>
                    <a:pt x="120176" y="629517"/>
                  </a:lnTo>
                  <a:lnTo>
                    <a:pt x="127554" y="633203"/>
                  </a:lnTo>
                  <a:lnTo>
                    <a:pt x="131243" y="636899"/>
                  </a:lnTo>
                  <a:lnTo>
                    <a:pt x="134933" y="633203"/>
                  </a:lnTo>
                  <a:lnTo>
                    <a:pt x="138620" y="629517"/>
                  </a:lnTo>
                  <a:lnTo>
                    <a:pt x="146001" y="629517"/>
                  </a:lnTo>
                  <a:lnTo>
                    <a:pt x="153383" y="633203"/>
                  </a:lnTo>
                  <a:lnTo>
                    <a:pt x="157069" y="633203"/>
                  </a:lnTo>
                  <a:lnTo>
                    <a:pt x="157069" y="629517"/>
                  </a:lnTo>
                  <a:lnTo>
                    <a:pt x="164442" y="625831"/>
                  </a:lnTo>
                  <a:lnTo>
                    <a:pt x="182892" y="618449"/>
                  </a:lnTo>
                  <a:lnTo>
                    <a:pt x="182892" y="614753"/>
                  </a:lnTo>
                  <a:lnTo>
                    <a:pt x="186578" y="614753"/>
                  </a:lnTo>
                  <a:lnTo>
                    <a:pt x="186578" y="607372"/>
                  </a:lnTo>
                  <a:lnTo>
                    <a:pt x="186578" y="599990"/>
                  </a:lnTo>
                  <a:lnTo>
                    <a:pt x="190274" y="592608"/>
                  </a:lnTo>
                  <a:lnTo>
                    <a:pt x="190274" y="588922"/>
                  </a:lnTo>
                  <a:lnTo>
                    <a:pt x="197646" y="577854"/>
                  </a:lnTo>
                  <a:lnTo>
                    <a:pt x="201342" y="574158"/>
                  </a:lnTo>
                  <a:lnTo>
                    <a:pt x="205028" y="570472"/>
                  </a:lnTo>
                  <a:lnTo>
                    <a:pt x="205028" y="566776"/>
                  </a:lnTo>
                  <a:lnTo>
                    <a:pt x="208714" y="563090"/>
                  </a:lnTo>
                  <a:lnTo>
                    <a:pt x="212410" y="563090"/>
                  </a:lnTo>
                  <a:lnTo>
                    <a:pt x="212410" y="566776"/>
                  </a:lnTo>
                  <a:lnTo>
                    <a:pt x="216096" y="570472"/>
                  </a:lnTo>
                  <a:lnTo>
                    <a:pt x="219782" y="574158"/>
                  </a:lnTo>
                  <a:lnTo>
                    <a:pt x="223478" y="574158"/>
                  </a:lnTo>
                  <a:lnTo>
                    <a:pt x="230850" y="574158"/>
                  </a:lnTo>
                  <a:lnTo>
                    <a:pt x="238232" y="574158"/>
                  </a:lnTo>
                  <a:lnTo>
                    <a:pt x="241918" y="570472"/>
                  </a:lnTo>
                  <a:lnTo>
                    <a:pt x="245604" y="563090"/>
                  </a:lnTo>
                  <a:lnTo>
                    <a:pt x="245604" y="559394"/>
                  </a:lnTo>
                  <a:lnTo>
                    <a:pt x="249300" y="559394"/>
                  </a:lnTo>
                  <a:lnTo>
                    <a:pt x="252986" y="559394"/>
                  </a:lnTo>
                  <a:lnTo>
                    <a:pt x="256672" y="559394"/>
                  </a:lnTo>
                  <a:lnTo>
                    <a:pt x="260368" y="563090"/>
                  </a:lnTo>
                  <a:lnTo>
                    <a:pt x="260368" y="566776"/>
                  </a:lnTo>
                  <a:lnTo>
                    <a:pt x="264054" y="566776"/>
                  </a:lnTo>
                  <a:lnTo>
                    <a:pt x="267740" y="566776"/>
                  </a:lnTo>
                  <a:lnTo>
                    <a:pt x="271436" y="570472"/>
                  </a:lnTo>
                  <a:lnTo>
                    <a:pt x="275122" y="570472"/>
                  </a:lnTo>
                  <a:lnTo>
                    <a:pt x="278808" y="566776"/>
                  </a:lnTo>
                  <a:lnTo>
                    <a:pt x="278808" y="563090"/>
                  </a:lnTo>
                  <a:lnTo>
                    <a:pt x="282504" y="559394"/>
                  </a:lnTo>
                  <a:lnTo>
                    <a:pt x="286190" y="559394"/>
                  </a:lnTo>
                  <a:lnTo>
                    <a:pt x="293572" y="559394"/>
                  </a:lnTo>
                  <a:lnTo>
                    <a:pt x="297258" y="559394"/>
                  </a:lnTo>
                  <a:lnTo>
                    <a:pt x="300945" y="559394"/>
                  </a:lnTo>
                  <a:lnTo>
                    <a:pt x="308326" y="563090"/>
                  </a:lnTo>
                  <a:lnTo>
                    <a:pt x="312013" y="566776"/>
                  </a:lnTo>
                  <a:lnTo>
                    <a:pt x="315699" y="566776"/>
                  </a:lnTo>
                  <a:lnTo>
                    <a:pt x="323081" y="566776"/>
                  </a:lnTo>
                  <a:lnTo>
                    <a:pt x="326767" y="570472"/>
                  </a:lnTo>
                  <a:lnTo>
                    <a:pt x="326767" y="577854"/>
                  </a:lnTo>
                  <a:lnTo>
                    <a:pt x="330463" y="581540"/>
                  </a:lnTo>
                  <a:lnTo>
                    <a:pt x="334149" y="585226"/>
                  </a:lnTo>
                  <a:lnTo>
                    <a:pt x="337835" y="588922"/>
                  </a:lnTo>
                  <a:lnTo>
                    <a:pt x="341531" y="588922"/>
                  </a:lnTo>
                  <a:lnTo>
                    <a:pt x="345217" y="588922"/>
                  </a:lnTo>
                  <a:lnTo>
                    <a:pt x="348903" y="592608"/>
                  </a:lnTo>
                  <a:lnTo>
                    <a:pt x="352599" y="592608"/>
                  </a:lnTo>
                  <a:lnTo>
                    <a:pt x="352599" y="599990"/>
                  </a:lnTo>
                  <a:lnTo>
                    <a:pt x="356285" y="599990"/>
                  </a:lnTo>
                  <a:lnTo>
                    <a:pt x="359971" y="603685"/>
                  </a:lnTo>
                  <a:lnTo>
                    <a:pt x="363667" y="603685"/>
                  </a:lnTo>
                  <a:lnTo>
                    <a:pt x="367353" y="603685"/>
                  </a:lnTo>
                  <a:lnTo>
                    <a:pt x="371039" y="607372"/>
                  </a:lnTo>
                  <a:lnTo>
                    <a:pt x="374725" y="611067"/>
                  </a:lnTo>
                  <a:lnTo>
                    <a:pt x="374725" y="614753"/>
                  </a:lnTo>
                  <a:lnTo>
                    <a:pt x="378421" y="618449"/>
                  </a:lnTo>
                  <a:lnTo>
                    <a:pt x="382107" y="618449"/>
                  </a:lnTo>
                  <a:lnTo>
                    <a:pt x="385793" y="618449"/>
                  </a:lnTo>
                  <a:lnTo>
                    <a:pt x="393175" y="618449"/>
                  </a:lnTo>
                  <a:lnTo>
                    <a:pt x="396861" y="618449"/>
                  </a:lnTo>
                  <a:lnTo>
                    <a:pt x="407929" y="614753"/>
                  </a:lnTo>
                  <a:lnTo>
                    <a:pt x="411625" y="614753"/>
                  </a:lnTo>
                  <a:lnTo>
                    <a:pt x="422693" y="614753"/>
                  </a:lnTo>
                  <a:lnTo>
                    <a:pt x="430065" y="614753"/>
                  </a:lnTo>
                  <a:lnTo>
                    <a:pt x="433761" y="614753"/>
                  </a:lnTo>
                  <a:lnTo>
                    <a:pt x="437447" y="614753"/>
                  </a:lnTo>
                  <a:lnTo>
                    <a:pt x="437447" y="611067"/>
                  </a:lnTo>
                  <a:lnTo>
                    <a:pt x="437447" y="607372"/>
                  </a:lnTo>
                  <a:lnTo>
                    <a:pt x="433761" y="603685"/>
                  </a:lnTo>
                  <a:lnTo>
                    <a:pt x="437447" y="599990"/>
                  </a:lnTo>
                  <a:lnTo>
                    <a:pt x="444820" y="599990"/>
                  </a:lnTo>
                  <a:lnTo>
                    <a:pt x="448516" y="599990"/>
                  </a:lnTo>
                  <a:lnTo>
                    <a:pt x="452202" y="603685"/>
                  </a:lnTo>
                  <a:lnTo>
                    <a:pt x="455888" y="607372"/>
                  </a:lnTo>
                  <a:lnTo>
                    <a:pt x="455888" y="611067"/>
                  </a:lnTo>
                  <a:lnTo>
                    <a:pt x="459583" y="614753"/>
                  </a:lnTo>
                  <a:lnTo>
                    <a:pt x="459583" y="618449"/>
                  </a:lnTo>
                  <a:lnTo>
                    <a:pt x="463270" y="622135"/>
                  </a:lnTo>
                  <a:lnTo>
                    <a:pt x="466956" y="622135"/>
                  </a:lnTo>
                  <a:lnTo>
                    <a:pt x="466956" y="625831"/>
                  </a:lnTo>
                  <a:lnTo>
                    <a:pt x="470652" y="629517"/>
                  </a:lnTo>
                  <a:lnTo>
                    <a:pt x="474338" y="629517"/>
                  </a:lnTo>
                  <a:lnTo>
                    <a:pt x="478024" y="625831"/>
                  </a:lnTo>
                  <a:lnTo>
                    <a:pt x="478024" y="622135"/>
                  </a:lnTo>
                  <a:lnTo>
                    <a:pt x="481720" y="618449"/>
                  </a:lnTo>
                  <a:lnTo>
                    <a:pt x="489092" y="614753"/>
                  </a:lnTo>
                  <a:lnTo>
                    <a:pt x="492788" y="614753"/>
                  </a:lnTo>
                  <a:lnTo>
                    <a:pt x="496474" y="607372"/>
                  </a:lnTo>
                  <a:lnTo>
                    <a:pt x="496474" y="603685"/>
                  </a:lnTo>
                  <a:lnTo>
                    <a:pt x="492788" y="603685"/>
                  </a:lnTo>
                  <a:lnTo>
                    <a:pt x="492788" y="596303"/>
                  </a:lnTo>
                  <a:lnTo>
                    <a:pt x="496474" y="596303"/>
                  </a:lnTo>
                  <a:lnTo>
                    <a:pt x="492788" y="592608"/>
                  </a:lnTo>
                  <a:lnTo>
                    <a:pt x="489092" y="592608"/>
                  </a:lnTo>
                  <a:lnTo>
                    <a:pt x="489092" y="588922"/>
                  </a:lnTo>
                  <a:lnTo>
                    <a:pt x="489092" y="585226"/>
                  </a:lnTo>
                  <a:lnTo>
                    <a:pt x="489092" y="581540"/>
                  </a:lnTo>
                  <a:lnTo>
                    <a:pt x="481720" y="574158"/>
                  </a:lnTo>
                  <a:lnTo>
                    <a:pt x="478024" y="574158"/>
                  </a:lnTo>
                  <a:lnTo>
                    <a:pt x="474338" y="574158"/>
                  </a:lnTo>
                  <a:lnTo>
                    <a:pt x="474338" y="570472"/>
                  </a:lnTo>
                  <a:lnTo>
                    <a:pt x="478024" y="566776"/>
                  </a:lnTo>
                  <a:lnTo>
                    <a:pt x="481720" y="566776"/>
                  </a:lnTo>
                  <a:lnTo>
                    <a:pt x="474338" y="563090"/>
                  </a:lnTo>
                  <a:lnTo>
                    <a:pt x="481720" y="552012"/>
                  </a:lnTo>
                  <a:lnTo>
                    <a:pt x="485406" y="552012"/>
                  </a:lnTo>
                  <a:lnTo>
                    <a:pt x="485406" y="555708"/>
                  </a:lnTo>
                  <a:lnTo>
                    <a:pt x="492788" y="555708"/>
                  </a:lnTo>
                  <a:lnTo>
                    <a:pt x="496474" y="555708"/>
                  </a:lnTo>
                  <a:lnTo>
                    <a:pt x="503856" y="552012"/>
                  </a:lnTo>
                  <a:lnTo>
                    <a:pt x="507542" y="552012"/>
                  </a:lnTo>
                  <a:lnTo>
                    <a:pt x="511228" y="548326"/>
                  </a:lnTo>
                  <a:lnTo>
                    <a:pt x="514924" y="544630"/>
                  </a:lnTo>
                  <a:lnTo>
                    <a:pt x="518610" y="548326"/>
                  </a:lnTo>
                  <a:lnTo>
                    <a:pt x="522296" y="544630"/>
                  </a:lnTo>
                  <a:lnTo>
                    <a:pt x="525982" y="540944"/>
                  </a:lnTo>
                  <a:lnTo>
                    <a:pt x="529678" y="540944"/>
                  </a:lnTo>
                  <a:lnTo>
                    <a:pt x="525982" y="537248"/>
                  </a:lnTo>
                  <a:lnTo>
                    <a:pt x="529678" y="533562"/>
                  </a:lnTo>
                  <a:lnTo>
                    <a:pt x="533364" y="529876"/>
                  </a:lnTo>
                  <a:lnTo>
                    <a:pt x="537050" y="533562"/>
                  </a:lnTo>
                  <a:lnTo>
                    <a:pt x="544432" y="540944"/>
                  </a:lnTo>
                  <a:lnTo>
                    <a:pt x="548118" y="540944"/>
                  </a:lnTo>
                  <a:lnTo>
                    <a:pt x="551814" y="540944"/>
                  </a:lnTo>
                  <a:lnTo>
                    <a:pt x="566568" y="544630"/>
                  </a:lnTo>
                  <a:lnTo>
                    <a:pt x="577636" y="544630"/>
                  </a:lnTo>
                  <a:lnTo>
                    <a:pt x="581323" y="548326"/>
                  </a:lnTo>
                  <a:lnTo>
                    <a:pt x="581323" y="540944"/>
                  </a:lnTo>
                  <a:lnTo>
                    <a:pt x="581323" y="537248"/>
                  </a:lnTo>
                  <a:lnTo>
                    <a:pt x="581323" y="533562"/>
                  </a:lnTo>
                  <a:lnTo>
                    <a:pt x="581323" y="529876"/>
                  </a:lnTo>
                  <a:lnTo>
                    <a:pt x="573950" y="526180"/>
                  </a:lnTo>
                  <a:lnTo>
                    <a:pt x="570254" y="526180"/>
                  </a:lnTo>
                  <a:lnTo>
                    <a:pt x="570254" y="522494"/>
                  </a:lnTo>
                  <a:lnTo>
                    <a:pt x="570254" y="518799"/>
                  </a:lnTo>
                  <a:lnTo>
                    <a:pt x="566568" y="511417"/>
                  </a:lnTo>
                  <a:lnTo>
                    <a:pt x="562882" y="507730"/>
                  </a:lnTo>
                  <a:lnTo>
                    <a:pt x="555500" y="507730"/>
                  </a:lnTo>
                  <a:lnTo>
                    <a:pt x="551814" y="507730"/>
                  </a:lnTo>
                  <a:lnTo>
                    <a:pt x="555500" y="504035"/>
                  </a:lnTo>
                  <a:lnTo>
                    <a:pt x="555500" y="500349"/>
                  </a:lnTo>
                  <a:lnTo>
                    <a:pt x="559186" y="500349"/>
                  </a:lnTo>
                  <a:lnTo>
                    <a:pt x="562882" y="504035"/>
                  </a:lnTo>
                  <a:lnTo>
                    <a:pt x="577636" y="496653"/>
                  </a:lnTo>
                  <a:lnTo>
                    <a:pt x="581323" y="500349"/>
                  </a:lnTo>
                  <a:lnTo>
                    <a:pt x="585009" y="500349"/>
                  </a:lnTo>
                  <a:lnTo>
                    <a:pt x="588704" y="504035"/>
                  </a:lnTo>
                  <a:lnTo>
                    <a:pt x="596077" y="507730"/>
                  </a:lnTo>
                  <a:lnTo>
                    <a:pt x="596077" y="511417"/>
                  </a:lnTo>
                  <a:lnTo>
                    <a:pt x="588704" y="511417"/>
                  </a:lnTo>
                  <a:lnTo>
                    <a:pt x="592391" y="515112"/>
                  </a:lnTo>
                  <a:lnTo>
                    <a:pt x="596077" y="518799"/>
                  </a:lnTo>
                  <a:lnTo>
                    <a:pt x="599772" y="522494"/>
                  </a:lnTo>
                  <a:lnTo>
                    <a:pt x="607145" y="526180"/>
                  </a:lnTo>
                  <a:lnTo>
                    <a:pt x="614527" y="526180"/>
                  </a:lnTo>
                  <a:lnTo>
                    <a:pt x="614527" y="522494"/>
                  </a:lnTo>
                  <a:lnTo>
                    <a:pt x="621909" y="522494"/>
                  </a:lnTo>
                  <a:lnTo>
                    <a:pt x="625595" y="526180"/>
                  </a:lnTo>
                  <a:lnTo>
                    <a:pt x="629281" y="526180"/>
                  </a:lnTo>
                  <a:lnTo>
                    <a:pt x="629281" y="522494"/>
                  </a:lnTo>
                  <a:lnTo>
                    <a:pt x="632977" y="522494"/>
                  </a:lnTo>
                  <a:lnTo>
                    <a:pt x="632977" y="518799"/>
                  </a:lnTo>
                  <a:lnTo>
                    <a:pt x="636663" y="522494"/>
                  </a:lnTo>
                  <a:lnTo>
                    <a:pt x="647731" y="526180"/>
                  </a:lnTo>
                  <a:lnTo>
                    <a:pt x="647731" y="529876"/>
                  </a:lnTo>
                  <a:lnTo>
                    <a:pt x="651417" y="537248"/>
                  </a:lnTo>
                  <a:lnTo>
                    <a:pt x="651417" y="540944"/>
                  </a:lnTo>
                  <a:lnTo>
                    <a:pt x="658799" y="537248"/>
                  </a:lnTo>
                  <a:lnTo>
                    <a:pt x="666171" y="537248"/>
                  </a:lnTo>
                  <a:lnTo>
                    <a:pt x="669867" y="537248"/>
                  </a:lnTo>
                  <a:lnTo>
                    <a:pt x="673553" y="540944"/>
                  </a:lnTo>
                  <a:lnTo>
                    <a:pt x="677239" y="540944"/>
                  </a:lnTo>
                  <a:lnTo>
                    <a:pt x="680935" y="544630"/>
                  </a:lnTo>
                  <a:lnTo>
                    <a:pt x="680935" y="548326"/>
                  </a:lnTo>
                  <a:lnTo>
                    <a:pt x="680935" y="552012"/>
                  </a:lnTo>
                  <a:lnTo>
                    <a:pt x="684621" y="552012"/>
                  </a:lnTo>
                  <a:lnTo>
                    <a:pt x="688307" y="552012"/>
                  </a:lnTo>
                  <a:lnTo>
                    <a:pt x="692003" y="552012"/>
                  </a:lnTo>
                  <a:lnTo>
                    <a:pt x="699375" y="555708"/>
                  </a:lnTo>
                  <a:lnTo>
                    <a:pt x="703071" y="555708"/>
                  </a:lnTo>
                  <a:lnTo>
                    <a:pt x="699375" y="548326"/>
                  </a:lnTo>
                  <a:lnTo>
                    <a:pt x="703071" y="552012"/>
                  </a:lnTo>
                  <a:lnTo>
                    <a:pt x="699375" y="544630"/>
                  </a:lnTo>
                  <a:lnTo>
                    <a:pt x="699375" y="540944"/>
                  </a:lnTo>
                  <a:lnTo>
                    <a:pt x="703071" y="537248"/>
                  </a:lnTo>
                  <a:lnTo>
                    <a:pt x="699375" y="537248"/>
                  </a:lnTo>
                  <a:lnTo>
                    <a:pt x="699375" y="533562"/>
                  </a:lnTo>
                  <a:lnTo>
                    <a:pt x="695689" y="533562"/>
                  </a:lnTo>
                  <a:lnTo>
                    <a:pt x="692003" y="529876"/>
                  </a:lnTo>
                  <a:lnTo>
                    <a:pt x="692003" y="526180"/>
                  </a:lnTo>
                  <a:lnTo>
                    <a:pt x="692003" y="518799"/>
                  </a:lnTo>
                  <a:lnTo>
                    <a:pt x="699375" y="522494"/>
                  </a:lnTo>
                  <a:lnTo>
                    <a:pt x="703071" y="522494"/>
                  </a:lnTo>
                  <a:lnTo>
                    <a:pt x="706757" y="526180"/>
                  </a:lnTo>
                  <a:lnTo>
                    <a:pt x="710443" y="526180"/>
                  </a:lnTo>
                  <a:lnTo>
                    <a:pt x="710443" y="529876"/>
                  </a:lnTo>
                  <a:lnTo>
                    <a:pt x="714139" y="529876"/>
                  </a:lnTo>
                  <a:lnTo>
                    <a:pt x="717825" y="529876"/>
                  </a:lnTo>
                  <a:lnTo>
                    <a:pt x="721512" y="526180"/>
                  </a:lnTo>
                  <a:lnTo>
                    <a:pt x="725207" y="533562"/>
                  </a:lnTo>
                  <a:lnTo>
                    <a:pt x="728893" y="533562"/>
                  </a:lnTo>
                  <a:lnTo>
                    <a:pt x="732580" y="537248"/>
                  </a:lnTo>
                  <a:lnTo>
                    <a:pt x="736266" y="533562"/>
                  </a:lnTo>
                  <a:lnTo>
                    <a:pt x="747334" y="529876"/>
                  </a:lnTo>
                  <a:lnTo>
                    <a:pt x="747334" y="526180"/>
                  </a:lnTo>
                  <a:lnTo>
                    <a:pt x="747334" y="522494"/>
                  </a:lnTo>
                  <a:lnTo>
                    <a:pt x="751029" y="522494"/>
                  </a:lnTo>
                  <a:lnTo>
                    <a:pt x="754716" y="518799"/>
                  </a:lnTo>
                  <a:lnTo>
                    <a:pt x="758402" y="518799"/>
                  </a:lnTo>
                  <a:lnTo>
                    <a:pt x="762098" y="518799"/>
                  </a:lnTo>
                  <a:lnTo>
                    <a:pt x="765784" y="515112"/>
                  </a:lnTo>
                  <a:lnTo>
                    <a:pt x="765784" y="511417"/>
                  </a:lnTo>
                  <a:lnTo>
                    <a:pt x="769470" y="511417"/>
                  </a:lnTo>
                  <a:lnTo>
                    <a:pt x="773166" y="507730"/>
                  </a:lnTo>
                  <a:lnTo>
                    <a:pt x="773166" y="511417"/>
                  </a:lnTo>
                  <a:lnTo>
                    <a:pt x="776852" y="511417"/>
                  </a:lnTo>
                  <a:lnTo>
                    <a:pt x="780538" y="507730"/>
                  </a:lnTo>
                  <a:lnTo>
                    <a:pt x="787920" y="504035"/>
                  </a:lnTo>
                  <a:lnTo>
                    <a:pt x="806360" y="496653"/>
                  </a:lnTo>
                  <a:lnTo>
                    <a:pt x="810056" y="496653"/>
                  </a:lnTo>
                  <a:lnTo>
                    <a:pt x="813742" y="496653"/>
                  </a:lnTo>
                  <a:lnTo>
                    <a:pt x="813742" y="492967"/>
                  </a:lnTo>
                  <a:lnTo>
                    <a:pt x="821124" y="489271"/>
                  </a:lnTo>
                  <a:lnTo>
                    <a:pt x="828496" y="485585"/>
                  </a:lnTo>
                  <a:lnTo>
                    <a:pt x="832192" y="485585"/>
                  </a:lnTo>
                  <a:lnTo>
                    <a:pt x="835878" y="481899"/>
                  </a:lnTo>
                  <a:lnTo>
                    <a:pt x="835878" y="485585"/>
                  </a:lnTo>
                  <a:lnTo>
                    <a:pt x="839564" y="485585"/>
                  </a:lnTo>
                  <a:lnTo>
                    <a:pt x="843260" y="485585"/>
                  </a:lnTo>
                  <a:lnTo>
                    <a:pt x="843260" y="489271"/>
                  </a:lnTo>
                  <a:lnTo>
                    <a:pt x="846946" y="492967"/>
                  </a:lnTo>
                  <a:lnTo>
                    <a:pt x="854328" y="500349"/>
                  </a:lnTo>
                  <a:lnTo>
                    <a:pt x="861700" y="496653"/>
                  </a:lnTo>
                  <a:lnTo>
                    <a:pt x="861700" y="492967"/>
                  </a:lnTo>
                  <a:lnTo>
                    <a:pt x="865396" y="492967"/>
                  </a:lnTo>
                  <a:lnTo>
                    <a:pt x="869082" y="489271"/>
                  </a:lnTo>
                  <a:lnTo>
                    <a:pt x="872769" y="489271"/>
                  </a:lnTo>
                  <a:lnTo>
                    <a:pt x="872769" y="485585"/>
                  </a:lnTo>
                  <a:lnTo>
                    <a:pt x="876455" y="481899"/>
                  </a:lnTo>
                  <a:lnTo>
                    <a:pt x="880150" y="481899"/>
                  </a:lnTo>
                  <a:lnTo>
                    <a:pt x="887523" y="470821"/>
                  </a:lnTo>
                  <a:lnTo>
                    <a:pt x="891218" y="467135"/>
                  </a:lnTo>
                  <a:lnTo>
                    <a:pt x="891218" y="463439"/>
                  </a:lnTo>
                  <a:lnTo>
                    <a:pt x="891218" y="459753"/>
                  </a:lnTo>
                  <a:lnTo>
                    <a:pt x="891218" y="448676"/>
                  </a:lnTo>
                  <a:lnTo>
                    <a:pt x="898591" y="444989"/>
                  </a:lnTo>
                  <a:lnTo>
                    <a:pt x="905973" y="444989"/>
                  </a:lnTo>
                  <a:lnTo>
                    <a:pt x="909659" y="437607"/>
                  </a:lnTo>
                  <a:lnTo>
                    <a:pt x="905973" y="433921"/>
                  </a:lnTo>
                  <a:lnTo>
                    <a:pt x="905973" y="426539"/>
                  </a:lnTo>
                  <a:lnTo>
                    <a:pt x="905973" y="422844"/>
                  </a:lnTo>
                  <a:lnTo>
                    <a:pt x="894905" y="419158"/>
                  </a:lnTo>
                  <a:lnTo>
                    <a:pt x="898591" y="419158"/>
                  </a:lnTo>
                  <a:lnTo>
                    <a:pt x="876455" y="404394"/>
                  </a:lnTo>
                  <a:lnTo>
                    <a:pt x="872769" y="400698"/>
                  </a:lnTo>
                  <a:lnTo>
                    <a:pt x="869082" y="393316"/>
                  </a:lnTo>
                  <a:lnTo>
                    <a:pt x="850632" y="385944"/>
                  </a:lnTo>
                  <a:lnTo>
                    <a:pt x="835878" y="385944"/>
                  </a:lnTo>
                  <a:lnTo>
                    <a:pt x="835878" y="382248"/>
                  </a:lnTo>
                  <a:lnTo>
                    <a:pt x="835878" y="374866"/>
                  </a:lnTo>
                  <a:lnTo>
                    <a:pt x="835878" y="371180"/>
                  </a:lnTo>
                  <a:lnTo>
                    <a:pt x="839564" y="367484"/>
                  </a:lnTo>
                  <a:lnTo>
                    <a:pt x="839564" y="363798"/>
                  </a:lnTo>
                  <a:lnTo>
                    <a:pt x="839564" y="360103"/>
                  </a:lnTo>
                  <a:lnTo>
                    <a:pt x="850632" y="360103"/>
                  </a:lnTo>
                  <a:lnTo>
                    <a:pt x="858014" y="356416"/>
                  </a:lnTo>
                  <a:lnTo>
                    <a:pt x="865396" y="352721"/>
                  </a:lnTo>
                  <a:lnTo>
                    <a:pt x="865396" y="349035"/>
                  </a:lnTo>
                  <a:lnTo>
                    <a:pt x="865396" y="345339"/>
                  </a:lnTo>
                  <a:lnTo>
                    <a:pt x="865396" y="341653"/>
                  </a:lnTo>
                  <a:lnTo>
                    <a:pt x="869082" y="341653"/>
                  </a:lnTo>
                  <a:lnTo>
                    <a:pt x="869082" y="337966"/>
                  </a:lnTo>
                  <a:lnTo>
                    <a:pt x="872769" y="323203"/>
                  </a:lnTo>
                  <a:lnTo>
                    <a:pt x="850632" y="323203"/>
                  </a:lnTo>
                  <a:lnTo>
                    <a:pt x="846946" y="323203"/>
                  </a:lnTo>
                  <a:lnTo>
                    <a:pt x="839564" y="319507"/>
                  </a:lnTo>
                  <a:lnTo>
                    <a:pt x="832192" y="315821"/>
                  </a:lnTo>
                  <a:lnTo>
                    <a:pt x="828496" y="315821"/>
                  </a:lnTo>
                  <a:lnTo>
                    <a:pt x="821124" y="315821"/>
                  </a:lnTo>
                  <a:lnTo>
                    <a:pt x="828496" y="304743"/>
                  </a:lnTo>
                  <a:lnTo>
                    <a:pt x="828496" y="293675"/>
                  </a:lnTo>
                  <a:lnTo>
                    <a:pt x="828496" y="289989"/>
                  </a:lnTo>
                  <a:lnTo>
                    <a:pt x="828496" y="286293"/>
                  </a:lnTo>
                  <a:lnTo>
                    <a:pt x="817428" y="278911"/>
                  </a:lnTo>
                  <a:lnTo>
                    <a:pt x="813742" y="278911"/>
                  </a:lnTo>
                  <a:lnTo>
                    <a:pt x="810056" y="286293"/>
                  </a:lnTo>
                  <a:lnTo>
                    <a:pt x="810056" y="282607"/>
                  </a:lnTo>
                  <a:lnTo>
                    <a:pt x="806360" y="278911"/>
                  </a:lnTo>
                  <a:lnTo>
                    <a:pt x="802674" y="282607"/>
                  </a:lnTo>
                  <a:lnTo>
                    <a:pt x="798988" y="286293"/>
                  </a:lnTo>
                  <a:lnTo>
                    <a:pt x="798988" y="289989"/>
                  </a:lnTo>
                  <a:lnTo>
                    <a:pt x="795302" y="286293"/>
                  </a:lnTo>
                  <a:lnTo>
                    <a:pt x="791606" y="282607"/>
                  </a:lnTo>
                  <a:lnTo>
                    <a:pt x="795302" y="278911"/>
                  </a:lnTo>
                  <a:lnTo>
                    <a:pt x="787920" y="275225"/>
                  </a:lnTo>
                  <a:lnTo>
                    <a:pt x="784234" y="275225"/>
                  </a:lnTo>
                  <a:lnTo>
                    <a:pt x="769470" y="278911"/>
                  </a:lnTo>
                  <a:lnTo>
                    <a:pt x="751029" y="275225"/>
                  </a:lnTo>
                  <a:lnTo>
                    <a:pt x="747334" y="275225"/>
                  </a:lnTo>
                  <a:lnTo>
                    <a:pt x="739961" y="278911"/>
                  </a:lnTo>
                  <a:lnTo>
                    <a:pt x="736266" y="275225"/>
                  </a:lnTo>
                  <a:lnTo>
                    <a:pt x="732580" y="275225"/>
                  </a:lnTo>
                  <a:lnTo>
                    <a:pt x="732580" y="271530"/>
                  </a:lnTo>
                  <a:lnTo>
                    <a:pt x="728893" y="267843"/>
                  </a:lnTo>
                  <a:lnTo>
                    <a:pt x="728893" y="260461"/>
                  </a:lnTo>
                  <a:lnTo>
                    <a:pt x="721512" y="260461"/>
                  </a:lnTo>
                  <a:lnTo>
                    <a:pt x="721512" y="256766"/>
                  </a:lnTo>
                  <a:lnTo>
                    <a:pt x="717825" y="256766"/>
                  </a:lnTo>
                  <a:lnTo>
                    <a:pt x="717825" y="249384"/>
                  </a:lnTo>
                  <a:lnTo>
                    <a:pt x="706757" y="242012"/>
                  </a:lnTo>
                  <a:lnTo>
                    <a:pt x="703071" y="234630"/>
                  </a:lnTo>
                  <a:lnTo>
                    <a:pt x="703071" y="230934"/>
                  </a:lnTo>
                  <a:lnTo>
                    <a:pt x="703071" y="227248"/>
                  </a:lnTo>
                  <a:lnTo>
                    <a:pt x="699375" y="227248"/>
                  </a:lnTo>
                  <a:lnTo>
                    <a:pt x="692003" y="227248"/>
                  </a:lnTo>
                  <a:lnTo>
                    <a:pt x="688307" y="227248"/>
                  </a:lnTo>
                  <a:lnTo>
                    <a:pt x="684621" y="227248"/>
                  </a:lnTo>
                  <a:lnTo>
                    <a:pt x="684621" y="223552"/>
                  </a:lnTo>
                  <a:lnTo>
                    <a:pt x="680935" y="227248"/>
                  </a:lnTo>
                  <a:lnTo>
                    <a:pt x="677239" y="227248"/>
                  </a:lnTo>
                  <a:lnTo>
                    <a:pt x="669867" y="227248"/>
                  </a:lnTo>
                  <a:lnTo>
                    <a:pt x="666171" y="230934"/>
                  </a:lnTo>
                  <a:lnTo>
                    <a:pt x="662485" y="230934"/>
                  </a:lnTo>
                  <a:lnTo>
                    <a:pt x="662485" y="238316"/>
                  </a:lnTo>
                  <a:lnTo>
                    <a:pt x="655113" y="238316"/>
                  </a:lnTo>
                  <a:lnTo>
                    <a:pt x="655113" y="242012"/>
                  </a:lnTo>
                  <a:lnTo>
                    <a:pt x="644045" y="242012"/>
                  </a:lnTo>
                  <a:lnTo>
                    <a:pt x="644045" y="238316"/>
                  </a:lnTo>
                  <a:lnTo>
                    <a:pt x="640349" y="238316"/>
                  </a:lnTo>
                  <a:lnTo>
                    <a:pt x="636663" y="238316"/>
                  </a:lnTo>
                  <a:lnTo>
                    <a:pt x="632977" y="238316"/>
                  </a:lnTo>
                  <a:lnTo>
                    <a:pt x="629281" y="242012"/>
                  </a:lnTo>
                  <a:lnTo>
                    <a:pt x="625595" y="238316"/>
                  </a:lnTo>
                  <a:lnTo>
                    <a:pt x="621909" y="238316"/>
                  </a:lnTo>
                  <a:lnTo>
                    <a:pt x="614527" y="238316"/>
                  </a:lnTo>
                  <a:lnTo>
                    <a:pt x="610840" y="238316"/>
                  </a:lnTo>
                  <a:lnTo>
                    <a:pt x="607145" y="238316"/>
                  </a:lnTo>
                  <a:lnTo>
                    <a:pt x="603459" y="238316"/>
                  </a:lnTo>
                  <a:lnTo>
                    <a:pt x="603459" y="242012"/>
                  </a:lnTo>
                  <a:lnTo>
                    <a:pt x="599772" y="238316"/>
                  </a:lnTo>
                  <a:lnTo>
                    <a:pt x="596077" y="238316"/>
                  </a:lnTo>
                  <a:lnTo>
                    <a:pt x="588704" y="238316"/>
                  </a:lnTo>
                  <a:lnTo>
                    <a:pt x="588704" y="234630"/>
                  </a:lnTo>
                  <a:lnTo>
                    <a:pt x="585009" y="234630"/>
                  </a:lnTo>
                  <a:lnTo>
                    <a:pt x="577636" y="238316"/>
                  </a:lnTo>
                  <a:lnTo>
                    <a:pt x="577636" y="242012"/>
                  </a:lnTo>
                  <a:lnTo>
                    <a:pt x="581323" y="245698"/>
                  </a:lnTo>
                  <a:lnTo>
                    <a:pt x="577636" y="249384"/>
                  </a:lnTo>
                  <a:lnTo>
                    <a:pt x="577636" y="245698"/>
                  </a:lnTo>
                  <a:lnTo>
                    <a:pt x="577636" y="242012"/>
                  </a:lnTo>
                  <a:lnTo>
                    <a:pt x="573950" y="242012"/>
                  </a:lnTo>
                  <a:lnTo>
                    <a:pt x="570254" y="242012"/>
                  </a:lnTo>
                  <a:lnTo>
                    <a:pt x="566568" y="234630"/>
                  </a:lnTo>
                  <a:lnTo>
                    <a:pt x="566568" y="230934"/>
                  </a:lnTo>
                  <a:lnTo>
                    <a:pt x="570254" y="227248"/>
                  </a:lnTo>
                  <a:lnTo>
                    <a:pt x="573950" y="227248"/>
                  </a:lnTo>
                  <a:lnTo>
                    <a:pt x="573950" y="223552"/>
                  </a:lnTo>
                  <a:lnTo>
                    <a:pt x="570254" y="223552"/>
                  </a:lnTo>
                  <a:lnTo>
                    <a:pt x="566568" y="223552"/>
                  </a:lnTo>
                  <a:lnTo>
                    <a:pt x="562882" y="223552"/>
                  </a:lnTo>
                  <a:lnTo>
                    <a:pt x="559186" y="219866"/>
                  </a:lnTo>
                  <a:lnTo>
                    <a:pt x="559186" y="216170"/>
                  </a:lnTo>
                  <a:lnTo>
                    <a:pt x="559186" y="212484"/>
                  </a:lnTo>
                  <a:lnTo>
                    <a:pt x="559186" y="208788"/>
                  </a:lnTo>
                  <a:lnTo>
                    <a:pt x="555500" y="205102"/>
                  </a:lnTo>
                  <a:lnTo>
                    <a:pt x="551814" y="201407"/>
                  </a:lnTo>
                  <a:lnTo>
                    <a:pt x="551814" y="190338"/>
                  </a:lnTo>
                  <a:lnTo>
                    <a:pt x="548118" y="190338"/>
                  </a:lnTo>
                  <a:lnTo>
                    <a:pt x="548118" y="186652"/>
                  </a:lnTo>
                  <a:lnTo>
                    <a:pt x="548118" y="182957"/>
                  </a:lnTo>
                  <a:lnTo>
                    <a:pt x="544432" y="182957"/>
                  </a:lnTo>
                  <a:lnTo>
                    <a:pt x="540746" y="182957"/>
                  </a:lnTo>
                  <a:lnTo>
                    <a:pt x="537050" y="182957"/>
                  </a:lnTo>
                  <a:lnTo>
                    <a:pt x="537050" y="171889"/>
                  </a:lnTo>
                  <a:lnTo>
                    <a:pt x="537050" y="168193"/>
                  </a:lnTo>
                  <a:lnTo>
                    <a:pt x="533364" y="168193"/>
                  </a:lnTo>
                  <a:lnTo>
                    <a:pt x="529678" y="168193"/>
                  </a:lnTo>
                  <a:lnTo>
                    <a:pt x="529678" y="164507"/>
                  </a:lnTo>
                  <a:lnTo>
                    <a:pt x="533364" y="164507"/>
                  </a:lnTo>
                  <a:lnTo>
                    <a:pt x="533364" y="157125"/>
                  </a:lnTo>
                  <a:lnTo>
                    <a:pt x="533364" y="149743"/>
                  </a:lnTo>
                  <a:lnTo>
                    <a:pt x="533364" y="142361"/>
                  </a:lnTo>
                  <a:lnTo>
                    <a:pt x="537050" y="142361"/>
                  </a:lnTo>
                  <a:lnTo>
                    <a:pt x="540746" y="138675"/>
                  </a:lnTo>
                  <a:lnTo>
                    <a:pt x="544432" y="138675"/>
                  </a:lnTo>
                  <a:lnTo>
                    <a:pt x="540746" y="134979"/>
                  </a:lnTo>
                  <a:lnTo>
                    <a:pt x="537050" y="134979"/>
                  </a:lnTo>
                  <a:lnTo>
                    <a:pt x="533364" y="131293"/>
                  </a:lnTo>
                  <a:lnTo>
                    <a:pt x="533364" y="127597"/>
                  </a:lnTo>
                  <a:lnTo>
                    <a:pt x="537050" y="127597"/>
                  </a:lnTo>
                  <a:lnTo>
                    <a:pt x="537050" y="123909"/>
                  </a:lnTo>
                  <a:lnTo>
                    <a:pt x="544432" y="123909"/>
                  </a:lnTo>
                  <a:lnTo>
                    <a:pt x="551814" y="120218"/>
                  </a:lnTo>
                  <a:lnTo>
                    <a:pt x="555500" y="120218"/>
                  </a:lnTo>
                  <a:lnTo>
                    <a:pt x="555500" y="116528"/>
                  </a:lnTo>
                  <a:lnTo>
                    <a:pt x="559186" y="116528"/>
                  </a:lnTo>
                  <a:lnTo>
                    <a:pt x="559186" y="109147"/>
                  </a:lnTo>
                  <a:lnTo>
                    <a:pt x="559186" y="105456"/>
                  </a:lnTo>
                  <a:lnTo>
                    <a:pt x="559186" y="101766"/>
                  </a:lnTo>
                  <a:lnTo>
                    <a:pt x="555500" y="101766"/>
                  </a:lnTo>
                  <a:lnTo>
                    <a:pt x="551814" y="98075"/>
                  </a:lnTo>
                  <a:lnTo>
                    <a:pt x="551814" y="90695"/>
                  </a:lnTo>
                  <a:lnTo>
                    <a:pt x="551814" y="87004"/>
                  </a:lnTo>
                  <a:lnTo>
                    <a:pt x="555500" y="83313"/>
                  </a:lnTo>
                  <a:lnTo>
                    <a:pt x="555500" y="75932"/>
                  </a:lnTo>
                  <a:lnTo>
                    <a:pt x="551814" y="72242"/>
                  </a:lnTo>
                  <a:lnTo>
                    <a:pt x="548118" y="68551"/>
                  </a:lnTo>
                  <a:lnTo>
                    <a:pt x="548118" y="61170"/>
                  </a:lnTo>
                  <a:lnTo>
                    <a:pt x="544432" y="50098"/>
                  </a:lnTo>
                  <a:lnTo>
                    <a:pt x="544432" y="46407"/>
                  </a:lnTo>
                  <a:lnTo>
                    <a:pt x="540746" y="42717"/>
                  </a:lnTo>
                  <a:lnTo>
                    <a:pt x="529678" y="39026"/>
                  </a:lnTo>
                  <a:lnTo>
                    <a:pt x="525982" y="35335"/>
                  </a:lnTo>
                  <a:lnTo>
                    <a:pt x="525982" y="31645"/>
                  </a:lnTo>
                  <a:lnTo>
                    <a:pt x="525982" y="27954"/>
                  </a:lnTo>
                  <a:lnTo>
                    <a:pt x="522296" y="24264"/>
                  </a:lnTo>
                  <a:lnTo>
                    <a:pt x="518610" y="20573"/>
                  </a:lnTo>
                  <a:lnTo>
                    <a:pt x="514924" y="20573"/>
                  </a:lnTo>
                  <a:lnTo>
                    <a:pt x="511228" y="16882"/>
                  </a:lnTo>
                  <a:lnTo>
                    <a:pt x="507542" y="20573"/>
                  </a:lnTo>
                  <a:lnTo>
                    <a:pt x="503856" y="20573"/>
                  </a:lnTo>
                  <a:lnTo>
                    <a:pt x="500160" y="20573"/>
                  </a:lnTo>
                  <a:lnTo>
                    <a:pt x="496474" y="24264"/>
                  </a:lnTo>
                  <a:lnTo>
                    <a:pt x="489092" y="31645"/>
                  </a:lnTo>
                  <a:lnTo>
                    <a:pt x="481720" y="39026"/>
                  </a:lnTo>
                  <a:lnTo>
                    <a:pt x="478024" y="42717"/>
                  </a:lnTo>
                  <a:lnTo>
                    <a:pt x="474338" y="39026"/>
                  </a:lnTo>
                  <a:lnTo>
                    <a:pt x="474338" y="35335"/>
                  </a:lnTo>
                  <a:lnTo>
                    <a:pt x="470652" y="39026"/>
                  </a:lnTo>
                  <a:lnTo>
                    <a:pt x="466956" y="42717"/>
                  </a:lnTo>
                  <a:lnTo>
                    <a:pt x="459583" y="46407"/>
                  </a:lnTo>
                  <a:lnTo>
                    <a:pt x="459583" y="39026"/>
                  </a:lnTo>
                  <a:lnTo>
                    <a:pt x="452202" y="27954"/>
                  </a:lnTo>
                  <a:lnTo>
                    <a:pt x="448516" y="20573"/>
                  </a:lnTo>
                  <a:lnTo>
                    <a:pt x="441134" y="9502"/>
                  </a:lnTo>
                  <a:lnTo>
                    <a:pt x="437447" y="5812"/>
                  </a:lnTo>
                  <a:close/>
                  <a:moveTo>
                    <a:pt x="315699" y="138675"/>
                  </a:moveTo>
                  <a:lnTo>
                    <a:pt x="308326" y="134979"/>
                  </a:lnTo>
                  <a:lnTo>
                    <a:pt x="312013" y="138675"/>
                  </a:lnTo>
                  <a:lnTo>
                    <a:pt x="315699" y="138675"/>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25" name="Freeform: Shape 24">
              <a:extLst>
                <a:ext uri="{FF2B5EF4-FFF2-40B4-BE49-F238E27FC236}">
                  <a16:creationId xmlns:a16="http://schemas.microsoft.com/office/drawing/2014/main" id="{0E0023C1-9AB2-4B23-9B5F-3774B48F3DE4}"/>
                </a:ext>
              </a:extLst>
            </p:cNvPr>
            <p:cNvSpPr/>
            <p:nvPr/>
          </p:nvSpPr>
          <p:spPr>
            <a:xfrm>
              <a:off x="5179061" y="3431497"/>
              <a:ext cx="936355" cy="659707"/>
            </a:xfrm>
            <a:custGeom>
              <a:avLst/>
              <a:gdLst>
                <a:gd name="connsiteX0" fmla="*/ 112797 w 419100"/>
                <a:gd name="connsiteY0" fmla="*/ 5812 h 295275"/>
                <a:gd name="connsiteX1" fmla="*/ 112797 w 419100"/>
                <a:gd name="connsiteY1" fmla="*/ 9507 h 295275"/>
                <a:gd name="connsiteX2" fmla="*/ 109108 w 419100"/>
                <a:gd name="connsiteY2" fmla="*/ 9507 h 295275"/>
                <a:gd name="connsiteX3" fmla="*/ 109108 w 419100"/>
                <a:gd name="connsiteY3" fmla="*/ 13193 h 295275"/>
                <a:gd name="connsiteX4" fmla="*/ 109108 w 419100"/>
                <a:gd name="connsiteY4" fmla="*/ 16889 h 295275"/>
                <a:gd name="connsiteX5" fmla="*/ 101730 w 419100"/>
                <a:gd name="connsiteY5" fmla="*/ 13193 h 295275"/>
                <a:gd name="connsiteX6" fmla="*/ 101730 w 419100"/>
                <a:gd name="connsiteY6" fmla="*/ 16889 h 295275"/>
                <a:gd name="connsiteX7" fmla="*/ 94351 w 419100"/>
                <a:gd name="connsiteY7" fmla="*/ 20575 h 295275"/>
                <a:gd name="connsiteX8" fmla="*/ 94351 w 419100"/>
                <a:gd name="connsiteY8" fmla="*/ 24262 h 295275"/>
                <a:gd name="connsiteX9" fmla="*/ 90662 w 419100"/>
                <a:gd name="connsiteY9" fmla="*/ 24262 h 295275"/>
                <a:gd name="connsiteX10" fmla="*/ 86973 w 419100"/>
                <a:gd name="connsiteY10" fmla="*/ 24262 h 295275"/>
                <a:gd name="connsiteX11" fmla="*/ 83284 w 419100"/>
                <a:gd name="connsiteY11" fmla="*/ 24262 h 295275"/>
                <a:gd name="connsiteX12" fmla="*/ 75906 w 419100"/>
                <a:gd name="connsiteY12" fmla="*/ 20575 h 295275"/>
                <a:gd name="connsiteX13" fmla="*/ 72217 w 419100"/>
                <a:gd name="connsiteY13" fmla="*/ 24262 h 295275"/>
                <a:gd name="connsiteX14" fmla="*/ 72217 w 419100"/>
                <a:gd name="connsiteY14" fmla="*/ 27957 h 295275"/>
                <a:gd name="connsiteX15" fmla="*/ 75906 w 419100"/>
                <a:gd name="connsiteY15" fmla="*/ 31643 h 295275"/>
                <a:gd name="connsiteX16" fmla="*/ 72217 w 419100"/>
                <a:gd name="connsiteY16" fmla="*/ 35339 h 295275"/>
                <a:gd name="connsiteX17" fmla="*/ 68527 w 419100"/>
                <a:gd name="connsiteY17" fmla="*/ 39025 h 295275"/>
                <a:gd name="connsiteX18" fmla="*/ 68527 w 419100"/>
                <a:gd name="connsiteY18" fmla="*/ 42721 h 295275"/>
                <a:gd name="connsiteX19" fmla="*/ 64838 w 419100"/>
                <a:gd name="connsiteY19" fmla="*/ 42721 h 295275"/>
                <a:gd name="connsiteX20" fmla="*/ 61149 w 419100"/>
                <a:gd name="connsiteY20" fmla="*/ 42721 h 295275"/>
                <a:gd name="connsiteX21" fmla="*/ 61149 w 419100"/>
                <a:gd name="connsiteY21" fmla="*/ 46407 h 295275"/>
                <a:gd name="connsiteX22" fmla="*/ 57460 w 419100"/>
                <a:gd name="connsiteY22" fmla="*/ 42721 h 295275"/>
                <a:gd name="connsiteX23" fmla="*/ 53771 w 419100"/>
                <a:gd name="connsiteY23" fmla="*/ 42721 h 295275"/>
                <a:gd name="connsiteX24" fmla="*/ 50082 w 419100"/>
                <a:gd name="connsiteY24" fmla="*/ 42721 h 295275"/>
                <a:gd name="connsiteX25" fmla="*/ 46393 w 419100"/>
                <a:gd name="connsiteY25" fmla="*/ 46407 h 295275"/>
                <a:gd name="connsiteX26" fmla="*/ 39014 w 419100"/>
                <a:gd name="connsiteY26" fmla="*/ 50103 h 295275"/>
                <a:gd name="connsiteX27" fmla="*/ 39014 w 419100"/>
                <a:gd name="connsiteY27" fmla="*/ 53789 h 295275"/>
                <a:gd name="connsiteX28" fmla="*/ 35325 w 419100"/>
                <a:gd name="connsiteY28" fmla="*/ 53789 h 295275"/>
                <a:gd name="connsiteX29" fmla="*/ 31636 w 419100"/>
                <a:gd name="connsiteY29" fmla="*/ 57485 h 295275"/>
                <a:gd name="connsiteX30" fmla="*/ 27947 w 419100"/>
                <a:gd name="connsiteY30" fmla="*/ 57485 h 295275"/>
                <a:gd name="connsiteX31" fmla="*/ 27947 w 419100"/>
                <a:gd name="connsiteY31" fmla="*/ 61171 h 295275"/>
                <a:gd name="connsiteX32" fmla="*/ 24257 w 419100"/>
                <a:gd name="connsiteY32" fmla="*/ 61171 h 295275"/>
                <a:gd name="connsiteX33" fmla="*/ 20568 w 419100"/>
                <a:gd name="connsiteY33" fmla="*/ 64867 h 295275"/>
                <a:gd name="connsiteX34" fmla="*/ 16879 w 419100"/>
                <a:gd name="connsiteY34" fmla="*/ 64867 h 295275"/>
                <a:gd name="connsiteX35" fmla="*/ 13190 w 419100"/>
                <a:gd name="connsiteY35" fmla="*/ 64867 h 295275"/>
                <a:gd name="connsiteX36" fmla="*/ 9501 w 419100"/>
                <a:gd name="connsiteY36" fmla="*/ 64867 h 295275"/>
                <a:gd name="connsiteX37" fmla="*/ 9501 w 419100"/>
                <a:gd name="connsiteY37" fmla="*/ 68553 h 295275"/>
                <a:gd name="connsiteX38" fmla="*/ 13190 w 419100"/>
                <a:gd name="connsiteY38" fmla="*/ 72239 h 295275"/>
                <a:gd name="connsiteX39" fmla="*/ 13190 w 419100"/>
                <a:gd name="connsiteY39" fmla="*/ 79621 h 295275"/>
                <a:gd name="connsiteX40" fmla="*/ 13190 w 419100"/>
                <a:gd name="connsiteY40" fmla="*/ 83316 h 295275"/>
                <a:gd name="connsiteX41" fmla="*/ 16879 w 419100"/>
                <a:gd name="connsiteY41" fmla="*/ 83316 h 295275"/>
                <a:gd name="connsiteX42" fmla="*/ 16879 w 419100"/>
                <a:gd name="connsiteY42" fmla="*/ 87003 h 295275"/>
                <a:gd name="connsiteX43" fmla="*/ 20568 w 419100"/>
                <a:gd name="connsiteY43" fmla="*/ 90698 h 295275"/>
                <a:gd name="connsiteX44" fmla="*/ 24257 w 419100"/>
                <a:gd name="connsiteY44" fmla="*/ 90698 h 295275"/>
                <a:gd name="connsiteX45" fmla="*/ 24257 w 419100"/>
                <a:gd name="connsiteY45" fmla="*/ 94385 h 295275"/>
                <a:gd name="connsiteX46" fmla="*/ 27947 w 419100"/>
                <a:gd name="connsiteY46" fmla="*/ 98080 h 295275"/>
                <a:gd name="connsiteX47" fmla="*/ 31636 w 419100"/>
                <a:gd name="connsiteY47" fmla="*/ 101766 h 295275"/>
                <a:gd name="connsiteX48" fmla="*/ 39014 w 419100"/>
                <a:gd name="connsiteY48" fmla="*/ 101766 h 295275"/>
                <a:gd name="connsiteX49" fmla="*/ 42703 w 419100"/>
                <a:gd name="connsiteY49" fmla="*/ 105462 h 295275"/>
                <a:gd name="connsiteX50" fmla="*/ 57460 w 419100"/>
                <a:gd name="connsiteY50" fmla="*/ 116530 h 295275"/>
                <a:gd name="connsiteX51" fmla="*/ 46393 w 419100"/>
                <a:gd name="connsiteY51" fmla="*/ 120216 h 295275"/>
                <a:gd name="connsiteX52" fmla="*/ 46393 w 419100"/>
                <a:gd name="connsiteY52" fmla="*/ 134980 h 295275"/>
                <a:gd name="connsiteX53" fmla="*/ 42703 w 419100"/>
                <a:gd name="connsiteY53" fmla="*/ 134980 h 295275"/>
                <a:gd name="connsiteX54" fmla="*/ 39014 w 419100"/>
                <a:gd name="connsiteY54" fmla="*/ 134980 h 295275"/>
                <a:gd name="connsiteX55" fmla="*/ 31636 w 419100"/>
                <a:gd name="connsiteY55" fmla="*/ 134980 h 295275"/>
                <a:gd name="connsiteX56" fmla="*/ 27947 w 419100"/>
                <a:gd name="connsiteY56" fmla="*/ 134980 h 295275"/>
                <a:gd name="connsiteX57" fmla="*/ 27947 w 419100"/>
                <a:gd name="connsiteY57" fmla="*/ 131294 h 295275"/>
                <a:gd name="connsiteX58" fmla="*/ 20568 w 419100"/>
                <a:gd name="connsiteY58" fmla="*/ 131294 h 295275"/>
                <a:gd name="connsiteX59" fmla="*/ 16879 w 419100"/>
                <a:gd name="connsiteY59" fmla="*/ 134980 h 295275"/>
                <a:gd name="connsiteX60" fmla="*/ 13190 w 419100"/>
                <a:gd name="connsiteY60" fmla="*/ 138676 h 295275"/>
                <a:gd name="connsiteX61" fmla="*/ 16879 w 419100"/>
                <a:gd name="connsiteY61" fmla="*/ 138676 h 295275"/>
                <a:gd name="connsiteX62" fmla="*/ 13190 w 419100"/>
                <a:gd name="connsiteY62" fmla="*/ 142362 h 295275"/>
                <a:gd name="connsiteX63" fmla="*/ 13190 w 419100"/>
                <a:gd name="connsiteY63" fmla="*/ 146058 h 295275"/>
                <a:gd name="connsiteX64" fmla="*/ 9501 w 419100"/>
                <a:gd name="connsiteY64" fmla="*/ 146058 h 295275"/>
                <a:gd name="connsiteX65" fmla="*/ 5812 w 419100"/>
                <a:gd name="connsiteY65" fmla="*/ 146058 h 295275"/>
                <a:gd name="connsiteX66" fmla="*/ 5812 w 419100"/>
                <a:gd name="connsiteY66" fmla="*/ 149744 h 295275"/>
                <a:gd name="connsiteX67" fmla="*/ 20568 w 419100"/>
                <a:gd name="connsiteY67" fmla="*/ 157126 h 295275"/>
                <a:gd name="connsiteX68" fmla="*/ 24257 w 419100"/>
                <a:gd name="connsiteY68" fmla="*/ 160821 h 295275"/>
                <a:gd name="connsiteX69" fmla="*/ 20568 w 419100"/>
                <a:gd name="connsiteY69" fmla="*/ 160821 h 295275"/>
                <a:gd name="connsiteX70" fmla="*/ 20568 w 419100"/>
                <a:gd name="connsiteY70" fmla="*/ 171890 h 295275"/>
                <a:gd name="connsiteX71" fmla="*/ 24257 w 419100"/>
                <a:gd name="connsiteY71" fmla="*/ 182958 h 295275"/>
                <a:gd name="connsiteX72" fmla="*/ 24257 w 419100"/>
                <a:gd name="connsiteY72" fmla="*/ 186653 h 295275"/>
                <a:gd name="connsiteX73" fmla="*/ 27947 w 419100"/>
                <a:gd name="connsiteY73" fmla="*/ 186653 h 295275"/>
                <a:gd name="connsiteX74" fmla="*/ 24257 w 419100"/>
                <a:gd name="connsiteY74" fmla="*/ 190339 h 295275"/>
                <a:gd name="connsiteX75" fmla="*/ 31636 w 419100"/>
                <a:gd name="connsiteY75" fmla="*/ 190339 h 295275"/>
                <a:gd name="connsiteX76" fmla="*/ 46393 w 419100"/>
                <a:gd name="connsiteY76" fmla="*/ 190339 h 295275"/>
                <a:gd name="connsiteX77" fmla="*/ 42703 w 419100"/>
                <a:gd name="connsiteY77" fmla="*/ 194035 h 295275"/>
                <a:gd name="connsiteX78" fmla="*/ 39014 w 419100"/>
                <a:gd name="connsiteY78" fmla="*/ 197721 h 295275"/>
                <a:gd name="connsiteX79" fmla="*/ 35325 w 419100"/>
                <a:gd name="connsiteY79" fmla="*/ 197721 h 295275"/>
                <a:gd name="connsiteX80" fmla="*/ 24257 w 419100"/>
                <a:gd name="connsiteY80" fmla="*/ 205103 h 295275"/>
                <a:gd name="connsiteX81" fmla="*/ 20568 w 419100"/>
                <a:gd name="connsiteY81" fmla="*/ 216171 h 295275"/>
                <a:gd name="connsiteX82" fmla="*/ 16879 w 419100"/>
                <a:gd name="connsiteY82" fmla="*/ 219867 h 295275"/>
                <a:gd name="connsiteX83" fmla="*/ 13190 w 419100"/>
                <a:gd name="connsiteY83" fmla="*/ 219867 h 295275"/>
                <a:gd name="connsiteX84" fmla="*/ 13190 w 419100"/>
                <a:gd name="connsiteY84" fmla="*/ 223553 h 295275"/>
                <a:gd name="connsiteX85" fmla="*/ 9501 w 419100"/>
                <a:gd name="connsiteY85" fmla="*/ 227249 h 295275"/>
                <a:gd name="connsiteX86" fmla="*/ 13190 w 419100"/>
                <a:gd name="connsiteY86" fmla="*/ 234631 h 295275"/>
                <a:gd name="connsiteX87" fmla="*/ 16879 w 419100"/>
                <a:gd name="connsiteY87" fmla="*/ 234631 h 295275"/>
                <a:gd name="connsiteX88" fmla="*/ 20568 w 419100"/>
                <a:gd name="connsiteY88" fmla="*/ 230935 h 295275"/>
                <a:gd name="connsiteX89" fmla="*/ 24257 w 419100"/>
                <a:gd name="connsiteY89" fmla="*/ 230935 h 295275"/>
                <a:gd name="connsiteX90" fmla="*/ 27947 w 419100"/>
                <a:gd name="connsiteY90" fmla="*/ 230935 h 295275"/>
                <a:gd name="connsiteX91" fmla="*/ 31636 w 419100"/>
                <a:gd name="connsiteY91" fmla="*/ 230935 h 295275"/>
                <a:gd name="connsiteX92" fmla="*/ 35325 w 419100"/>
                <a:gd name="connsiteY92" fmla="*/ 230935 h 295275"/>
                <a:gd name="connsiteX93" fmla="*/ 39014 w 419100"/>
                <a:gd name="connsiteY93" fmla="*/ 242013 h 295275"/>
                <a:gd name="connsiteX94" fmla="*/ 35325 w 419100"/>
                <a:gd name="connsiteY94" fmla="*/ 242013 h 295275"/>
                <a:gd name="connsiteX95" fmla="*/ 20568 w 419100"/>
                <a:gd name="connsiteY95" fmla="*/ 245699 h 295275"/>
                <a:gd name="connsiteX96" fmla="*/ 24257 w 419100"/>
                <a:gd name="connsiteY96" fmla="*/ 249394 h 295275"/>
                <a:gd name="connsiteX97" fmla="*/ 27947 w 419100"/>
                <a:gd name="connsiteY97" fmla="*/ 256776 h 295275"/>
                <a:gd name="connsiteX98" fmla="*/ 31636 w 419100"/>
                <a:gd name="connsiteY98" fmla="*/ 264149 h 295275"/>
                <a:gd name="connsiteX99" fmla="*/ 35325 w 419100"/>
                <a:gd name="connsiteY99" fmla="*/ 267844 h 295275"/>
                <a:gd name="connsiteX100" fmla="*/ 39014 w 419100"/>
                <a:gd name="connsiteY100" fmla="*/ 271531 h 295275"/>
                <a:gd name="connsiteX101" fmla="*/ 42703 w 419100"/>
                <a:gd name="connsiteY101" fmla="*/ 275226 h 295275"/>
                <a:gd name="connsiteX102" fmla="*/ 42703 w 419100"/>
                <a:gd name="connsiteY102" fmla="*/ 278912 h 295275"/>
                <a:gd name="connsiteX103" fmla="*/ 46393 w 419100"/>
                <a:gd name="connsiteY103" fmla="*/ 282608 h 295275"/>
                <a:gd name="connsiteX104" fmla="*/ 46393 w 419100"/>
                <a:gd name="connsiteY104" fmla="*/ 289990 h 295275"/>
                <a:gd name="connsiteX105" fmla="*/ 46393 w 419100"/>
                <a:gd name="connsiteY105" fmla="*/ 293676 h 295275"/>
                <a:gd name="connsiteX106" fmla="*/ 50082 w 419100"/>
                <a:gd name="connsiteY106" fmla="*/ 293676 h 295275"/>
                <a:gd name="connsiteX107" fmla="*/ 57460 w 419100"/>
                <a:gd name="connsiteY107" fmla="*/ 293676 h 295275"/>
                <a:gd name="connsiteX108" fmla="*/ 61149 w 419100"/>
                <a:gd name="connsiteY108" fmla="*/ 293676 h 295275"/>
                <a:gd name="connsiteX109" fmla="*/ 64838 w 419100"/>
                <a:gd name="connsiteY109" fmla="*/ 289990 h 295275"/>
                <a:gd name="connsiteX110" fmla="*/ 68527 w 419100"/>
                <a:gd name="connsiteY110" fmla="*/ 289990 h 295275"/>
                <a:gd name="connsiteX111" fmla="*/ 68527 w 419100"/>
                <a:gd name="connsiteY111" fmla="*/ 286294 h 295275"/>
                <a:gd name="connsiteX112" fmla="*/ 72217 w 419100"/>
                <a:gd name="connsiteY112" fmla="*/ 286294 h 295275"/>
                <a:gd name="connsiteX113" fmla="*/ 75906 w 419100"/>
                <a:gd name="connsiteY113" fmla="*/ 278912 h 295275"/>
                <a:gd name="connsiteX114" fmla="*/ 79595 w 419100"/>
                <a:gd name="connsiteY114" fmla="*/ 275226 h 295275"/>
                <a:gd name="connsiteX115" fmla="*/ 83284 w 419100"/>
                <a:gd name="connsiteY115" fmla="*/ 275226 h 295275"/>
                <a:gd name="connsiteX116" fmla="*/ 86973 w 419100"/>
                <a:gd name="connsiteY116" fmla="*/ 275226 h 295275"/>
                <a:gd name="connsiteX117" fmla="*/ 90662 w 419100"/>
                <a:gd name="connsiteY117" fmla="*/ 278912 h 295275"/>
                <a:gd name="connsiteX118" fmla="*/ 94351 w 419100"/>
                <a:gd name="connsiteY118" fmla="*/ 278912 h 295275"/>
                <a:gd name="connsiteX119" fmla="*/ 98041 w 419100"/>
                <a:gd name="connsiteY119" fmla="*/ 275226 h 295275"/>
                <a:gd name="connsiteX120" fmla="*/ 98041 w 419100"/>
                <a:gd name="connsiteY120" fmla="*/ 271531 h 295275"/>
                <a:gd name="connsiteX121" fmla="*/ 101730 w 419100"/>
                <a:gd name="connsiteY121" fmla="*/ 267844 h 295275"/>
                <a:gd name="connsiteX122" fmla="*/ 105419 w 419100"/>
                <a:gd name="connsiteY122" fmla="*/ 264149 h 295275"/>
                <a:gd name="connsiteX123" fmla="*/ 109108 w 419100"/>
                <a:gd name="connsiteY123" fmla="*/ 264149 h 295275"/>
                <a:gd name="connsiteX124" fmla="*/ 112797 w 419100"/>
                <a:gd name="connsiteY124" fmla="*/ 264149 h 295275"/>
                <a:gd name="connsiteX125" fmla="*/ 120176 w 419100"/>
                <a:gd name="connsiteY125" fmla="*/ 271531 h 295275"/>
                <a:gd name="connsiteX126" fmla="*/ 123865 w 419100"/>
                <a:gd name="connsiteY126" fmla="*/ 271531 h 295275"/>
                <a:gd name="connsiteX127" fmla="*/ 127554 w 419100"/>
                <a:gd name="connsiteY127" fmla="*/ 267844 h 295275"/>
                <a:gd name="connsiteX128" fmla="*/ 127554 w 419100"/>
                <a:gd name="connsiteY128" fmla="*/ 264149 h 295275"/>
                <a:gd name="connsiteX129" fmla="*/ 131243 w 419100"/>
                <a:gd name="connsiteY129" fmla="*/ 264149 h 295275"/>
                <a:gd name="connsiteX130" fmla="*/ 134932 w 419100"/>
                <a:gd name="connsiteY130" fmla="*/ 264149 h 295275"/>
                <a:gd name="connsiteX131" fmla="*/ 138621 w 419100"/>
                <a:gd name="connsiteY131" fmla="*/ 275226 h 295275"/>
                <a:gd name="connsiteX132" fmla="*/ 134932 w 419100"/>
                <a:gd name="connsiteY132" fmla="*/ 282608 h 295275"/>
                <a:gd name="connsiteX133" fmla="*/ 149690 w 419100"/>
                <a:gd name="connsiteY133" fmla="*/ 286294 h 295275"/>
                <a:gd name="connsiteX134" fmla="*/ 157068 w 419100"/>
                <a:gd name="connsiteY134" fmla="*/ 289990 h 295275"/>
                <a:gd name="connsiteX135" fmla="*/ 171825 w 419100"/>
                <a:gd name="connsiteY135" fmla="*/ 297372 h 295275"/>
                <a:gd name="connsiteX136" fmla="*/ 175514 w 419100"/>
                <a:gd name="connsiteY136" fmla="*/ 297372 h 295275"/>
                <a:gd name="connsiteX137" fmla="*/ 179203 w 419100"/>
                <a:gd name="connsiteY137" fmla="*/ 297372 h 295275"/>
                <a:gd name="connsiteX138" fmla="*/ 182892 w 419100"/>
                <a:gd name="connsiteY138" fmla="*/ 297372 h 295275"/>
                <a:gd name="connsiteX139" fmla="*/ 190271 w 419100"/>
                <a:gd name="connsiteY139" fmla="*/ 289990 h 295275"/>
                <a:gd name="connsiteX140" fmla="*/ 193960 w 419100"/>
                <a:gd name="connsiteY140" fmla="*/ 278912 h 295275"/>
                <a:gd name="connsiteX141" fmla="*/ 197649 w 419100"/>
                <a:gd name="connsiteY141" fmla="*/ 271531 h 295275"/>
                <a:gd name="connsiteX142" fmla="*/ 201338 w 419100"/>
                <a:gd name="connsiteY142" fmla="*/ 275226 h 295275"/>
                <a:gd name="connsiteX143" fmla="*/ 205027 w 419100"/>
                <a:gd name="connsiteY143" fmla="*/ 278912 h 295275"/>
                <a:gd name="connsiteX144" fmla="*/ 208716 w 419100"/>
                <a:gd name="connsiteY144" fmla="*/ 278912 h 295275"/>
                <a:gd name="connsiteX145" fmla="*/ 212406 w 419100"/>
                <a:gd name="connsiteY145" fmla="*/ 278912 h 295275"/>
                <a:gd name="connsiteX146" fmla="*/ 216095 w 419100"/>
                <a:gd name="connsiteY146" fmla="*/ 275226 h 295275"/>
                <a:gd name="connsiteX147" fmla="*/ 219784 w 419100"/>
                <a:gd name="connsiteY147" fmla="*/ 271531 h 295275"/>
                <a:gd name="connsiteX148" fmla="*/ 219784 w 419100"/>
                <a:gd name="connsiteY148" fmla="*/ 264149 h 295275"/>
                <a:gd name="connsiteX149" fmla="*/ 223473 w 419100"/>
                <a:gd name="connsiteY149" fmla="*/ 264149 h 295275"/>
                <a:gd name="connsiteX150" fmla="*/ 227162 w 419100"/>
                <a:gd name="connsiteY150" fmla="*/ 264149 h 295275"/>
                <a:gd name="connsiteX151" fmla="*/ 234541 w 419100"/>
                <a:gd name="connsiteY151" fmla="*/ 267844 h 295275"/>
                <a:gd name="connsiteX152" fmla="*/ 241923 w 419100"/>
                <a:gd name="connsiteY152" fmla="*/ 275226 h 295275"/>
                <a:gd name="connsiteX153" fmla="*/ 245609 w 419100"/>
                <a:gd name="connsiteY153" fmla="*/ 275226 h 295275"/>
                <a:gd name="connsiteX154" fmla="*/ 256677 w 419100"/>
                <a:gd name="connsiteY154" fmla="*/ 275226 h 295275"/>
                <a:gd name="connsiteX155" fmla="*/ 260363 w 419100"/>
                <a:gd name="connsiteY155" fmla="*/ 278912 h 295275"/>
                <a:gd name="connsiteX156" fmla="*/ 264050 w 419100"/>
                <a:gd name="connsiteY156" fmla="*/ 282608 h 295275"/>
                <a:gd name="connsiteX157" fmla="*/ 267745 w 419100"/>
                <a:gd name="connsiteY157" fmla="*/ 282608 h 295275"/>
                <a:gd name="connsiteX158" fmla="*/ 271431 w 419100"/>
                <a:gd name="connsiteY158" fmla="*/ 278912 h 295275"/>
                <a:gd name="connsiteX159" fmla="*/ 275118 w 419100"/>
                <a:gd name="connsiteY159" fmla="*/ 278912 h 295275"/>
                <a:gd name="connsiteX160" fmla="*/ 275118 w 419100"/>
                <a:gd name="connsiteY160" fmla="*/ 275226 h 295275"/>
                <a:gd name="connsiteX161" fmla="*/ 278813 w 419100"/>
                <a:gd name="connsiteY161" fmla="*/ 271531 h 295275"/>
                <a:gd name="connsiteX162" fmla="*/ 282499 w 419100"/>
                <a:gd name="connsiteY162" fmla="*/ 271531 h 295275"/>
                <a:gd name="connsiteX163" fmla="*/ 286186 w 419100"/>
                <a:gd name="connsiteY163" fmla="*/ 267844 h 295275"/>
                <a:gd name="connsiteX164" fmla="*/ 293568 w 419100"/>
                <a:gd name="connsiteY164" fmla="*/ 271531 h 295275"/>
                <a:gd name="connsiteX165" fmla="*/ 297254 w 419100"/>
                <a:gd name="connsiteY165" fmla="*/ 271531 h 295275"/>
                <a:gd name="connsiteX166" fmla="*/ 300949 w 419100"/>
                <a:gd name="connsiteY166" fmla="*/ 267844 h 295275"/>
                <a:gd name="connsiteX167" fmla="*/ 304636 w 419100"/>
                <a:gd name="connsiteY167" fmla="*/ 267844 h 295275"/>
                <a:gd name="connsiteX168" fmla="*/ 312017 w 419100"/>
                <a:gd name="connsiteY168" fmla="*/ 264149 h 295275"/>
                <a:gd name="connsiteX169" fmla="*/ 315704 w 419100"/>
                <a:gd name="connsiteY169" fmla="*/ 264149 h 295275"/>
                <a:gd name="connsiteX170" fmla="*/ 319390 w 419100"/>
                <a:gd name="connsiteY170" fmla="*/ 260462 h 295275"/>
                <a:gd name="connsiteX171" fmla="*/ 323086 w 419100"/>
                <a:gd name="connsiteY171" fmla="*/ 256776 h 295275"/>
                <a:gd name="connsiteX172" fmla="*/ 326772 w 419100"/>
                <a:gd name="connsiteY172" fmla="*/ 256776 h 295275"/>
                <a:gd name="connsiteX173" fmla="*/ 330458 w 419100"/>
                <a:gd name="connsiteY173" fmla="*/ 260462 h 295275"/>
                <a:gd name="connsiteX174" fmla="*/ 341526 w 419100"/>
                <a:gd name="connsiteY174" fmla="*/ 260462 h 295275"/>
                <a:gd name="connsiteX175" fmla="*/ 345212 w 419100"/>
                <a:gd name="connsiteY175" fmla="*/ 260462 h 295275"/>
                <a:gd name="connsiteX176" fmla="*/ 348908 w 419100"/>
                <a:gd name="connsiteY176" fmla="*/ 260462 h 295275"/>
                <a:gd name="connsiteX177" fmla="*/ 352594 w 419100"/>
                <a:gd name="connsiteY177" fmla="*/ 264149 h 295275"/>
                <a:gd name="connsiteX178" fmla="*/ 359976 w 419100"/>
                <a:gd name="connsiteY178" fmla="*/ 267844 h 295275"/>
                <a:gd name="connsiteX179" fmla="*/ 363662 w 419100"/>
                <a:gd name="connsiteY179" fmla="*/ 267844 h 295275"/>
                <a:gd name="connsiteX180" fmla="*/ 367348 w 419100"/>
                <a:gd name="connsiteY180" fmla="*/ 271531 h 295275"/>
                <a:gd name="connsiteX181" fmla="*/ 371044 w 419100"/>
                <a:gd name="connsiteY181" fmla="*/ 271531 h 295275"/>
                <a:gd name="connsiteX182" fmla="*/ 374730 w 419100"/>
                <a:gd name="connsiteY182" fmla="*/ 271531 h 295275"/>
                <a:gd name="connsiteX183" fmla="*/ 378416 w 419100"/>
                <a:gd name="connsiteY183" fmla="*/ 278912 h 295275"/>
                <a:gd name="connsiteX184" fmla="*/ 385798 w 419100"/>
                <a:gd name="connsiteY184" fmla="*/ 282608 h 295275"/>
                <a:gd name="connsiteX185" fmla="*/ 396866 w 419100"/>
                <a:gd name="connsiteY185" fmla="*/ 286294 h 295275"/>
                <a:gd name="connsiteX186" fmla="*/ 404239 w 419100"/>
                <a:gd name="connsiteY186" fmla="*/ 289990 h 295275"/>
                <a:gd name="connsiteX187" fmla="*/ 411620 w 419100"/>
                <a:gd name="connsiteY187" fmla="*/ 286294 h 295275"/>
                <a:gd name="connsiteX188" fmla="*/ 415307 w 419100"/>
                <a:gd name="connsiteY188" fmla="*/ 282608 h 295275"/>
                <a:gd name="connsiteX189" fmla="*/ 415307 w 419100"/>
                <a:gd name="connsiteY189" fmla="*/ 278912 h 295275"/>
                <a:gd name="connsiteX190" fmla="*/ 415307 w 419100"/>
                <a:gd name="connsiteY190" fmla="*/ 275226 h 295275"/>
                <a:gd name="connsiteX191" fmla="*/ 411620 w 419100"/>
                <a:gd name="connsiteY191" fmla="*/ 271531 h 295275"/>
                <a:gd name="connsiteX192" fmla="*/ 415307 w 419100"/>
                <a:gd name="connsiteY192" fmla="*/ 267844 h 295275"/>
                <a:gd name="connsiteX193" fmla="*/ 411620 w 419100"/>
                <a:gd name="connsiteY193" fmla="*/ 264149 h 295275"/>
                <a:gd name="connsiteX194" fmla="*/ 411620 w 419100"/>
                <a:gd name="connsiteY194" fmla="*/ 260462 h 295275"/>
                <a:gd name="connsiteX195" fmla="*/ 407934 w 419100"/>
                <a:gd name="connsiteY195" fmla="*/ 253081 h 295275"/>
                <a:gd name="connsiteX196" fmla="*/ 407934 w 419100"/>
                <a:gd name="connsiteY196" fmla="*/ 249394 h 295275"/>
                <a:gd name="connsiteX197" fmla="*/ 404239 w 419100"/>
                <a:gd name="connsiteY197" fmla="*/ 249394 h 295275"/>
                <a:gd name="connsiteX198" fmla="*/ 400552 w 419100"/>
                <a:gd name="connsiteY198" fmla="*/ 245699 h 295275"/>
                <a:gd name="connsiteX199" fmla="*/ 396866 w 419100"/>
                <a:gd name="connsiteY199" fmla="*/ 242013 h 295275"/>
                <a:gd name="connsiteX200" fmla="*/ 396866 w 419100"/>
                <a:gd name="connsiteY200" fmla="*/ 238317 h 295275"/>
                <a:gd name="connsiteX201" fmla="*/ 396866 w 419100"/>
                <a:gd name="connsiteY201" fmla="*/ 234631 h 295275"/>
                <a:gd name="connsiteX202" fmla="*/ 396866 w 419100"/>
                <a:gd name="connsiteY202" fmla="*/ 230935 h 295275"/>
                <a:gd name="connsiteX203" fmla="*/ 396866 w 419100"/>
                <a:gd name="connsiteY203" fmla="*/ 219867 h 295275"/>
                <a:gd name="connsiteX204" fmla="*/ 385798 w 419100"/>
                <a:gd name="connsiteY204" fmla="*/ 212485 h 295275"/>
                <a:gd name="connsiteX205" fmla="*/ 389484 w 419100"/>
                <a:gd name="connsiteY205" fmla="*/ 212485 h 295275"/>
                <a:gd name="connsiteX206" fmla="*/ 389484 w 419100"/>
                <a:gd name="connsiteY206" fmla="*/ 208799 h 295275"/>
                <a:gd name="connsiteX207" fmla="*/ 382112 w 419100"/>
                <a:gd name="connsiteY207" fmla="*/ 208799 h 295275"/>
                <a:gd name="connsiteX208" fmla="*/ 382112 w 419100"/>
                <a:gd name="connsiteY208" fmla="*/ 190339 h 295275"/>
                <a:gd name="connsiteX209" fmla="*/ 382112 w 419100"/>
                <a:gd name="connsiteY209" fmla="*/ 186653 h 295275"/>
                <a:gd name="connsiteX210" fmla="*/ 385798 w 419100"/>
                <a:gd name="connsiteY210" fmla="*/ 182958 h 295275"/>
                <a:gd name="connsiteX211" fmla="*/ 382112 w 419100"/>
                <a:gd name="connsiteY211" fmla="*/ 179271 h 295275"/>
                <a:gd name="connsiteX212" fmla="*/ 382112 w 419100"/>
                <a:gd name="connsiteY212" fmla="*/ 175576 h 295275"/>
                <a:gd name="connsiteX213" fmla="*/ 382112 w 419100"/>
                <a:gd name="connsiteY213" fmla="*/ 171890 h 295275"/>
                <a:gd name="connsiteX214" fmla="*/ 382112 w 419100"/>
                <a:gd name="connsiteY214" fmla="*/ 168194 h 295275"/>
                <a:gd name="connsiteX215" fmla="*/ 378416 w 419100"/>
                <a:gd name="connsiteY215" fmla="*/ 160821 h 295275"/>
                <a:gd name="connsiteX216" fmla="*/ 367348 w 419100"/>
                <a:gd name="connsiteY216" fmla="*/ 164508 h 295275"/>
                <a:gd name="connsiteX217" fmla="*/ 371044 w 419100"/>
                <a:gd name="connsiteY217" fmla="*/ 168194 h 295275"/>
                <a:gd name="connsiteX218" fmla="*/ 371044 w 419100"/>
                <a:gd name="connsiteY218" fmla="*/ 171890 h 295275"/>
                <a:gd name="connsiteX219" fmla="*/ 371044 w 419100"/>
                <a:gd name="connsiteY219" fmla="*/ 175576 h 295275"/>
                <a:gd name="connsiteX220" fmla="*/ 367348 w 419100"/>
                <a:gd name="connsiteY220" fmla="*/ 175576 h 295275"/>
                <a:gd name="connsiteX221" fmla="*/ 367348 w 419100"/>
                <a:gd name="connsiteY221" fmla="*/ 179271 h 295275"/>
                <a:gd name="connsiteX222" fmla="*/ 363662 w 419100"/>
                <a:gd name="connsiteY222" fmla="*/ 182958 h 295275"/>
                <a:gd name="connsiteX223" fmla="*/ 359976 w 419100"/>
                <a:gd name="connsiteY223" fmla="*/ 182958 h 295275"/>
                <a:gd name="connsiteX224" fmla="*/ 356280 w 419100"/>
                <a:gd name="connsiteY224" fmla="*/ 186653 h 295275"/>
                <a:gd name="connsiteX225" fmla="*/ 352594 w 419100"/>
                <a:gd name="connsiteY225" fmla="*/ 190339 h 295275"/>
                <a:gd name="connsiteX226" fmla="*/ 348908 w 419100"/>
                <a:gd name="connsiteY226" fmla="*/ 190339 h 295275"/>
                <a:gd name="connsiteX227" fmla="*/ 345212 w 419100"/>
                <a:gd name="connsiteY227" fmla="*/ 190339 h 295275"/>
                <a:gd name="connsiteX228" fmla="*/ 337840 w 419100"/>
                <a:gd name="connsiteY228" fmla="*/ 186653 h 295275"/>
                <a:gd name="connsiteX229" fmla="*/ 334144 w 419100"/>
                <a:gd name="connsiteY229" fmla="*/ 182958 h 295275"/>
                <a:gd name="connsiteX230" fmla="*/ 334144 w 419100"/>
                <a:gd name="connsiteY230" fmla="*/ 179271 h 295275"/>
                <a:gd name="connsiteX231" fmla="*/ 337840 w 419100"/>
                <a:gd name="connsiteY231" fmla="*/ 179271 h 295275"/>
                <a:gd name="connsiteX232" fmla="*/ 341526 w 419100"/>
                <a:gd name="connsiteY232" fmla="*/ 175576 h 295275"/>
                <a:gd name="connsiteX233" fmla="*/ 345212 w 419100"/>
                <a:gd name="connsiteY233" fmla="*/ 171890 h 295275"/>
                <a:gd name="connsiteX234" fmla="*/ 345212 w 419100"/>
                <a:gd name="connsiteY234" fmla="*/ 168194 h 295275"/>
                <a:gd name="connsiteX235" fmla="*/ 345212 w 419100"/>
                <a:gd name="connsiteY235" fmla="*/ 160821 h 295275"/>
                <a:gd name="connsiteX236" fmla="*/ 348908 w 419100"/>
                <a:gd name="connsiteY236" fmla="*/ 157126 h 295275"/>
                <a:gd name="connsiteX237" fmla="*/ 348908 w 419100"/>
                <a:gd name="connsiteY237" fmla="*/ 153440 h 295275"/>
                <a:gd name="connsiteX238" fmla="*/ 352594 w 419100"/>
                <a:gd name="connsiteY238" fmla="*/ 153440 h 295275"/>
                <a:gd name="connsiteX239" fmla="*/ 356280 w 419100"/>
                <a:gd name="connsiteY239" fmla="*/ 153440 h 295275"/>
                <a:gd name="connsiteX240" fmla="*/ 356280 w 419100"/>
                <a:gd name="connsiteY240" fmla="*/ 149744 h 295275"/>
                <a:gd name="connsiteX241" fmla="*/ 352594 w 419100"/>
                <a:gd name="connsiteY241" fmla="*/ 149744 h 295275"/>
                <a:gd name="connsiteX242" fmla="*/ 352594 w 419100"/>
                <a:gd name="connsiteY242" fmla="*/ 146058 h 295275"/>
                <a:gd name="connsiteX243" fmla="*/ 352594 w 419100"/>
                <a:gd name="connsiteY243" fmla="*/ 142362 h 295275"/>
                <a:gd name="connsiteX244" fmla="*/ 359976 w 419100"/>
                <a:gd name="connsiteY244" fmla="*/ 142362 h 295275"/>
                <a:gd name="connsiteX245" fmla="*/ 359976 w 419100"/>
                <a:gd name="connsiteY245" fmla="*/ 138676 h 295275"/>
                <a:gd name="connsiteX246" fmla="*/ 359976 w 419100"/>
                <a:gd name="connsiteY246" fmla="*/ 134980 h 295275"/>
                <a:gd name="connsiteX247" fmla="*/ 352594 w 419100"/>
                <a:gd name="connsiteY247" fmla="*/ 134980 h 295275"/>
                <a:gd name="connsiteX248" fmla="*/ 352594 w 419100"/>
                <a:gd name="connsiteY248" fmla="*/ 127598 h 295275"/>
                <a:gd name="connsiteX249" fmla="*/ 348908 w 419100"/>
                <a:gd name="connsiteY249" fmla="*/ 127598 h 295275"/>
                <a:gd name="connsiteX250" fmla="*/ 345212 w 419100"/>
                <a:gd name="connsiteY250" fmla="*/ 127598 h 295275"/>
                <a:gd name="connsiteX251" fmla="*/ 345212 w 419100"/>
                <a:gd name="connsiteY251" fmla="*/ 123912 h 295275"/>
                <a:gd name="connsiteX252" fmla="*/ 345212 w 419100"/>
                <a:gd name="connsiteY252" fmla="*/ 120216 h 295275"/>
                <a:gd name="connsiteX253" fmla="*/ 341526 w 419100"/>
                <a:gd name="connsiteY253" fmla="*/ 116530 h 295275"/>
                <a:gd name="connsiteX254" fmla="*/ 345212 w 419100"/>
                <a:gd name="connsiteY254" fmla="*/ 116530 h 295275"/>
                <a:gd name="connsiteX255" fmla="*/ 345212 w 419100"/>
                <a:gd name="connsiteY255" fmla="*/ 112844 h 295275"/>
                <a:gd name="connsiteX256" fmla="*/ 326772 w 419100"/>
                <a:gd name="connsiteY256" fmla="*/ 112844 h 295275"/>
                <a:gd name="connsiteX257" fmla="*/ 323086 w 419100"/>
                <a:gd name="connsiteY257" fmla="*/ 109148 h 295275"/>
                <a:gd name="connsiteX258" fmla="*/ 323086 w 419100"/>
                <a:gd name="connsiteY258" fmla="*/ 98080 h 295275"/>
                <a:gd name="connsiteX259" fmla="*/ 323086 w 419100"/>
                <a:gd name="connsiteY259" fmla="*/ 94385 h 295275"/>
                <a:gd name="connsiteX260" fmla="*/ 323086 w 419100"/>
                <a:gd name="connsiteY260" fmla="*/ 90698 h 295275"/>
                <a:gd name="connsiteX261" fmla="*/ 323086 w 419100"/>
                <a:gd name="connsiteY261" fmla="*/ 87003 h 295275"/>
                <a:gd name="connsiteX262" fmla="*/ 323086 w 419100"/>
                <a:gd name="connsiteY262" fmla="*/ 83316 h 295275"/>
                <a:gd name="connsiteX263" fmla="*/ 308322 w 419100"/>
                <a:gd name="connsiteY263" fmla="*/ 72239 h 295275"/>
                <a:gd name="connsiteX264" fmla="*/ 308322 w 419100"/>
                <a:gd name="connsiteY264" fmla="*/ 75935 h 295275"/>
                <a:gd name="connsiteX265" fmla="*/ 300949 w 419100"/>
                <a:gd name="connsiteY265" fmla="*/ 72239 h 295275"/>
                <a:gd name="connsiteX266" fmla="*/ 300949 w 419100"/>
                <a:gd name="connsiteY266" fmla="*/ 68553 h 295275"/>
                <a:gd name="connsiteX267" fmla="*/ 304636 w 419100"/>
                <a:gd name="connsiteY267" fmla="*/ 50103 h 295275"/>
                <a:gd name="connsiteX268" fmla="*/ 300949 w 419100"/>
                <a:gd name="connsiteY268" fmla="*/ 46407 h 295275"/>
                <a:gd name="connsiteX269" fmla="*/ 297254 w 419100"/>
                <a:gd name="connsiteY269" fmla="*/ 42721 h 295275"/>
                <a:gd name="connsiteX270" fmla="*/ 293568 w 419100"/>
                <a:gd name="connsiteY270" fmla="*/ 39025 h 295275"/>
                <a:gd name="connsiteX271" fmla="*/ 289881 w 419100"/>
                <a:gd name="connsiteY271" fmla="*/ 39025 h 295275"/>
                <a:gd name="connsiteX272" fmla="*/ 289881 w 419100"/>
                <a:gd name="connsiteY272" fmla="*/ 35339 h 295275"/>
                <a:gd name="connsiteX273" fmla="*/ 286186 w 419100"/>
                <a:gd name="connsiteY273" fmla="*/ 31643 h 295275"/>
                <a:gd name="connsiteX274" fmla="*/ 282499 w 419100"/>
                <a:gd name="connsiteY274" fmla="*/ 31643 h 295275"/>
                <a:gd name="connsiteX275" fmla="*/ 278813 w 419100"/>
                <a:gd name="connsiteY275" fmla="*/ 31643 h 295275"/>
                <a:gd name="connsiteX276" fmla="*/ 275118 w 419100"/>
                <a:gd name="connsiteY276" fmla="*/ 31643 h 295275"/>
                <a:gd name="connsiteX277" fmla="*/ 271431 w 419100"/>
                <a:gd name="connsiteY277" fmla="*/ 27957 h 295275"/>
                <a:gd name="connsiteX278" fmla="*/ 264050 w 419100"/>
                <a:gd name="connsiteY278" fmla="*/ 27957 h 295275"/>
                <a:gd name="connsiteX279" fmla="*/ 260363 w 419100"/>
                <a:gd name="connsiteY279" fmla="*/ 24262 h 295275"/>
                <a:gd name="connsiteX280" fmla="*/ 245609 w 419100"/>
                <a:gd name="connsiteY280" fmla="*/ 24262 h 295275"/>
                <a:gd name="connsiteX281" fmla="*/ 238227 w 419100"/>
                <a:gd name="connsiteY281" fmla="*/ 20575 h 295275"/>
                <a:gd name="connsiteX282" fmla="*/ 227162 w 419100"/>
                <a:gd name="connsiteY282" fmla="*/ 42721 h 295275"/>
                <a:gd name="connsiteX283" fmla="*/ 227162 w 419100"/>
                <a:gd name="connsiteY283" fmla="*/ 46407 h 295275"/>
                <a:gd name="connsiteX284" fmla="*/ 227162 w 419100"/>
                <a:gd name="connsiteY284" fmla="*/ 50103 h 295275"/>
                <a:gd name="connsiteX285" fmla="*/ 223473 w 419100"/>
                <a:gd name="connsiteY285" fmla="*/ 57485 h 295275"/>
                <a:gd name="connsiteX286" fmla="*/ 219784 w 419100"/>
                <a:gd name="connsiteY286" fmla="*/ 68553 h 295275"/>
                <a:gd name="connsiteX287" fmla="*/ 216095 w 419100"/>
                <a:gd name="connsiteY287" fmla="*/ 75935 h 295275"/>
                <a:gd name="connsiteX288" fmla="*/ 216095 w 419100"/>
                <a:gd name="connsiteY288" fmla="*/ 83316 h 295275"/>
                <a:gd name="connsiteX289" fmla="*/ 212406 w 419100"/>
                <a:gd name="connsiteY289" fmla="*/ 87003 h 295275"/>
                <a:gd name="connsiteX290" fmla="*/ 212406 w 419100"/>
                <a:gd name="connsiteY290" fmla="*/ 90698 h 295275"/>
                <a:gd name="connsiteX291" fmla="*/ 205027 w 419100"/>
                <a:gd name="connsiteY291" fmla="*/ 105462 h 295275"/>
                <a:gd name="connsiteX292" fmla="*/ 197649 w 419100"/>
                <a:gd name="connsiteY292" fmla="*/ 105462 h 295275"/>
                <a:gd name="connsiteX293" fmla="*/ 193960 w 419100"/>
                <a:gd name="connsiteY293" fmla="*/ 105462 h 295275"/>
                <a:gd name="connsiteX294" fmla="*/ 190271 w 419100"/>
                <a:gd name="connsiteY294" fmla="*/ 105462 h 295275"/>
                <a:gd name="connsiteX295" fmla="*/ 168136 w 419100"/>
                <a:gd name="connsiteY295" fmla="*/ 101766 h 295275"/>
                <a:gd name="connsiteX296" fmla="*/ 164447 w 419100"/>
                <a:gd name="connsiteY296" fmla="*/ 101766 h 295275"/>
                <a:gd name="connsiteX297" fmla="*/ 146001 w 419100"/>
                <a:gd name="connsiteY297" fmla="*/ 109148 h 295275"/>
                <a:gd name="connsiteX298" fmla="*/ 131243 w 419100"/>
                <a:gd name="connsiteY298" fmla="*/ 112844 h 295275"/>
                <a:gd name="connsiteX299" fmla="*/ 131243 w 419100"/>
                <a:gd name="connsiteY299" fmla="*/ 98080 h 295275"/>
                <a:gd name="connsiteX300" fmla="*/ 127554 w 419100"/>
                <a:gd name="connsiteY300" fmla="*/ 98080 h 295275"/>
                <a:gd name="connsiteX301" fmla="*/ 127554 w 419100"/>
                <a:gd name="connsiteY301" fmla="*/ 90698 h 295275"/>
                <a:gd name="connsiteX302" fmla="*/ 127554 w 419100"/>
                <a:gd name="connsiteY302" fmla="*/ 87003 h 295275"/>
                <a:gd name="connsiteX303" fmla="*/ 123865 w 419100"/>
                <a:gd name="connsiteY303" fmla="*/ 87003 h 295275"/>
                <a:gd name="connsiteX304" fmla="*/ 120176 w 419100"/>
                <a:gd name="connsiteY304" fmla="*/ 83316 h 295275"/>
                <a:gd name="connsiteX305" fmla="*/ 127554 w 419100"/>
                <a:gd name="connsiteY305" fmla="*/ 83316 h 295275"/>
                <a:gd name="connsiteX306" fmla="*/ 127554 w 419100"/>
                <a:gd name="connsiteY306" fmla="*/ 79621 h 295275"/>
                <a:gd name="connsiteX307" fmla="*/ 127554 w 419100"/>
                <a:gd name="connsiteY307" fmla="*/ 75935 h 295275"/>
                <a:gd name="connsiteX308" fmla="*/ 127554 w 419100"/>
                <a:gd name="connsiteY308" fmla="*/ 68553 h 295275"/>
                <a:gd name="connsiteX309" fmla="*/ 127554 w 419100"/>
                <a:gd name="connsiteY309" fmla="*/ 61171 h 295275"/>
                <a:gd name="connsiteX310" fmla="*/ 131243 w 419100"/>
                <a:gd name="connsiteY310" fmla="*/ 61171 h 295275"/>
                <a:gd name="connsiteX311" fmla="*/ 138621 w 419100"/>
                <a:gd name="connsiteY311" fmla="*/ 57485 h 295275"/>
                <a:gd name="connsiteX312" fmla="*/ 131243 w 419100"/>
                <a:gd name="connsiteY312" fmla="*/ 53789 h 295275"/>
                <a:gd name="connsiteX313" fmla="*/ 131243 w 419100"/>
                <a:gd name="connsiteY313" fmla="*/ 46407 h 295275"/>
                <a:gd name="connsiteX314" fmla="*/ 131243 w 419100"/>
                <a:gd name="connsiteY314" fmla="*/ 42721 h 295275"/>
                <a:gd name="connsiteX315" fmla="*/ 127554 w 419100"/>
                <a:gd name="connsiteY315" fmla="*/ 42721 h 295275"/>
                <a:gd name="connsiteX316" fmla="*/ 127554 w 419100"/>
                <a:gd name="connsiteY316" fmla="*/ 46407 h 295275"/>
                <a:gd name="connsiteX317" fmla="*/ 123865 w 419100"/>
                <a:gd name="connsiteY317" fmla="*/ 42721 h 295275"/>
                <a:gd name="connsiteX318" fmla="*/ 120176 w 419100"/>
                <a:gd name="connsiteY318" fmla="*/ 31643 h 295275"/>
                <a:gd name="connsiteX319" fmla="*/ 120176 w 419100"/>
                <a:gd name="connsiteY319" fmla="*/ 27957 h 295275"/>
                <a:gd name="connsiteX320" fmla="*/ 123865 w 419100"/>
                <a:gd name="connsiteY320" fmla="*/ 27957 h 295275"/>
                <a:gd name="connsiteX321" fmla="*/ 127554 w 419100"/>
                <a:gd name="connsiteY321" fmla="*/ 27957 h 295275"/>
                <a:gd name="connsiteX322" fmla="*/ 127554 w 419100"/>
                <a:gd name="connsiteY322" fmla="*/ 24262 h 295275"/>
                <a:gd name="connsiteX323" fmla="*/ 131243 w 419100"/>
                <a:gd name="connsiteY323" fmla="*/ 24262 h 295275"/>
                <a:gd name="connsiteX324" fmla="*/ 134932 w 419100"/>
                <a:gd name="connsiteY324" fmla="*/ 24262 h 295275"/>
                <a:gd name="connsiteX325" fmla="*/ 134932 w 419100"/>
                <a:gd name="connsiteY325" fmla="*/ 20575 h 295275"/>
                <a:gd name="connsiteX326" fmla="*/ 138621 w 419100"/>
                <a:gd name="connsiteY326" fmla="*/ 20575 h 295275"/>
                <a:gd name="connsiteX327" fmla="*/ 142312 w 419100"/>
                <a:gd name="connsiteY327" fmla="*/ 20575 h 295275"/>
                <a:gd name="connsiteX328" fmla="*/ 138621 w 419100"/>
                <a:gd name="connsiteY328" fmla="*/ 16889 h 295275"/>
                <a:gd name="connsiteX329" fmla="*/ 134932 w 419100"/>
                <a:gd name="connsiteY329" fmla="*/ 16889 h 295275"/>
                <a:gd name="connsiteX330" fmla="*/ 131243 w 419100"/>
                <a:gd name="connsiteY330" fmla="*/ 20575 h 295275"/>
                <a:gd name="connsiteX331" fmla="*/ 127554 w 419100"/>
                <a:gd name="connsiteY331" fmla="*/ 20575 h 295275"/>
                <a:gd name="connsiteX332" fmla="*/ 123865 w 419100"/>
                <a:gd name="connsiteY332" fmla="*/ 16889 h 295275"/>
                <a:gd name="connsiteX333" fmla="*/ 120176 w 419100"/>
                <a:gd name="connsiteY333" fmla="*/ 20575 h 295275"/>
                <a:gd name="connsiteX334" fmla="*/ 120176 w 419100"/>
                <a:gd name="connsiteY334" fmla="*/ 5812 h 295275"/>
                <a:gd name="connsiteX335" fmla="*/ 116486 w 419100"/>
                <a:gd name="connsiteY335" fmla="*/ 5812 h 295275"/>
                <a:gd name="connsiteX336" fmla="*/ 112797 w 419100"/>
                <a:gd name="connsiteY336" fmla="*/ 5812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419100" h="295275">
                  <a:moveTo>
                    <a:pt x="112797" y="5812"/>
                  </a:moveTo>
                  <a:lnTo>
                    <a:pt x="112797" y="9507"/>
                  </a:lnTo>
                  <a:lnTo>
                    <a:pt x="109108" y="9507"/>
                  </a:lnTo>
                  <a:lnTo>
                    <a:pt x="109108" y="13193"/>
                  </a:lnTo>
                  <a:lnTo>
                    <a:pt x="109108" y="16889"/>
                  </a:lnTo>
                  <a:lnTo>
                    <a:pt x="101730" y="13193"/>
                  </a:lnTo>
                  <a:lnTo>
                    <a:pt x="101730" y="16889"/>
                  </a:lnTo>
                  <a:lnTo>
                    <a:pt x="94351" y="20575"/>
                  </a:lnTo>
                  <a:lnTo>
                    <a:pt x="94351" y="24262"/>
                  </a:lnTo>
                  <a:lnTo>
                    <a:pt x="90662" y="24262"/>
                  </a:lnTo>
                  <a:lnTo>
                    <a:pt x="86973" y="24262"/>
                  </a:lnTo>
                  <a:lnTo>
                    <a:pt x="83284" y="24262"/>
                  </a:lnTo>
                  <a:lnTo>
                    <a:pt x="75906" y="20575"/>
                  </a:lnTo>
                  <a:lnTo>
                    <a:pt x="72217" y="24262"/>
                  </a:lnTo>
                  <a:lnTo>
                    <a:pt x="72217" y="27957"/>
                  </a:lnTo>
                  <a:lnTo>
                    <a:pt x="75906" y="31643"/>
                  </a:lnTo>
                  <a:lnTo>
                    <a:pt x="72217" y="35339"/>
                  </a:lnTo>
                  <a:lnTo>
                    <a:pt x="68527" y="39025"/>
                  </a:lnTo>
                  <a:lnTo>
                    <a:pt x="68527" y="42721"/>
                  </a:lnTo>
                  <a:lnTo>
                    <a:pt x="64838" y="42721"/>
                  </a:lnTo>
                  <a:lnTo>
                    <a:pt x="61149" y="42721"/>
                  </a:lnTo>
                  <a:lnTo>
                    <a:pt x="61149" y="46407"/>
                  </a:lnTo>
                  <a:lnTo>
                    <a:pt x="57460" y="42721"/>
                  </a:lnTo>
                  <a:lnTo>
                    <a:pt x="53771" y="42721"/>
                  </a:lnTo>
                  <a:lnTo>
                    <a:pt x="50082" y="42721"/>
                  </a:lnTo>
                  <a:lnTo>
                    <a:pt x="46393" y="46407"/>
                  </a:lnTo>
                  <a:lnTo>
                    <a:pt x="39014" y="50103"/>
                  </a:lnTo>
                  <a:lnTo>
                    <a:pt x="39014" y="53789"/>
                  </a:lnTo>
                  <a:lnTo>
                    <a:pt x="35325" y="53789"/>
                  </a:lnTo>
                  <a:lnTo>
                    <a:pt x="31636" y="57485"/>
                  </a:lnTo>
                  <a:lnTo>
                    <a:pt x="27947" y="57485"/>
                  </a:lnTo>
                  <a:lnTo>
                    <a:pt x="27947" y="61171"/>
                  </a:lnTo>
                  <a:lnTo>
                    <a:pt x="24257" y="61171"/>
                  </a:lnTo>
                  <a:lnTo>
                    <a:pt x="20568" y="64867"/>
                  </a:lnTo>
                  <a:lnTo>
                    <a:pt x="16879" y="64867"/>
                  </a:lnTo>
                  <a:lnTo>
                    <a:pt x="13190" y="64867"/>
                  </a:lnTo>
                  <a:lnTo>
                    <a:pt x="9501" y="64867"/>
                  </a:lnTo>
                  <a:lnTo>
                    <a:pt x="9501" y="68553"/>
                  </a:lnTo>
                  <a:lnTo>
                    <a:pt x="13190" y="72239"/>
                  </a:lnTo>
                  <a:lnTo>
                    <a:pt x="13190" y="79621"/>
                  </a:lnTo>
                  <a:lnTo>
                    <a:pt x="13190" y="83316"/>
                  </a:lnTo>
                  <a:lnTo>
                    <a:pt x="16879" y="83316"/>
                  </a:lnTo>
                  <a:lnTo>
                    <a:pt x="16879" y="87003"/>
                  </a:lnTo>
                  <a:lnTo>
                    <a:pt x="20568" y="90698"/>
                  </a:lnTo>
                  <a:lnTo>
                    <a:pt x="24257" y="90698"/>
                  </a:lnTo>
                  <a:lnTo>
                    <a:pt x="24257" y="94385"/>
                  </a:lnTo>
                  <a:lnTo>
                    <a:pt x="27947" y="98080"/>
                  </a:lnTo>
                  <a:lnTo>
                    <a:pt x="31636" y="101766"/>
                  </a:lnTo>
                  <a:lnTo>
                    <a:pt x="39014" y="101766"/>
                  </a:lnTo>
                  <a:lnTo>
                    <a:pt x="42703" y="105462"/>
                  </a:lnTo>
                  <a:lnTo>
                    <a:pt x="57460" y="116530"/>
                  </a:lnTo>
                  <a:lnTo>
                    <a:pt x="46393" y="120216"/>
                  </a:lnTo>
                  <a:lnTo>
                    <a:pt x="46393" y="134980"/>
                  </a:lnTo>
                  <a:lnTo>
                    <a:pt x="42703" y="134980"/>
                  </a:lnTo>
                  <a:lnTo>
                    <a:pt x="39014" y="134980"/>
                  </a:lnTo>
                  <a:lnTo>
                    <a:pt x="31636" y="134980"/>
                  </a:lnTo>
                  <a:lnTo>
                    <a:pt x="27947" y="134980"/>
                  </a:lnTo>
                  <a:lnTo>
                    <a:pt x="27947" y="131294"/>
                  </a:lnTo>
                  <a:lnTo>
                    <a:pt x="20568" y="131294"/>
                  </a:lnTo>
                  <a:lnTo>
                    <a:pt x="16879" y="134980"/>
                  </a:lnTo>
                  <a:lnTo>
                    <a:pt x="13190" y="138676"/>
                  </a:lnTo>
                  <a:lnTo>
                    <a:pt x="16879" y="138676"/>
                  </a:lnTo>
                  <a:lnTo>
                    <a:pt x="13190" y="142362"/>
                  </a:lnTo>
                  <a:lnTo>
                    <a:pt x="13190" y="146058"/>
                  </a:lnTo>
                  <a:lnTo>
                    <a:pt x="9501" y="146058"/>
                  </a:lnTo>
                  <a:lnTo>
                    <a:pt x="5812" y="146058"/>
                  </a:lnTo>
                  <a:lnTo>
                    <a:pt x="5812" y="149744"/>
                  </a:lnTo>
                  <a:lnTo>
                    <a:pt x="20568" y="157126"/>
                  </a:lnTo>
                  <a:lnTo>
                    <a:pt x="24257" y="160821"/>
                  </a:lnTo>
                  <a:lnTo>
                    <a:pt x="20568" y="160821"/>
                  </a:lnTo>
                  <a:lnTo>
                    <a:pt x="20568" y="171890"/>
                  </a:lnTo>
                  <a:lnTo>
                    <a:pt x="24257" y="182958"/>
                  </a:lnTo>
                  <a:lnTo>
                    <a:pt x="24257" y="186653"/>
                  </a:lnTo>
                  <a:lnTo>
                    <a:pt x="27947" y="186653"/>
                  </a:lnTo>
                  <a:lnTo>
                    <a:pt x="24257" y="190339"/>
                  </a:lnTo>
                  <a:lnTo>
                    <a:pt x="31636" y="190339"/>
                  </a:lnTo>
                  <a:lnTo>
                    <a:pt x="46393" y="190339"/>
                  </a:lnTo>
                  <a:lnTo>
                    <a:pt x="42703" y="194035"/>
                  </a:lnTo>
                  <a:lnTo>
                    <a:pt x="39014" y="197721"/>
                  </a:lnTo>
                  <a:lnTo>
                    <a:pt x="35325" y="197721"/>
                  </a:lnTo>
                  <a:lnTo>
                    <a:pt x="24257" y="205103"/>
                  </a:lnTo>
                  <a:lnTo>
                    <a:pt x="20568" y="216171"/>
                  </a:lnTo>
                  <a:lnTo>
                    <a:pt x="16879" y="219867"/>
                  </a:lnTo>
                  <a:lnTo>
                    <a:pt x="13190" y="219867"/>
                  </a:lnTo>
                  <a:lnTo>
                    <a:pt x="13190" y="223553"/>
                  </a:lnTo>
                  <a:lnTo>
                    <a:pt x="9501" y="227249"/>
                  </a:lnTo>
                  <a:lnTo>
                    <a:pt x="13190" y="234631"/>
                  </a:lnTo>
                  <a:lnTo>
                    <a:pt x="16879" y="234631"/>
                  </a:lnTo>
                  <a:lnTo>
                    <a:pt x="20568" y="230935"/>
                  </a:lnTo>
                  <a:lnTo>
                    <a:pt x="24257" y="230935"/>
                  </a:lnTo>
                  <a:lnTo>
                    <a:pt x="27947" y="230935"/>
                  </a:lnTo>
                  <a:lnTo>
                    <a:pt x="31636" y="230935"/>
                  </a:lnTo>
                  <a:lnTo>
                    <a:pt x="35325" y="230935"/>
                  </a:lnTo>
                  <a:lnTo>
                    <a:pt x="39014" y="242013"/>
                  </a:lnTo>
                  <a:lnTo>
                    <a:pt x="35325" y="242013"/>
                  </a:lnTo>
                  <a:lnTo>
                    <a:pt x="20568" y="245699"/>
                  </a:lnTo>
                  <a:lnTo>
                    <a:pt x="24257" y="249394"/>
                  </a:lnTo>
                  <a:lnTo>
                    <a:pt x="27947" y="256776"/>
                  </a:lnTo>
                  <a:lnTo>
                    <a:pt x="31636" y="264149"/>
                  </a:lnTo>
                  <a:lnTo>
                    <a:pt x="35325" y="267844"/>
                  </a:lnTo>
                  <a:lnTo>
                    <a:pt x="39014" y="271531"/>
                  </a:lnTo>
                  <a:lnTo>
                    <a:pt x="42703" y="275226"/>
                  </a:lnTo>
                  <a:lnTo>
                    <a:pt x="42703" y="278912"/>
                  </a:lnTo>
                  <a:lnTo>
                    <a:pt x="46393" y="282608"/>
                  </a:lnTo>
                  <a:lnTo>
                    <a:pt x="46393" y="289990"/>
                  </a:lnTo>
                  <a:lnTo>
                    <a:pt x="46393" y="293676"/>
                  </a:lnTo>
                  <a:lnTo>
                    <a:pt x="50082" y="293676"/>
                  </a:lnTo>
                  <a:lnTo>
                    <a:pt x="57460" y="293676"/>
                  </a:lnTo>
                  <a:lnTo>
                    <a:pt x="61149" y="293676"/>
                  </a:lnTo>
                  <a:lnTo>
                    <a:pt x="64838" y="289990"/>
                  </a:lnTo>
                  <a:lnTo>
                    <a:pt x="68527" y="289990"/>
                  </a:lnTo>
                  <a:lnTo>
                    <a:pt x="68527" y="286294"/>
                  </a:lnTo>
                  <a:lnTo>
                    <a:pt x="72217" y="286294"/>
                  </a:lnTo>
                  <a:lnTo>
                    <a:pt x="75906" y="278912"/>
                  </a:lnTo>
                  <a:lnTo>
                    <a:pt x="79595" y="275226"/>
                  </a:lnTo>
                  <a:lnTo>
                    <a:pt x="83284" y="275226"/>
                  </a:lnTo>
                  <a:lnTo>
                    <a:pt x="86973" y="275226"/>
                  </a:lnTo>
                  <a:lnTo>
                    <a:pt x="90662" y="278912"/>
                  </a:lnTo>
                  <a:lnTo>
                    <a:pt x="94351" y="278912"/>
                  </a:lnTo>
                  <a:lnTo>
                    <a:pt x="98041" y="275226"/>
                  </a:lnTo>
                  <a:lnTo>
                    <a:pt x="98041" y="271531"/>
                  </a:lnTo>
                  <a:lnTo>
                    <a:pt x="101730" y="267844"/>
                  </a:lnTo>
                  <a:lnTo>
                    <a:pt x="105419" y="264149"/>
                  </a:lnTo>
                  <a:lnTo>
                    <a:pt x="109108" y="264149"/>
                  </a:lnTo>
                  <a:lnTo>
                    <a:pt x="112797" y="264149"/>
                  </a:lnTo>
                  <a:lnTo>
                    <a:pt x="120176" y="271531"/>
                  </a:lnTo>
                  <a:lnTo>
                    <a:pt x="123865" y="271531"/>
                  </a:lnTo>
                  <a:lnTo>
                    <a:pt x="127554" y="267844"/>
                  </a:lnTo>
                  <a:lnTo>
                    <a:pt x="127554" y="264149"/>
                  </a:lnTo>
                  <a:lnTo>
                    <a:pt x="131243" y="264149"/>
                  </a:lnTo>
                  <a:lnTo>
                    <a:pt x="134932" y="264149"/>
                  </a:lnTo>
                  <a:lnTo>
                    <a:pt x="138621" y="275226"/>
                  </a:lnTo>
                  <a:lnTo>
                    <a:pt x="134932" y="282608"/>
                  </a:lnTo>
                  <a:lnTo>
                    <a:pt x="149690" y="286294"/>
                  </a:lnTo>
                  <a:lnTo>
                    <a:pt x="157068" y="289990"/>
                  </a:lnTo>
                  <a:lnTo>
                    <a:pt x="171825" y="297372"/>
                  </a:lnTo>
                  <a:lnTo>
                    <a:pt x="175514" y="297372"/>
                  </a:lnTo>
                  <a:lnTo>
                    <a:pt x="179203" y="297372"/>
                  </a:lnTo>
                  <a:lnTo>
                    <a:pt x="182892" y="297372"/>
                  </a:lnTo>
                  <a:lnTo>
                    <a:pt x="190271" y="289990"/>
                  </a:lnTo>
                  <a:lnTo>
                    <a:pt x="193960" y="278912"/>
                  </a:lnTo>
                  <a:lnTo>
                    <a:pt x="197649" y="271531"/>
                  </a:lnTo>
                  <a:lnTo>
                    <a:pt x="201338" y="275226"/>
                  </a:lnTo>
                  <a:lnTo>
                    <a:pt x="205027" y="278912"/>
                  </a:lnTo>
                  <a:lnTo>
                    <a:pt x="208716" y="278912"/>
                  </a:lnTo>
                  <a:lnTo>
                    <a:pt x="212406" y="278912"/>
                  </a:lnTo>
                  <a:lnTo>
                    <a:pt x="216095" y="275226"/>
                  </a:lnTo>
                  <a:lnTo>
                    <a:pt x="219784" y="271531"/>
                  </a:lnTo>
                  <a:lnTo>
                    <a:pt x="219784" y="264149"/>
                  </a:lnTo>
                  <a:lnTo>
                    <a:pt x="223473" y="264149"/>
                  </a:lnTo>
                  <a:lnTo>
                    <a:pt x="227162" y="264149"/>
                  </a:lnTo>
                  <a:lnTo>
                    <a:pt x="234541" y="267844"/>
                  </a:lnTo>
                  <a:lnTo>
                    <a:pt x="241923" y="275226"/>
                  </a:lnTo>
                  <a:lnTo>
                    <a:pt x="245609" y="275226"/>
                  </a:lnTo>
                  <a:lnTo>
                    <a:pt x="256677" y="275226"/>
                  </a:lnTo>
                  <a:lnTo>
                    <a:pt x="260363" y="278912"/>
                  </a:lnTo>
                  <a:lnTo>
                    <a:pt x="264050" y="282608"/>
                  </a:lnTo>
                  <a:lnTo>
                    <a:pt x="267745" y="282608"/>
                  </a:lnTo>
                  <a:lnTo>
                    <a:pt x="271431" y="278912"/>
                  </a:lnTo>
                  <a:lnTo>
                    <a:pt x="275118" y="278912"/>
                  </a:lnTo>
                  <a:lnTo>
                    <a:pt x="275118" y="275226"/>
                  </a:lnTo>
                  <a:lnTo>
                    <a:pt x="278813" y="271531"/>
                  </a:lnTo>
                  <a:lnTo>
                    <a:pt x="282499" y="271531"/>
                  </a:lnTo>
                  <a:lnTo>
                    <a:pt x="286186" y="267844"/>
                  </a:lnTo>
                  <a:lnTo>
                    <a:pt x="293568" y="271531"/>
                  </a:lnTo>
                  <a:lnTo>
                    <a:pt x="297254" y="271531"/>
                  </a:lnTo>
                  <a:lnTo>
                    <a:pt x="300949" y="267844"/>
                  </a:lnTo>
                  <a:lnTo>
                    <a:pt x="304636" y="267844"/>
                  </a:lnTo>
                  <a:lnTo>
                    <a:pt x="312017" y="264149"/>
                  </a:lnTo>
                  <a:lnTo>
                    <a:pt x="315704" y="264149"/>
                  </a:lnTo>
                  <a:lnTo>
                    <a:pt x="319390" y="260462"/>
                  </a:lnTo>
                  <a:lnTo>
                    <a:pt x="323086" y="256776"/>
                  </a:lnTo>
                  <a:lnTo>
                    <a:pt x="326772" y="256776"/>
                  </a:lnTo>
                  <a:lnTo>
                    <a:pt x="330458" y="260462"/>
                  </a:lnTo>
                  <a:lnTo>
                    <a:pt x="341526" y="260462"/>
                  </a:lnTo>
                  <a:lnTo>
                    <a:pt x="345212" y="260462"/>
                  </a:lnTo>
                  <a:lnTo>
                    <a:pt x="348908" y="260462"/>
                  </a:lnTo>
                  <a:lnTo>
                    <a:pt x="352594" y="264149"/>
                  </a:lnTo>
                  <a:lnTo>
                    <a:pt x="359976" y="267844"/>
                  </a:lnTo>
                  <a:lnTo>
                    <a:pt x="363662" y="267844"/>
                  </a:lnTo>
                  <a:lnTo>
                    <a:pt x="367348" y="271531"/>
                  </a:lnTo>
                  <a:lnTo>
                    <a:pt x="371044" y="271531"/>
                  </a:lnTo>
                  <a:lnTo>
                    <a:pt x="374730" y="271531"/>
                  </a:lnTo>
                  <a:lnTo>
                    <a:pt x="378416" y="278912"/>
                  </a:lnTo>
                  <a:lnTo>
                    <a:pt x="385798" y="282608"/>
                  </a:lnTo>
                  <a:lnTo>
                    <a:pt x="396866" y="286294"/>
                  </a:lnTo>
                  <a:lnTo>
                    <a:pt x="404239" y="289990"/>
                  </a:lnTo>
                  <a:lnTo>
                    <a:pt x="411620" y="286294"/>
                  </a:lnTo>
                  <a:lnTo>
                    <a:pt x="415307" y="282608"/>
                  </a:lnTo>
                  <a:lnTo>
                    <a:pt x="415307" y="278912"/>
                  </a:lnTo>
                  <a:lnTo>
                    <a:pt x="415307" y="275226"/>
                  </a:lnTo>
                  <a:lnTo>
                    <a:pt x="411620" y="271531"/>
                  </a:lnTo>
                  <a:lnTo>
                    <a:pt x="415307" y="267844"/>
                  </a:lnTo>
                  <a:lnTo>
                    <a:pt x="411620" y="264149"/>
                  </a:lnTo>
                  <a:lnTo>
                    <a:pt x="411620" y="260462"/>
                  </a:lnTo>
                  <a:lnTo>
                    <a:pt x="407934" y="253081"/>
                  </a:lnTo>
                  <a:lnTo>
                    <a:pt x="407934" y="249394"/>
                  </a:lnTo>
                  <a:lnTo>
                    <a:pt x="404239" y="249394"/>
                  </a:lnTo>
                  <a:lnTo>
                    <a:pt x="400552" y="245699"/>
                  </a:lnTo>
                  <a:lnTo>
                    <a:pt x="396866" y="242013"/>
                  </a:lnTo>
                  <a:lnTo>
                    <a:pt x="396866" y="238317"/>
                  </a:lnTo>
                  <a:lnTo>
                    <a:pt x="396866" y="234631"/>
                  </a:lnTo>
                  <a:lnTo>
                    <a:pt x="396866" y="230935"/>
                  </a:lnTo>
                  <a:lnTo>
                    <a:pt x="396866" y="219867"/>
                  </a:lnTo>
                  <a:lnTo>
                    <a:pt x="385798" y="212485"/>
                  </a:lnTo>
                  <a:lnTo>
                    <a:pt x="389484" y="212485"/>
                  </a:lnTo>
                  <a:lnTo>
                    <a:pt x="389484" y="208799"/>
                  </a:lnTo>
                  <a:lnTo>
                    <a:pt x="382112" y="208799"/>
                  </a:lnTo>
                  <a:lnTo>
                    <a:pt x="382112" y="190339"/>
                  </a:lnTo>
                  <a:lnTo>
                    <a:pt x="382112" y="186653"/>
                  </a:lnTo>
                  <a:lnTo>
                    <a:pt x="385798" y="182958"/>
                  </a:lnTo>
                  <a:lnTo>
                    <a:pt x="382112" y="179271"/>
                  </a:lnTo>
                  <a:lnTo>
                    <a:pt x="382112" y="175576"/>
                  </a:lnTo>
                  <a:lnTo>
                    <a:pt x="382112" y="171890"/>
                  </a:lnTo>
                  <a:lnTo>
                    <a:pt x="382112" y="168194"/>
                  </a:lnTo>
                  <a:lnTo>
                    <a:pt x="378416" y="160821"/>
                  </a:lnTo>
                  <a:lnTo>
                    <a:pt x="367348" y="164508"/>
                  </a:lnTo>
                  <a:lnTo>
                    <a:pt x="371044" y="168194"/>
                  </a:lnTo>
                  <a:lnTo>
                    <a:pt x="371044" y="171890"/>
                  </a:lnTo>
                  <a:lnTo>
                    <a:pt x="371044" y="175576"/>
                  </a:lnTo>
                  <a:lnTo>
                    <a:pt x="367348" y="175576"/>
                  </a:lnTo>
                  <a:lnTo>
                    <a:pt x="367348" y="179271"/>
                  </a:lnTo>
                  <a:lnTo>
                    <a:pt x="363662" y="182958"/>
                  </a:lnTo>
                  <a:lnTo>
                    <a:pt x="359976" y="182958"/>
                  </a:lnTo>
                  <a:lnTo>
                    <a:pt x="356280" y="186653"/>
                  </a:lnTo>
                  <a:lnTo>
                    <a:pt x="352594" y="190339"/>
                  </a:lnTo>
                  <a:lnTo>
                    <a:pt x="348908" y="190339"/>
                  </a:lnTo>
                  <a:lnTo>
                    <a:pt x="345212" y="190339"/>
                  </a:lnTo>
                  <a:lnTo>
                    <a:pt x="337840" y="186653"/>
                  </a:lnTo>
                  <a:lnTo>
                    <a:pt x="334144" y="182958"/>
                  </a:lnTo>
                  <a:lnTo>
                    <a:pt x="334144" y="179271"/>
                  </a:lnTo>
                  <a:lnTo>
                    <a:pt x="337840" y="179271"/>
                  </a:lnTo>
                  <a:lnTo>
                    <a:pt x="341526" y="175576"/>
                  </a:lnTo>
                  <a:lnTo>
                    <a:pt x="345212" y="171890"/>
                  </a:lnTo>
                  <a:lnTo>
                    <a:pt x="345212" y="168194"/>
                  </a:lnTo>
                  <a:lnTo>
                    <a:pt x="345212" y="160821"/>
                  </a:lnTo>
                  <a:lnTo>
                    <a:pt x="348908" y="157126"/>
                  </a:lnTo>
                  <a:lnTo>
                    <a:pt x="348908" y="153440"/>
                  </a:lnTo>
                  <a:lnTo>
                    <a:pt x="352594" y="153440"/>
                  </a:lnTo>
                  <a:lnTo>
                    <a:pt x="356280" y="153440"/>
                  </a:lnTo>
                  <a:lnTo>
                    <a:pt x="356280" y="149744"/>
                  </a:lnTo>
                  <a:lnTo>
                    <a:pt x="352594" y="149744"/>
                  </a:lnTo>
                  <a:lnTo>
                    <a:pt x="352594" y="146058"/>
                  </a:lnTo>
                  <a:lnTo>
                    <a:pt x="352594" y="142362"/>
                  </a:lnTo>
                  <a:lnTo>
                    <a:pt x="359976" y="142362"/>
                  </a:lnTo>
                  <a:lnTo>
                    <a:pt x="359976" y="138676"/>
                  </a:lnTo>
                  <a:lnTo>
                    <a:pt x="359976" y="134980"/>
                  </a:lnTo>
                  <a:lnTo>
                    <a:pt x="352594" y="134980"/>
                  </a:lnTo>
                  <a:lnTo>
                    <a:pt x="352594" y="127598"/>
                  </a:lnTo>
                  <a:lnTo>
                    <a:pt x="348908" y="127598"/>
                  </a:lnTo>
                  <a:lnTo>
                    <a:pt x="345212" y="127598"/>
                  </a:lnTo>
                  <a:lnTo>
                    <a:pt x="345212" y="123912"/>
                  </a:lnTo>
                  <a:lnTo>
                    <a:pt x="345212" y="120216"/>
                  </a:lnTo>
                  <a:lnTo>
                    <a:pt x="341526" y="116530"/>
                  </a:lnTo>
                  <a:lnTo>
                    <a:pt x="345212" y="116530"/>
                  </a:lnTo>
                  <a:lnTo>
                    <a:pt x="345212" y="112844"/>
                  </a:lnTo>
                  <a:lnTo>
                    <a:pt x="326772" y="112844"/>
                  </a:lnTo>
                  <a:lnTo>
                    <a:pt x="323086" y="109148"/>
                  </a:lnTo>
                  <a:lnTo>
                    <a:pt x="323086" y="98080"/>
                  </a:lnTo>
                  <a:lnTo>
                    <a:pt x="323086" y="94385"/>
                  </a:lnTo>
                  <a:lnTo>
                    <a:pt x="323086" y="90698"/>
                  </a:lnTo>
                  <a:lnTo>
                    <a:pt x="323086" y="87003"/>
                  </a:lnTo>
                  <a:lnTo>
                    <a:pt x="323086" y="83316"/>
                  </a:lnTo>
                  <a:lnTo>
                    <a:pt x="308322" y="72239"/>
                  </a:lnTo>
                  <a:lnTo>
                    <a:pt x="308322" y="75935"/>
                  </a:lnTo>
                  <a:lnTo>
                    <a:pt x="300949" y="72239"/>
                  </a:lnTo>
                  <a:lnTo>
                    <a:pt x="300949" y="68553"/>
                  </a:lnTo>
                  <a:lnTo>
                    <a:pt x="304636" y="50103"/>
                  </a:lnTo>
                  <a:lnTo>
                    <a:pt x="300949" y="46407"/>
                  </a:lnTo>
                  <a:lnTo>
                    <a:pt x="297254" y="42721"/>
                  </a:lnTo>
                  <a:lnTo>
                    <a:pt x="293568" y="39025"/>
                  </a:lnTo>
                  <a:lnTo>
                    <a:pt x="289881" y="39025"/>
                  </a:lnTo>
                  <a:lnTo>
                    <a:pt x="289881" y="35339"/>
                  </a:lnTo>
                  <a:lnTo>
                    <a:pt x="286186" y="31643"/>
                  </a:lnTo>
                  <a:lnTo>
                    <a:pt x="282499" y="31643"/>
                  </a:lnTo>
                  <a:lnTo>
                    <a:pt x="278813" y="31643"/>
                  </a:lnTo>
                  <a:lnTo>
                    <a:pt x="275118" y="31643"/>
                  </a:lnTo>
                  <a:lnTo>
                    <a:pt x="271431" y="27957"/>
                  </a:lnTo>
                  <a:lnTo>
                    <a:pt x="264050" y="27957"/>
                  </a:lnTo>
                  <a:lnTo>
                    <a:pt x="260363" y="24262"/>
                  </a:lnTo>
                  <a:lnTo>
                    <a:pt x="245609" y="24262"/>
                  </a:lnTo>
                  <a:lnTo>
                    <a:pt x="238227" y="20575"/>
                  </a:lnTo>
                  <a:lnTo>
                    <a:pt x="227162" y="42721"/>
                  </a:lnTo>
                  <a:lnTo>
                    <a:pt x="227162" y="46407"/>
                  </a:lnTo>
                  <a:lnTo>
                    <a:pt x="227162" y="50103"/>
                  </a:lnTo>
                  <a:lnTo>
                    <a:pt x="223473" y="57485"/>
                  </a:lnTo>
                  <a:lnTo>
                    <a:pt x="219784" y="68553"/>
                  </a:lnTo>
                  <a:lnTo>
                    <a:pt x="216095" y="75935"/>
                  </a:lnTo>
                  <a:lnTo>
                    <a:pt x="216095" y="83316"/>
                  </a:lnTo>
                  <a:lnTo>
                    <a:pt x="212406" y="87003"/>
                  </a:lnTo>
                  <a:lnTo>
                    <a:pt x="212406" y="90698"/>
                  </a:lnTo>
                  <a:lnTo>
                    <a:pt x="205027" y="105462"/>
                  </a:lnTo>
                  <a:lnTo>
                    <a:pt x="197649" y="105462"/>
                  </a:lnTo>
                  <a:lnTo>
                    <a:pt x="193960" y="105462"/>
                  </a:lnTo>
                  <a:lnTo>
                    <a:pt x="190271" y="105462"/>
                  </a:lnTo>
                  <a:lnTo>
                    <a:pt x="168136" y="101766"/>
                  </a:lnTo>
                  <a:lnTo>
                    <a:pt x="164447" y="101766"/>
                  </a:lnTo>
                  <a:lnTo>
                    <a:pt x="146001" y="109148"/>
                  </a:lnTo>
                  <a:lnTo>
                    <a:pt x="131243" y="112844"/>
                  </a:lnTo>
                  <a:lnTo>
                    <a:pt x="131243" y="98080"/>
                  </a:lnTo>
                  <a:lnTo>
                    <a:pt x="127554" y="98080"/>
                  </a:lnTo>
                  <a:lnTo>
                    <a:pt x="127554" y="90698"/>
                  </a:lnTo>
                  <a:lnTo>
                    <a:pt x="127554" y="87003"/>
                  </a:lnTo>
                  <a:lnTo>
                    <a:pt x="123865" y="87003"/>
                  </a:lnTo>
                  <a:lnTo>
                    <a:pt x="120176" y="83316"/>
                  </a:lnTo>
                  <a:lnTo>
                    <a:pt x="127554" y="83316"/>
                  </a:lnTo>
                  <a:lnTo>
                    <a:pt x="127554" y="79621"/>
                  </a:lnTo>
                  <a:lnTo>
                    <a:pt x="127554" y="75935"/>
                  </a:lnTo>
                  <a:lnTo>
                    <a:pt x="127554" y="68553"/>
                  </a:lnTo>
                  <a:lnTo>
                    <a:pt x="127554" y="61171"/>
                  </a:lnTo>
                  <a:lnTo>
                    <a:pt x="131243" y="61171"/>
                  </a:lnTo>
                  <a:lnTo>
                    <a:pt x="138621" y="57485"/>
                  </a:lnTo>
                  <a:lnTo>
                    <a:pt x="131243" y="53789"/>
                  </a:lnTo>
                  <a:lnTo>
                    <a:pt x="131243" y="46407"/>
                  </a:lnTo>
                  <a:lnTo>
                    <a:pt x="131243" y="42721"/>
                  </a:lnTo>
                  <a:lnTo>
                    <a:pt x="127554" y="42721"/>
                  </a:lnTo>
                  <a:lnTo>
                    <a:pt x="127554" y="46407"/>
                  </a:lnTo>
                  <a:lnTo>
                    <a:pt x="123865" y="42721"/>
                  </a:lnTo>
                  <a:lnTo>
                    <a:pt x="120176" y="31643"/>
                  </a:lnTo>
                  <a:lnTo>
                    <a:pt x="120176" y="27957"/>
                  </a:lnTo>
                  <a:lnTo>
                    <a:pt x="123865" y="27957"/>
                  </a:lnTo>
                  <a:lnTo>
                    <a:pt x="127554" y="27957"/>
                  </a:lnTo>
                  <a:lnTo>
                    <a:pt x="127554" y="24262"/>
                  </a:lnTo>
                  <a:lnTo>
                    <a:pt x="131243" y="24262"/>
                  </a:lnTo>
                  <a:lnTo>
                    <a:pt x="134932" y="24262"/>
                  </a:lnTo>
                  <a:lnTo>
                    <a:pt x="134932" y="20575"/>
                  </a:lnTo>
                  <a:lnTo>
                    <a:pt x="138621" y="20575"/>
                  </a:lnTo>
                  <a:lnTo>
                    <a:pt x="142312" y="20575"/>
                  </a:lnTo>
                  <a:lnTo>
                    <a:pt x="138621" y="16889"/>
                  </a:lnTo>
                  <a:lnTo>
                    <a:pt x="134932" y="16889"/>
                  </a:lnTo>
                  <a:lnTo>
                    <a:pt x="131243" y="20575"/>
                  </a:lnTo>
                  <a:lnTo>
                    <a:pt x="127554" y="20575"/>
                  </a:lnTo>
                  <a:lnTo>
                    <a:pt x="123865" y="16889"/>
                  </a:lnTo>
                  <a:lnTo>
                    <a:pt x="120176" y="20575"/>
                  </a:lnTo>
                  <a:lnTo>
                    <a:pt x="120176" y="5812"/>
                  </a:lnTo>
                  <a:lnTo>
                    <a:pt x="116486" y="5812"/>
                  </a:lnTo>
                  <a:lnTo>
                    <a:pt x="112797" y="5812"/>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28" name="Freeform: Shape 27">
              <a:extLst>
                <a:ext uri="{FF2B5EF4-FFF2-40B4-BE49-F238E27FC236}">
                  <a16:creationId xmlns:a16="http://schemas.microsoft.com/office/drawing/2014/main" id="{CD34767B-7CB9-4FE0-B991-6EF663FA7309}"/>
                </a:ext>
              </a:extLst>
            </p:cNvPr>
            <p:cNvSpPr/>
            <p:nvPr/>
          </p:nvSpPr>
          <p:spPr>
            <a:xfrm>
              <a:off x="5038938" y="2219414"/>
              <a:ext cx="85123" cy="63843"/>
            </a:xfrm>
            <a:custGeom>
              <a:avLst/>
              <a:gdLst>
                <a:gd name="connsiteX0" fmla="*/ 27947 w 38100"/>
                <a:gd name="connsiteY0" fmla="*/ 13192 h 28575"/>
                <a:gd name="connsiteX1" fmla="*/ 20569 w 38100"/>
                <a:gd name="connsiteY1" fmla="*/ 16883 h 28575"/>
                <a:gd name="connsiteX2" fmla="*/ 20569 w 38100"/>
                <a:gd name="connsiteY2" fmla="*/ 16883 h 28575"/>
                <a:gd name="connsiteX3" fmla="*/ 20569 w 38100"/>
                <a:gd name="connsiteY3" fmla="*/ 16883 h 28575"/>
                <a:gd name="connsiteX4" fmla="*/ 20569 w 38100"/>
                <a:gd name="connsiteY4" fmla="*/ 16883 h 28575"/>
                <a:gd name="connsiteX5" fmla="*/ 16879 w 38100"/>
                <a:gd name="connsiteY5" fmla="*/ 20573 h 28575"/>
                <a:gd name="connsiteX6" fmla="*/ 13190 w 38100"/>
                <a:gd name="connsiteY6" fmla="*/ 20573 h 28575"/>
                <a:gd name="connsiteX7" fmla="*/ 13190 w 38100"/>
                <a:gd name="connsiteY7" fmla="*/ 24264 h 28575"/>
                <a:gd name="connsiteX8" fmla="*/ 13190 w 38100"/>
                <a:gd name="connsiteY8" fmla="*/ 24264 h 28575"/>
                <a:gd name="connsiteX9" fmla="*/ 9501 w 38100"/>
                <a:gd name="connsiteY9" fmla="*/ 24264 h 28575"/>
                <a:gd name="connsiteX10" fmla="*/ 9501 w 38100"/>
                <a:gd name="connsiteY10" fmla="*/ 24264 h 28575"/>
                <a:gd name="connsiteX11" fmla="*/ 5812 w 38100"/>
                <a:gd name="connsiteY11" fmla="*/ 20573 h 28575"/>
                <a:gd name="connsiteX12" fmla="*/ 5812 w 38100"/>
                <a:gd name="connsiteY12" fmla="*/ 20573 h 28575"/>
                <a:gd name="connsiteX13" fmla="*/ 5812 w 38100"/>
                <a:gd name="connsiteY13" fmla="*/ 16883 h 28575"/>
                <a:gd name="connsiteX14" fmla="*/ 5812 w 38100"/>
                <a:gd name="connsiteY14" fmla="*/ 13192 h 28575"/>
                <a:gd name="connsiteX15" fmla="*/ 5812 w 38100"/>
                <a:gd name="connsiteY15" fmla="*/ 9503 h 28575"/>
                <a:gd name="connsiteX16" fmla="*/ 9501 w 38100"/>
                <a:gd name="connsiteY16" fmla="*/ 9503 h 28575"/>
                <a:gd name="connsiteX17" fmla="*/ 9501 w 38100"/>
                <a:gd name="connsiteY17" fmla="*/ 9503 h 28575"/>
                <a:gd name="connsiteX18" fmla="*/ 9501 w 38100"/>
                <a:gd name="connsiteY18" fmla="*/ 9503 h 28575"/>
                <a:gd name="connsiteX19" fmla="*/ 9501 w 38100"/>
                <a:gd name="connsiteY19" fmla="*/ 9503 h 28575"/>
                <a:gd name="connsiteX20" fmla="*/ 13190 w 38100"/>
                <a:gd name="connsiteY20" fmla="*/ 9503 h 28575"/>
                <a:gd name="connsiteX21" fmla="*/ 16879 w 38100"/>
                <a:gd name="connsiteY21" fmla="*/ 9503 h 28575"/>
                <a:gd name="connsiteX22" fmla="*/ 27947 w 38100"/>
                <a:gd name="connsiteY22" fmla="*/ 5812 h 28575"/>
                <a:gd name="connsiteX23" fmla="*/ 27947 w 38100"/>
                <a:gd name="connsiteY23" fmla="*/ 5812 h 28575"/>
                <a:gd name="connsiteX24" fmla="*/ 35325 w 38100"/>
                <a:gd name="connsiteY24" fmla="*/ 5812 h 28575"/>
                <a:gd name="connsiteX25" fmla="*/ 35325 w 38100"/>
                <a:gd name="connsiteY25" fmla="*/ 9503 h 28575"/>
                <a:gd name="connsiteX26" fmla="*/ 35325 w 38100"/>
                <a:gd name="connsiteY26" fmla="*/ 9503 h 28575"/>
                <a:gd name="connsiteX27" fmla="*/ 27947 w 38100"/>
                <a:gd name="connsiteY27" fmla="*/ 13192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8100" h="28575">
                  <a:moveTo>
                    <a:pt x="27947" y="13192"/>
                  </a:moveTo>
                  <a:lnTo>
                    <a:pt x="20569" y="16883"/>
                  </a:lnTo>
                  <a:lnTo>
                    <a:pt x="20569" y="16883"/>
                  </a:lnTo>
                  <a:lnTo>
                    <a:pt x="20569" y="16883"/>
                  </a:lnTo>
                  <a:lnTo>
                    <a:pt x="20569" y="16883"/>
                  </a:lnTo>
                  <a:lnTo>
                    <a:pt x="16879" y="20573"/>
                  </a:lnTo>
                  <a:lnTo>
                    <a:pt x="13190" y="20573"/>
                  </a:lnTo>
                  <a:lnTo>
                    <a:pt x="13190" y="24264"/>
                  </a:lnTo>
                  <a:lnTo>
                    <a:pt x="13190" y="24264"/>
                  </a:lnTo>
                  <a:lnTo>
                    <a:pt x="9501" y="24264"/>
                  </a:lnTo>
                  <a:lnTo>
                    <a:pt x="9501" y="24264"/>
                  </a:lnTo>
                  <a:lnTo>
                    <a:pt x="5812" y="20573"/>
                  </a:lnTo>
                  <a:lnTo>
                    <a:pt x="5812" y="20573"/>
                  </a:lnTo>
                  <a:lnTo>
                    <a:pt x="5812" y="16883"/>
                  </a:lnTo>
                  <a:lnTo>
                    <a:pt x="5812" y="13192"/>
                  </a:lnTo>
                  <a:lnTo>
                    <a:pt x="5812" y="9503"/>
                  </a:lnTo>
                  <a:lnTo>
                    <a:pt x="9501" y="9503"/>
                  </a:lnTo>
                  <a:lnTo>
                    <a:pt x="9501" y="9503"/>
                  </a:lnTo>
                  <a:lnTo>
                    <a:pt x="9501" y="9503"/>
                  </a:lnTo>
                  <a:lnTo>
                    <a:pt x="9501" y="9503"/>
                  </a:lnTo>
                  <a:lnTo>
                    <a:pt x="13190" y="9503"/>
                  </a:lnTo>
                  <a:lnTo>
                    <a:pt x="16879" y="9503"/>
                  </a:lnTo>
                  <a:lnTo>
                    <a:pt x="27947" y="5812"/>
                  </a:lnTo>
                  <a:lnTo>
                    <a:pt x="27947" y="5812"/>
                  </a:lnTo>
                  <a:lnTo>
                    <a:pt x="35325" y="5812"/>
                  </a:lnTo>
                  <a:lnTo>
                    <a:pt x="35325" y="9503"/>
                  </a:lnTo>
                  <a:lnTo>
                    <a:pt x="35325" y="9503"/>
                  </a:lnTo>
                  <a:lnTo>
                    <a:pt x="27947" y="13192"/>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29" name="Freeform: Shape 28">
              <a:extLst>
                <a:ext uri="{FF2B5EF4-FFF2-40B4-BE49-F238E27FC236}">
                  <a16:creationId xmlns:a16="http://schemas.microsoft.com/office/drawing/2014/main" id="{F7C13F5B-ABB6-4D73-B44F-106B7F59F865}"/>
                </a:ext>
              </a:extLst>
            </p:cNvPr>
            <p:cNvSpPr/>
            <p:nvPr/>
          </p:nvSpPr>
          <p:spPr>
            <a:xfrm>
              <a:off x="4857605" y="2252396"/>
              <a:ext cx="915074" cy="1425814"/>
            </a:xfrm>
            <a:custGeom>
              <a:avLst/>
              <a:gdLst>
                <a:gd name="connsiteX0" fmla="*/ 127555 w 409575"/>
                <a:gd name="connsiteY0" fmla="*/ 5812 h 638175"/>
                <a:gd name="connsiteX1" fmla="*/ 120176 w 409575"/>
                <a:gd name="connsiteY1" fmla="*/ 16883 h 638175"/>
                <a:gd name="connsiteX2" fmla="*/ 120176 w 409575"/>
                <a:gd name="connsiteY2" fmla="*/ 20574 h 638175"/>
                <a:gd name="connsiteX3" fmla="*/ 120176 w 409575"/>
                <a:gd name="connsiteY3" fmla="*/ 24264 h 638175"/>
                <a:gd name="connsiteX4" fmla="*/ 120176 w 409575"/>
                <a:gd name="connsiteY4" fmla="*/ 31646 h 638175"/>
                <a:gd name="connsiteX5" fmla="*/ 116487 w 409575"/>
                <a:gd name="connsiteY5" fmla="*/ 42718 h 638175"/>
                <a:gd name="connsiteX6" fmla="*/ 116487 w 409575"/>
                <a:gd name="connsiteY6" fmla="*/ 53789 h 638175"/>
                <a:gd name="connsiteX7" fmla="*/ 116487 w 409575"/>
                <a:gd name="connsiteY7" fmla="*/ 68552 h 638175"/>
                <a:gd name="connsiteX8" fmla="*/ 109109 w 409575"/>
                <a:gd name="connsiteY8" fmla="*/ 90695 h 638175"/>
                <a:gd name="connsiteX9" fmla="*/ 105420 w 409575"/>
                <a:gd name="connsiteY9" fmla="*/ 112838 h 638175"/>
                <a:gd name="connsiteX10" fmla="*/ 98041 w 409575"/>
                <a:gd name="connsiteY10" fmla="*/ 134982 h 638175"/>
                <a:gd name="connsiteX11" fmla="*/ 98041 w 409575"/>
                <a:gd name="connsiteY11" fmla="*/ 142363 h 638175"/>
                <a:gd name="connsiteX12" fmla="*/ 94352 w 409575"/>
                <a:gd name="connsiteY12" fmla="*/ 142363 h 638175"/>
                <a:gd name="connsiteX13" fmla="*/ 94352 w 409575"/>
                <a:gd name="connsiteY13" fmla="*/ 149744 h 638175"/>
                <a:gd name="connsiteX14" fmla="*/ 86974 w 409575"/>
                <a:gd name="connsiteY14" fmla="*/ 164507 h 638175"/>
                <a:gd name="connsiteX15" fmla="*/ 86974 w 409575"/>
                <a:gd name="connsiteY15" fmla="*/ 171888 h 638175"/>
                <a:gd name="connsiteX16" fmla="*/ 79596 w 409575"/>
                <a:gd name="connsiteY16" fmla="*/ 194031 h 638175"/>
                <a:gd name="connsiteX17" fmla="*/ 79596 w 409575"/>
                <a:gd name="connsiteY17" fmla="*/ 197721 h 638175"/>
                <a:gd name="connsiteX18" fmla="*/ 79596 w 409575"/>
                <a:gd name="connsiteY18" fmla="*/ 201412 h 638175"/>
                <a:gd name="connsiteX19" fmla="*/ 79596 w 409575"/>
                <a:gd name="connsiteY19" fmla="*/ 205102 h 638175"/>
                <a:gd name="connsiteX20" fmla="*/ 79596 w 409575"/>
                <a:gd name="connsiteY20" fmla="*/ 208793 h 638175"/>
                <a:gd name="connsiteX21" fmla="*/ 79596 w 409575"/>
                <a:gd name="connsiteY21" fmla="*/ 219865 h 638175"/>
                <a:gd name="connsiteX22" fmla="*/ 75906 w 409575"/>
                <a:gd name="connsiteY22" fmla="*/ 234627 h 638175"/>
                <a:gd name="connsiteX23" fmla="*/ 75906 w 409575"/>
                <a:gd name="connsiteY23" fmla="*/ 242009 h 638175"/>
                <a:gd name="connsiteX24" fmla="*/ 75906 w 409575"/>
                <a:gd name="connsiteY24" fmla="*/ 249390 h 638175"/>
                <a:gd name="connsiteX25" fmla="*/ 72217 w 409575"/>
                <a:gd name="connsiteY25" fmla="*/ 264151 h 638175"/>
                <a:gd name="connsiteX26" fmla="*/ 72217 w 409575"/>
                <a:gd name="connsiteY26" fmla="*/ 271532 h 638175"/>
                <a:gd name="connsiteX27" fmla="*/ 72217 w 409575"/>
                <a:gd name="connsiteY27" fmla="*/ 275223 h 638175"/>
                <a:gd name="connsiteX28" fmla="*/ 72217 w 409575"/>
                <a:gd name="connsiteY28" fmla="*/ 282604 h 638175"/>
                <a:gd name="connsiteX29" fmla="*/ 68528 w 409575"/>
                <a:gd name="connsiteY29" fmla="*/ 286295 h 638175"/>
                <a:gd name="connsiteX30" fmla="*/ 68528 w 409575"/>
                <a:gd name="connsiteY30" fmla="*/ 289986 h 638175"/>
                <a:gd name="connsiteX31" fmla="*/ 64839 w 409575"/>
                <a:gd name="connsiteY31" fmla="*/ 315820 h 638175"/>
                <a:gd name="connsiteX32" fmla="*/ 61150 w 409575"/>
                <a:gd name="connsiteY32" fmla="*/ 349034 h 638175"/>
                <a:gd name="connsiteX33" fmla="*/ 57461 w 409575"/>
                <a:gd name="connsiteY33" fmla="*/ 367487 h 638175"/>
                <a:gd name="connsiteX34" fmla="*/ 53772 w 409575"/>
                <a:gd name="connsiteY34" fmla="*/ 374869 h 638175"/>
                <a:gd name="connsiteX35" fmla="*/ 50082 w 409575"/>
                <a:gd name="connsiteY35" fmla="*/ 382250 h 638175"/>
                <a:gd name="connsiteX36" fmla="*/ 46393 w 409575"/>
                <a:gd name="connsiteY36" fmla="*/ 389631 h 638175"/>
                <a:gd name="connsiteX37" fmla="*/ 42704 w 409575"/>
                <a:gd name="connsiteY37" fmla="*/ 400703 h 638175"/>
                <a:gd name="connsiteX38" fmla="*/ 50082 w 409575"/>
                <a:gd name="connsiteY38" fmla="*/ 397012 h 638175"/>
                <a:gd name="connsiteX39" fmla="*/ 53772 w 409575"/>
                <a:gd name="connsiteY39" fmla="*/ 397012 h 638175"/>
                <a:gd name="connsiteX40" fmla="*/ 61150 w 409575"/>
                <a:gd name="connsiteY40" fmla="*/ 393322 h 638175"/>
                <a:gd name="connsiteX41" fmla="*/ 64839 w 409575"/>
                <a:gd name="connsiteY41" fmla="*/ 397012 h 638175"/>
                <a:gd name="connsiteX42" fmla="*/ 61150 w 409575"/>
                <a:gd name="connsiteY42" fmla="*/ 397012 h 638175"/>
                <a:gd name="connsiteX43" fmla="*/ 61150 w 409575"/>
                <a:gd name="connsiteY43" fmla="*/ 400703 h 638175"/>
                <a:gd name="connsiteX44" fmla="*/ 53772 w 409575"/>
                <a:gd name="connsiteY44" fmla="*/ 400703 h 638175"/>
                <a:gd name="connsiteX45" fmla="*/ 50082 w 409575"/>
                <a:gd name="connsiteY45" fmla="*/ 404394 h 638175"/>
                <a:gd name="connsiteX46" fmla="*/ 57461 w 409575"/>
                <a:gd name="connsiteY46" fmla="*/ 404394 h 638175"/>
                <a:gd name="connsiteX47" fmla="*/ 57461 w 409575"/>
                <a:gd name="connsiteY47" fmla="*/ 408084 h 638175"/>
                <a:gd name="connsiteX48" fmla="*/ 50082 w 409575"/>
                <a:gd name="connsiteY48" fmla="*/ 404394 h 638175"/>
                <a:gd name="connsiteX49" fmla="*/ 46393 w 409575"/>
                <a:gd name="connsiteY49" fmla="*/ 404394 h 638175"/>
                <a:gd name="connsiteX50" fmla="*/ 46393 w 409575"/>
                <a:gd name="connsiteY50" fmla="*/ 408084 h 638175"/>
                <a:gd name="connsiteX51" fmla="*/ 39015 w 409575"/>
                <a:gd name="connsiteY51" fmla="*/ 404394 h 638175"/>
                <a:gd name="connsiteX52" fmla="*/ 39015 w 409575"/>
                <a:gd name="connsiteY52" fmla="*/ 411775 h 638175"/>
                <a:gd name="connsiteX53" fmla="*/ 42704 w 409575"/>
                <a:gd name="connsiteY53" fmla="*/ 419156 h 638175"/>
                <a:gd name="connsiteX54" fmla="*/ 39015 w 409575"/>
                <a:gd name="connsiteY54" fmla="*/ 422847 h 638175"/>
                <a:gd name="connsiteX55" fmla="*/ 39015 w 409575"/>
                <a:gd name="connsiteY55" fmla="*/ 430227 h 638175"/>
                <a:gd name="connsiteX56" fmla="*/ 35326 w 409575"/>
                <a:gd name="connsiteY56" fmla="*/ 437608 h 638175"/>
                <a:gd name="connsiteX57" fmla="*/ 31637 w 409575"/>
                <a:gd name="connsiteY57" fmla="*/ 452370 h 638175"/>
                <a:gd name="connsiteX58" fmla="*/ 27947 w 409575"/>
                <a:gd name="connsiteY58" fmla="*/ 463442 h 638175"/>
                <a:gd name="connsiteX59" fmla="*/ 20569 w 409575"/>
                <a:gd name="connsiteY59" fmla="*/ 481898 h 638175"/>
                <a:gd name="connsiteX60" fmla="*/ 5812 w 409575"/>
                <a:gd name="connsiteY60" fmla="*/ 511416 h 638175"/>
                <a:gd name="connsiteX61" fmla="*/ 31637 w 409575"/>
                <a:gd name="connsiteY61" fmla="*/ 522493 h 638175"/>
                <a:gd name="connsiteX62" fmla="*/ 42704 w 409575"/>
                <a:gd name="connsiteY62" fmla="*/ 526179 h 638175"/>
                <a:gd name="connsiteX63" fmla="*/ 42704 w 409575"/>
                <a:gd name="connsiteY63" fmla="*/ 518798 h 638175"/>
                <a:gd name="connsiteX64" fmla="*/ 46393 w 409575"/>
                <a:gd name="connsiteY64" fmla="*/ 522493 h 638175"/>
                <a:gd name="connsiteX65" fmla="*/ 50082 w 409575"/>
                <a:gd name="connsiteY65" fmla="*/ 518798 h 638175"/>
                <a:gd name="connsiteX66" fmla="*/ 53772 w 409575"/>
                <a:gd name="connsiteY66" fmla="*/ 518798 h 638175"/>
                <a:gd name="connsiteX67" fmla="*/ 57461 w 409575"/>
                <a:gd name="connsiteY67" fmla="*/ 518798 h 638175"/>
                <a:gd name="connsiteX68" fmla="*/ 64839 w 409575"/>
                <a:gd name="connsiteY68" fmla="*/ 522493 h 638175"/>
                <a:gd name="connsiteX69" fmla="*/ 61150 w 409575"/>
                <a:gd name="connsiteY69" fmla="*/ 529875 h 638175"/>
                <a:gd name="connsiteX70" fmla="*/ 57461 w 409575"/>
                <a:gd name="connsiteY70" fmla="*/ 533561 h 638175"/>
                <a:gd name="connsiteX71" fmla="*/ 57461 w 409575"/>
                <a:gd name="connsiteY71" fmla="*/ 540943 h 638175"/>
                <a:gd name="connsiteX72" fmla="*/ 53772 w 409575"/>
                <a:gd name="connsiteY72" fmla="*/ 540943 h 638175"/>
                <a:gd name="connsiteX73" fmla="*/ 53772 w 409575"/>
                <a:gd name="connsiteY73" fmla="*/ 544639 h 638175"/>
                <a:gd name="connsiteX74" fmla="*/ 53772 w 409575"/>
                <a:gd name="connsiteY74" fmla="*/ 548325 h 638175"/>
                <a:gd name="connsiteX75" fmla="*/ 50082 w 409575"/>
                <a:gd name="connsiteY75" fmla="*/ 552011 h 638175"/>
                <a:gd name="connsiteX76" fmla="*/ 46393 w 409575"/>
                <a:gd name="connsiteY76" fmla="*/ 555707 h 638175"/>
                <a:gd name="connsiteX77" fmla="*/ 42704 w 409575"/>
                <a:gd name="connsiteY77" fmla="*/ 559393 h 638175"/>
                <a:gd name="connsiteX78" fmla="*/ 42704 w 409575"/>
                <a:gd name="connsiteY78" fmla="*/ 563089 h 638175"/>
                <a:gd name="connsiteX79" fmla="*/ 42704 w 409575"/>
                <a:gd name="connsiteY79" fmla="*/ 566775 h 638175"/>
                <a:gd name="connsiteX80" fmla="*/ 42704 w 409575"/>
                <a:gd name="connsiteY80" fmla="*/ 570471 h 638175"/>
                <a:gd name="connsiteX81" fmla="*/ 42704 w 409575"/>
                <a:gd name="connsiteY81" fmla="*/ 577853 h 638175"/>
                <a:gd name="connsiteX82" fmla="*/ 39015 w 409575"/>
                <a:gd name="connsiteY82" fmla="*/ 581539 h 638175"/>
                <a:gd name="connsiteX83" fmla="*/ 39015 w 409575"/>
                <a:gd name="connsiteY83" fmla="*/ 585234 h 638175"/>
                <a:gd name="connsiteX84" fmla="*/ 35326 w 409575"/>
                <a:gd name="connsiteY84" fmla="*/ 585234 h 638175"/>
                <a:gd name="connsiteX85" fmla="*/ 35326 w 409575"/>
                <a:gd name="connsiteY85" fmla="*/ 588921 h 638175"/>
                <a:gd name="connsiteX86" fmla="*/ 35326 w 409575"/>
                <a:gd name="connsiteY86" fmla="*/ 592616 h 638175"/>
                <a:gd name="connsiteX87" fmla="*/ 35326 w 409575"/>
                <a:gd name="connsiteY87" fmla="*/ 596303 h 638175"/>
                <a:gd name="connsiteX88" fmla="*/ 39015 w 409575"/>
                <a:gd name="connsiteY88" fmla="*/ 596303 h 638175"/>
                <a:gd name="connsiteX89" fmla="*/ 42704 w 409575"/>
                <a:gd name="connsiteY89" fmla="*/ 599989 h 638175"/>
                <a:gd name="connsiteX90" fmla="*/ 46393 w 409575"/>
                <a:gd name="connsiteY90" fmla="*/ 599989 h 638175"/>
                <a:gd name="connsiteX91" fmla="*/ 50082 w 409575"/>
                <a:gd name="connsiteY91" fmla="*/ 596303 h 638175"/>
                <a:gd name="connsiteX92" fmla="*/ 57461 w 409575"/>
                <a:gd name="connsiteY92" fmla="*/ 599989 h 638175"/>
                <a:gd name="connsiteX93" fmla="*/ 68528 w 409575"/>
                <a:gd name="connsiteY93" fmla="*/ 599989 h 638175"/>
                <a:gd name="connsiteX94" fmla="*/ 72217 w 409575"/>
                <a:gd name="connsiteY94" fmla="*/ 599989 h 638175"/>
                <a:gd name="connsiteX95" fmla="*/ 75906 w 409575"/>
                <a:gd name="connsiteY95" fmla="*/ 599989 h 638175"/>
                <a:gd name="connsiteX96" fmla="*/ 79596 w 409575"/>
                <a:gd name="connsiteY96" fmla="*/ 596303 h 638175"/>
                <a:gd name="connsiteX97" fmla="*/ 86974 w 409575"/>
                <a:gd name="connsiteY97" fmla="*/ 592616 h 638175"/>
                <a:gd name="connsiteX98" fmla="*/ 90663 w 409575"/>
                <a:gd name="connsiteY98" fmla="*/ 592616 h 638175"/>
                <a:gd name="connsiteX99" fmla="*/ 90663 w 409575"/>
                <a:gd name="connsiteY99" fmla="*/ 588921 h 638175"/>
                <a:gd name="connsiteX100" fmla="*/ 94352 w 409575"/>
                <a:gd name="connsiteY100" fmla="*/ 592616 h 638175"/>
                <a:gd name="connsiteX101" fmla="*/ 98041 w 409575"/>
                <a:gd name="connsiteY101" fmla="*/ 592616 h 638175"/>
                <a:gd name="connsiteX102" fmla="*/ 101731 w 409575"/>
                <a:gd name="connsiteY102" fmla="*/ 592616 h 638175"/>
                <a:gd name="connsiteX103" fmla="*/ 105420 w 409575"/>
                <a:gd name="connsiteY103" fmla="*/ 588921 h 638175"/>
                <a:gd name="connsiteX104" fmla="*/ 109109 w 409575"/>
                <a:gd name="connsiteY104" fmla="*/ 585234 h 638175"/>
                <a:gd name="connsiteX105" fmla="*/ 120176 w 409575"/>
                <a:gd name="connsiteY105" fmla="*/ 588921 h 638175"/>
                <a:gd name="connsiteX106" fmla="*/ 116487 w 409575"/>
                <a:gd name="connsiteY106" fmla="*/ 599989 h 638175"/>
                <a:gd name="connsiteX107" fmla="*/ 120176 w 409575"/>
                <a:gd name="connsiteY107" fmla="*/ 603684 h 638175"/>
                <a:gd name="connsiteX108" fmla="*/ 123866 w 409575"/>
                <a:gd name="connsiteY108" fmla="*/ 607371 h 638175"/>
                <a:gd name="connsiteX109" fmla="*/ 127555 w 409575"/>
                <a:gd name="connsiteY109" fmla="*/ 599989 h 638175"/>
                <a:gd name="connsiteX110" fmla="*/ 131244 w 409575"/>
                <a:gd name="connsiteY110" fmla="*/ 599989 h 638175"/>
                <a:gd name="connsiteX111" fmla="*/ 138622 w 409575"/>
                <a:gd name="connsiteY111" fmla="*/ 599989 h 638175"/>
                <a:gd name="connsiteX112" fmla="*/ 142312 w 409575"/>
                <a:gd name="connsiteY112" fmla="*/ 596303 h 638175"/>
                <a:gd name="connsiteX113" fmla="*/ 142312 w 409575"/>
                <a:gd name="connsiteY113" fmla="*/ 592616 h 638175"/>
                <a:gd name="connsiteX114" fmla="*/ 146001 w 409575"/>
                <a:gd name="connsiteY114" fmla="*/ 592616 h 638175"/>
                <a:gd name="connsiteX115" fmla="*/ 149690 w 409575"/>
                <a:gd name="connsiteY115" fmla="*/ 592616 h 638175"/>
                <a:gd name="connsiteX116" fmla="*/ 153380 w 409575"/>
                <a:gd name="connsiteY116" fmla="*/ 592616 h 638175"/>
                <a:gd name="connsiteX117" fmla="*/ 157069 w 409575"/>
                <a:gd name="connsiteY117" fmla="*/ 592616 h 638175"/>
                <a:gd name="connsiteX118" fmla="*/ 160758 w 409575"/>
                <a:gd name="connsiteY118" fmla="*/ 592616 h 638175"/>
                <a:gd name="connsiteX119" fmla="*/ 164447 w 409575"/>
                <a:gd name="connsiteY119" fmla="*/ 592616 h 638175"/>
                <a:gd name="connsiteX120" fmla="*/ 168136 w 409575"/>
                <a:gd name="connsiteY120" fmla="*/ 588921 h 638175"/>
                <a:gd name="connsiteX121" fmla="*/ 171826 w 409575"/>
                <a:gd name="connsiteY121" fmla="*/ 588921 h 638175"/>
                <a:gd name="connsiteX122" fmla="*/ 171826 w 409575"/>
                <a:gd name="connsiteY122" fmla="*/ 585234 h 638175"/>
                <a:gd name="connsiteX123" fmla="*/ 175515 w 409575"/>
                <a:gd name="connsiteY123" fmla="*/ 585234 h 638175"/>
                <a:gd name="connsiteX124" fmla="*/ 179204 w 409575"/>
                <a:gd name="connsiteY124" fmla="*/ 581539 h 638175"/>
                <a:gd name="connsiteX125" fmla="*/ 182893 w 409575"/>
                <a:gd name="connsiteY125" fmla="*/ 581539 h 638175"/>
                <a:gd name="connsiteX126" fmla="*/ 182893 w 409575"/>
                <a:gd name="connsiteY126" fmla="*/ 577853 h 638175"/>
                <a:gd name="connsiteX127" fmla="*/ 190272 w 409575"/>
                <a:gd name="connsiteY127" fmla="*/ 574157 h 638175"/>
                <a:gd name="connsiteX128" fmla="*/ 193961 w 409575"/>
                <a:gd name="connsiteY128" fmla="*/ 570471 h 638175"/>
                <a:gd name="connsiteX129" fmla="*/ 197650 w 409575"/>
                <a:gd name="connsiteY129" fmla="*/ 570471 h 638175"/>
                <a:gd name="connsiteX130" fmla="*/ 201339 w 409575"/>
                <a:gd name="connsiteY130" fmla="*/ 570471 h 638175"/>
                <a:gd name="connsiteX131" fmla="*/ 205028 w 409575"/>
                <a:gd name="connsiteY131" fmla="*/ 574157 h 638175"/>
                <a:gd name="connsiteX132" fmla="*/ 205028 w 409575"/>
                <a:gd name="connsiteY132" fmla="*/ 570471 h 638175"/>
                <a:gd name="connsiteX133" fmla="*/ 208717 w 409575"/>
                <a:gd name="connsiteY133" fmla="*/ 570471 h 638175"/>
                <a:gd name="connsiteX134" fmla="*/ 212406 w 409575"/>
                <a:gd name="connsiteY134" fmla="*/ 570471 h 638175"/>
                <a:gd name="connsiteX135" fmla="*/ 212406 w 409575"/>
                <a:gd name="connsiteY135" fmla="*/ 566775 h 638175"/>
                <a:gd name="connsiteX136" fmla="*/ 216096 w 409575"/>
                <a:gd name="connsiteY136" fmla="*/ 563089 h 638175"/>
                <a:gd name="connsiteX137" fmla="*/ 219785 w 409575"/>
                <a:gd name="connsiteY137" fmla="*/ 559393 h 638175"/>
                <a:gd name="connsiteX138" fmla="*/ 216096 w 409575"/>
                <a:gd name="connsiteY138" fmla="*/ 555707 h 638175"/>
                <a:gd name="connsiteX139" fmla="*/ 216096 w 409575"/>
                <a:gd name="connsiteY139" fmla="*/ 552011 h 638175"/>
                <a:gd name="connsiteX140" fmla="*/ 219785 w 409575"/>
                <a:gd name="connsiteY140" fmla="*/ 548325 h 638175"/>
                <a:gd name="connsiteX141" fmla="*/ 227163 w 409575"/>
                <a:gd name="connsiteY141" fmla="*/ 552011 h 638175"/>
                <a:gd name="connsiteX142" fmla="*/ 230852 w 409575"/>
                <a:gd name="connsiteY142" fmla="*/ 552011 h 638175"/>
                <a:gd name="connsiteX143" fmla="*/ 234541 w 409575"/>
                <a:gd name="connsiteY143" fmla="*/ 552011 h 638175"/>
                <a:gd name="connsiteX144" fmla="*/ 238230 w 409575"/>
                <a:gd name="connsiteY144" fmla="*/ 552011 h 638175"/>
                <a:gd name="connsiteX145" fmla="*/ 238230 w 409575"/>
                <a:gd name="connsiteY145" fmla="*/ 548325 h 638175"/>
                <a:gd name="connsiteX146" fmla="*/ 245609 w 409575"/>
                <a:gd name="connsiteY146" fmla="*/ 544639 h 638175"/>
                <a:gd name="connsiteX147" fmla="*/ 245609 w 409575"/>
                <a:gd name="connsiteY147" fmla="*/ 540943 h 638175"/>
                <a:gd name="connsiteX148" fmla="*/ 252987 w 409575"/>
                <a:gd name="connsiteY148" fmla="*/ 544639 h 638175"/>
                <a:gd name="connsiteX149" fmla="*/ 252987 w 409575"/>
                <a:gd name="connsiteY149" fmla="*/ 540943 h 638175"/>
                <a:gd name="connsiteX150" fmla="*/ 252987 w 409575"/>
                <a:gd name="connsiteY150" fmla="*/ 537257 h 638175"/>
                <a:gd name="connsiteX151" fmla="*/ 256676 w 409575"/>
                <a:gd name="connsiteY151" fmla="*/ 537257 h 638175"/>
                <a:gd name="connsiteX152" fmla="*/ 256676 w 409575"/>
                <a:gd name="connsiteY152" fmla="*/ 533561 h 638175"/>
                <a:gd name="connsiteX153" fmla="*/ 260365 w 409575"/>
                <a:gd name="connsiteY153" fmla="*/ 533561 h 638175"/>
                <a:gd name="connsiteX154" fmla="*/ 264055 w 409575"/>
                <a:gd name="connsiteY154" fmla="*/ 533561 h 638175"/>
                <a:gd name="connsiteX155" fmla="*/ 264055 w 409575"/>
                <a:gd name="connsiteY155" fmla="*/ 548325 h 638175"/>
                <a:gd name="connsiteX156" fmla="*/ 267744 w 409575"/>
                <a:gd name="connsiteY156" fmla="*/ 544639 h 638175"/>
                <a:gd name="connsiteX157" fmla="*/ 271433 w 409575"/>
                <a:gd name="connsiteY157" fmla="*/ 548325 h 638175"/>
                <a:gd name="connsiteX158" fmla="*/ 275122 w 409575"/>
                <a:gd name="connsiteY158" fmla="*/ 548325 h 638175"/>
                <a:gd name="connsiteX159" fmla="*/ 278811 w 409575"/>
                <a:gd name="connsiteY159" fmla="*/ 544639 h 638175"/>
                <a:gd name="connsiteX160" fmla="*/ 282500 w 409575"/>
                <a:gd name="connsiteY160" fmla="*/ 544639 h 638175"/>
                <a:gd name="connsiteX161" fmla="*/ 286190 w 409575"/>
                <a:gd name="connsiteY161" fmla="*/ 548325 h 638175"/>
                <a:gd name="connsiteX162" fmla="*/ 282500 w 409575"/>
                <a:gd name="connsiteY162" fmla="*/ 548325 h 638175"/>
                <a:gd name="connsiteX163" fmla="*/ 278811 w 409575"/>
                <a:gd name="connsiteY163" fmla="*/ 548325 h 638175"/>
                <a:gd name="connsiteX164" fmla="*/ 278811 w 409575"/>
                <a:gd name="connsiteY164" fmla="*/ 552011 h 638175"/>
                <a:gd name="connsiteX165" fmla="*/ 275122 w 409575"/>
                <a:gd name="connsiteY165" fmla="*/ 552011 h 638175"/>
                <a:gd name="connsiteX166" fmla="*/ 271433 w 409575"/>
                <a:gd name="connsiteY166" fmla="*/ 552011 h 638175"/>
                <a:gd name="connsiteX167" fmla="*/ 271433 w 409575"/>
                <a:gd name="connsiteY167" fmla="*/ 555707 h 638175"/>
                <a:gd name="connsiteX168" fmla="*/ 267744 w 409575"/>
                <a:gd name="connsiteY168" fmla="*/ 555707 h 638175"/>
                <a:gd name="connsiteX169" fmla="*/ 264055 w 409575"/>
                <a:gd name="connsiteY169" fmla="*/ 555707 h 638175"/>
                <a:gd name="connsiteX170" fmla="*/ 264055 w 409575"/>
                <a:gd name="connsiteY170" fmla="*/ 559393 h 638175"/>
                <a:gd name="connsiteX171" fmla="*/ 267744 w 409575"/>
                <a:gd name="connsiteY171" fmla="*/ 570471 h 638175"/>
                <a:gd name="connsiteX172" fmla="*/ 271433 w 409575"/>
                <a:gd name="connsiteY172" fmla="*/ 574157 h 638175"/>
                <a:gd name="connsiteX173" fmla="*/ 271433 w 409575"/>
                <a:gd name="connsiteY173" fmla="*/ 570471 h 638175"/>
                <a:gd name="connsiteX174" fmla="*/ 275122 w 409575"/>
                <a:gd name="connsiteY174" fmla="*/ 570471 h 638175"/>
                <a:gd name="connsiteX175" fmla="*/ 275122 w 409575"/>
                <a:gd name="connsiteY175" fmla="*/ 574157 h 638175"/>
                <a:gd name="connsiteX176" fmla="*/ 275122 w 409575"/>
                <a:gd name="connsiteY176" fmla="*/ 581539 h 638175"/>
                <a:gd name="connsiteX177" fmla="*/ 282500 w 409575"/>
                <a:gd name="connsiteY177" fmla="*/ 585234 h 638175"/>
                <a:gd name="connsiteX178" fmla="*/ 275122 w 409575"/>
                <a:gd name="connsiteY178" fmla="*/ 588921 h 638175"/>
                <a:gd name="connsiteX179" fmla="*/ 271433 w 409575"/>
                <a:gd name="connsiteY179" fmla="*/ 588921 h 638175"/>
                <a:gd name="connsiteX180" fmla="*/ 271433 w 409575"/>
                <a:gd name="connsiteY180" fmla="*/ 596303 h 638175"/>
                <a:gd name="connsiteX181" fmla="*/ 271433 w 409575"/>
                <a:gd name="connsiteY181" fmla="*/ 603684 h 638175"/>
                <a:gd name="connsiteX182" fmla="*/ 271433 w 409575"/>
                <a:gd name="connsiteY182" fmla="*/ 607371 h 638175"/>
                <a:gd name="connsiteX183" fmla="*/ 271433 w 409575"/>
                <a:gd name="connsiteY183" fmla="*/ 611066 h 638175"/>
                <a:gd name="connsiteX184" fmla="*/ 264055 w 409575"/>
                <a:gd name="connsiteY184" fmla="*/ 611066 h 638175"/>
                <a:gd name="connsiteX185" fmla="*/ 267744 w 409575"/>
                <a:gd name="connsiteY185" fmla="*/ 614752 h 638175"/>
                <a:gd name="connsiteX186" fmla="*/ 271433 w 409575"/>
                <a:gd name="connsiteY186" fmla="*/ 614752 h 638175"/>
                <a:gd name="connsiteX187" fmla="*/ 271433 w 409575"/>
                <a:gd name="connsiteY187" fmla="*/ 618448 h 638175"/>
                <a:gd name="connsiteX188" fmla="*/ 271433 w 409575"/>
                <a:gd name="connsiteY188" fmla="*/ 625830 h 638175"/>
                <a:gd name="connsiteX189" fmla="*/ 275122 w 409575"/>
                <a:gd name="connsiteY189" fmla="*/ 625830 h 638175"/>
                <a:gd name="connsiteX190" fmla="*/ 275122 w 409575"/>
                <a:gd name="connsiteY190" fmla="*/ 640594 h 638175"/>
                <a:gd name="connsiteX191" fmla="*/ 289879 w 409575"/>
                <a:gd name="connsiteY191" fmla="*/ 636898 h 638175"/>
                <a:gd name="connsiteX192" fmla="*/ 308326 w 409575"/>
                <a:gd name="connsiteY192" fmla="*/ 629516 h 638175"/>
                <a:gd name="connsiteX193" fmla="*/ 312015 w 409575"/>
                <a:gd name="connsiteY193" fmla="*/ 629516 h 638175"/>
                <a:gd name="connsiteX194" fmla="*/ 334150 w 409575"/>
                <a:gd name="connsiteY194" fmla="*/ 633212 h 638175"/>
                <a:gd name="connsiteX195" fmla="*/ 337839 w 409575"/>
                <a:gd name="connsiteY195" fmla="*/ 633212 h 638175"/>
                <a:gd name="connsiteX196" fmla="*/ 341528 w 409575"/>
                <a:gd name="connsiteY196" fmla="*/ 633212 h 638175"/>
                <a:gd name="connsiteX197" fmla="*/ 348906 w 409575"/>
                <a:gd name="connsiteY197" fmla="*/ 633212 h 638175"/>
                <a:gd name="connsiteX198" fmla="*/ 359974 w 409575"/>
                <a:gd name="connsiteY198" fmla="*/ 611066 h 638175"/>
                <a:gd name="connsiteX199" fmla="*/ 359974 w 409575"/>
                <a:gd name="connsiteY199" fmla="*/ 603684 h 638175"/>
                <a:gd name="connsiteX200" fmla="*/ 363663 w 409575"/>
                <a:gd name="connsiteY200" fmla="*/ 596303 h 638175"/>
                <a:gd name="connsiteX201" fmla="*/ 367352 w 409575"/>
                <a:gd name="connsiteY201" fmla="*/ 585234 h 638175"/>
                <a:gd name="connsiteX202" fmla="*/ 371041 w 409575"/>
                <a:gd name="connsiteY202" fmla="*/ 577853 h 638175"/>
                <a:gd name="connsiteX203" fmla="*/ 371041 w 409575"/>
                <a:gd name="connsiteY203" fmla="*/ 574157 h 638175"/>
                <a:gd name="connsiteX204" fmla="*/ 371041 w 409575"/>
                <a:gd name="connsiteY204" fmla="*/ 570471 h 638175"/>
                <a:gd name="connsiteX205" fmla="*/ 382106 w 409575"/>
                <a:gd name="connsiteY205" fmla="*/ 548325 h 638175"/>
                <a:gd name="connsiteX206" fmla="*/ 389488 w 409575"/>
                <a:gd name="connsiteY206" fmla="*/ 552011 h 638175"/>
                <a:gd name="connsiteX207" fmla="*/ 404242 w 409575"/>
                <a:gd name="connsiteY207" fmla="*/ 552011 h 638175"/>
                <a:gd name="connsiteX208" fmla="*/ 396870 w 409575"/>
                <a:gd name="connsiteY208" fmla="*/ 544639 h 638175"/>
                <a:gd name="connsiteX209" fmla="*/ 396870 w 409575"/>
                <a:gd name="connsiteY209" fmla="*/ 540943 h 638175"/>
                <a:gd name="connsiteX210" fmla="*/ 400556 w 409575"/>
                <a:gd name="connsiteY210" fmla="*/ 537257 h 638175"/>
                <a:gd name="connsiteX211" fmla="*/ 396870 w 409575"/>
                <a:gd name="connsiteY211" fmla="*/ 537257 h 638175"/>
                <a:gd name="connsiteX212" fmla="*/ 393174 w 409575"/>
                <a:gd name="connsiteY212" fmla="*/ 537257 h 638175"/>
                <a:gd name="connsiteX213" fmla="*/ 389488 w 409575"/>
                <a:gd name="connsiteY213" fmla="*/ 533561 h 638175"/>
                <a:gd name="connsiteX214" fmla="*/ 385802 w 409575"/>
                <a:gd name="connsiteY214" fmla="*/ 533561 h 638175"/>
                <a:gd name="connsiteX215" fmla="*/ 382106 w 409575"/>
                <a:gd name="connsiteY215" fmla="*/ 529875 h 638175"/>
                <a:gd name="connsiteX216" fmla="*/ 378420 w 409575"/>
                <a:gd name="connsiteY216" fmla="*/ 529875 h 638175"/>
                <a:gd name="connsiteX217" fmla="*/ 378420 w 409575"/>
                <a:gd name="connsiteY217" fmla="*/ 526179 h 638175"/>
                <a:gd name="connsiteX218" fmla="*/ 374730 w 409575"/>
                <a:gd name="connsiteY218" fmla="*/ 522493 h 638175"/>
                <a:gd name="connsiteX219" fmla="*/ 371041 w 409575"/>
                <a:gd name="connsiteY219" fmla="*/ 526179 h 638175"/>
                <a:gd name="connsiteX220" fmla="*/ 367352 w 409575"/>
                <a:gd name="connsiteY220" fmla="*/ 526179 h 638175"/>
                <a:gd name="connsiteX221" fmla="*/ 363663 w 409575"/>
                <a:gd name="connsiteY221" fmla="*/ 526179 h 638175"/>
                <a:gd name="connsiteX222" fmla="*/ 348906 w 409575"/>
                <a:gd name="connsiteY222" fmla="*/ 526179 h 638175"/>
                <a:gd name="connsiteX223" fmla="*/ 345217 w 409575"/>
                <a:gd name="connsiteY223" fmla="*/ 529875 h 638175"/>
                <a:gd name="connsiteX224" fmla="*/ 341528 w 409575"/>
                <a:gd name="connsiteY224" fmla="*/ 529875 h 638175"/>
                <a:gd name="connsiteX225" fmla="*/ 337839 w 409575"/>
                <a:gd name="connsiteY225" fmla="*/ 533561 h 638175"/>
                <a:gd name="connsiteX226" fmla="*/ 334150 w 409575"/>
                <a:gd name="connsiteY226" fmla="*/ 533561 h 638175"/>
                <a:gd name="connsiteX227" fmla="*/ 334150 w 409575"/>
                <a:gd name="connsiteY227" fmla="*/ 529875 h 638175"/>
                <a:gd name="connsiteX228" fmla="*/ 330460 w 409575"/>
                <a:gd name="connsiteY228" fmla="*/ 529875 h 638175"/>
                <a:gd name="connsiteX229" fmla="*/ 326771 w 409575"/>
                <a:gd name="connsiteY229" fmla="*/ 526179 h 638175"/>
                <a:gd name="connsiteX230" fmla="*/ 323082 w 409575"/>
                <a:gd name="connsiteY230" fmla="*/ 522493 h 638175"/>
                <a:gd name="connsiteX231" fmla="*/ 319393 w 409575"/>
                <a:gd name="connsiteY231" fmla="*/ 515111 h 638175"/>
                <a:gd name="connsiteX232" fmla="*/ 315704 w 409575"/>
                <a:gd name="connsiteY232" fmla="*/ 515111 h 638175"/>
                <a:gd name="connsiteX233" fmla="*/ 315704 w 409575"/>
                <a:gd name="connsiteY233" fmla="*/ 511416 h 638175"/>
                <a:gd name="connsiteX234" fmla="*/ 308326 w 409575"/>
                <a:gd name="connsiteY234" fmla="*/ 511416 h 638175"/>
                <a:gd name="connsiteX235" fmla="*/ 304636 w 409575"/>
                <a:gd name="connsiteY235" fmla="*/ 511416 h 638175"/>
                <a:gd name="connsiteX236" fmla="*/ 300947 w 409575"/>
                <a:gd name="connsiteY236" fmla="*/ 504043 h 638175"/>
                <a:gd name="connsiteX237" fmla="*/ 289879 w 409575"/>
                <a:gd name="connsiteY237" fmla="*/ 504043 h 638175"/>
                <a:gd name="connsiteX238" fmla="*/ 286190 w 409575"/>
                <a:gd name="connsiteY238" fmla="*/ 504043 h 638175"/>
                <a:gd name="connsiteX239" fmla="*/ 282500 w 409575"/>
                <a:gd name="connsiteY239" fmla="*/ 504043 h 638175"/>
                <a:gd name="connsiteX240" fmla="*/ 275122 w 409575"/>
                <a:gd name="connsiteY240" fmla="*/ 507730 h 638175"/>
                <a:gd name="connsiteX241" fmla="*/ 271433 w 409575"/>
                <a:gd name="connsiteY241" fmla="*/ 504043 h 638175"/>
                <a:gd name="connsiteX242" fmla="*/ 271433 w 409575"/>
                <a:gd name="connsiteY242" fmla="*/ 507730 h 638175"/>
                <a:gd name="connsiteX243" fmla="*/ 267744 w 409575"/>
                <a:gd name="connsiteY243" fmla="*/ 507730 h 638175"/>
                <a:gd name="connsiteX244" fmla="*/ 267744 w 409575"/>
                <a:gd name="connsiteY244" fmla="*/ 504043 h 638175"/>
                <a:gd name="connsiteX245" fmla="*/ 271433 w 409575"/>
                <a:gd name="connsiteY245" fmla="*/ 504043 h 638175"/>
                <a:gd name="connsiteX246" fmla="*/ 271433 w 409575"/>
                <a:gd name="connsiteY246" fmla="*/ 500348 h 638175"/>
                <a:gd name="connsiteX247" fmla="*/ 267744 w 409575"/>
                <a:gd name="connsiteY247" fmla="*/ 496662 h 638175"/>
                <a:gd name="connsiteX248" fmla="*/ 264055 w 409575"/>
                <a:gd name="connsiteY248" fmla="*/ 496662 h 638175"/>
                <a:gd name="connsiteX249" fmla="*/ 260365 w 409575"/>
                <a:gd name="connsiteY249" fmla="*/ 500348 h 638175"/>
                <a:gd name="connsiteX250" fmla="*/ 256676 w 409575"/>
                <a:gd name="connsiteY250" fmla="*/ 500348 h 638175"/>
                <a:gd name="connsiteX251" fmla="*/ 252987 w 409575"/>
                <a:gd name="connsiteY251" fmla="*/ 500348 h 638175"/>
                <a:gd name="connsiteX252" fmla="*/ 252987 w 409575"/>
                <a:gd name="connsiteY252" fmla="*/ 496662 h 638175"/>
                <a:gd name="connsiteX253" fmla="*/ 256676 w 409575"/>
                <a:gd name="connsiteY253" fmla="*/ 496662 h 638175"/>
                <a:gd name="connsiteX254" fmla="*/ 256676 w 409575"/>
                <a:gd name="connsiteY254" fmla="*/ 492966 h 638175"/>
                <a:gd name="connsiteX255" fmla="*/ 256676 w 409575"/>
                <a:gd name="connsiteY255" fmla="*/ 489280 h 638175"/>
                <a:gd name="connsiteX256" fmla="*/ 249298 w 409575"/>
                <a:gd name="connsiteY256" fmla="*/ 485584 h 638175"/>
                <a:gd name="connsiteX257" fmla="*/ 245609 w 409575"/>
                <a:gd name="connsiteY257" fmla="*/ 485584 h 638175"/>
                <a:gd name="connsiteX258" fmla="*/ 245609 w 409575"/>
                <a:gd name="connsiteY258" fmla="*/ 489280 h 638175"/>
                <a:gd name="connsiteX259" fmla="*/ 241920 w 409575"/>
                <a:gd name="connsiteY259" fmla="*/ 489280 h 638175"/>
                <a:gd name="connsiteX260" fmla="*/ 238230 w 409575"/>
                <a:gd name="connsiteY260" fmla="*/ 485584 h 638175"/>
                <a:gd name="connsiteX261" fmla="*/ 234541 w 409575"/>
                <a:gd name="connsiteY261" fmla="*/ 485584 h 638175"/>
                <a:gd name="connsiteX262" fmla="*/ 234541 w 409575"/>
                <a:gd name="connsiteY262" fmla="*/ 481898 h 638175"/>
                <a:gd name="connsiteX263" fmla="*/ 238230 w 409575"/>
                <a:gd name="connsiteY263" fmla="*/ 481898 h 638175"/>
                <a:gd name="connsiteX264" fmla="*/ 241920 w 409575"/>
                <a:gd name="connsiteY264" fmla="*/ 481898 h 638175"/>
                <a:gd name="connsiteX265" fmla="*/ 245609 w 409575"/>
                <a:gd name="connsiteY265" fmla="*/ 478202 h 638175"/>
                <a:gd name="connsiteX266" fmla="*/ 234541 w 409575"/>
                <a:gd name="connsiteY266" fmla="*/ 470823 h 638175"/>
                <a:gd name="connsiteX267" fmla="*/ 234541 w 409575"/>
                <a:gd name="connsiteY267" fmla="*/ 467133 h 638175"/>
                <a:gd name="connsiteX268" fmla="*/ 241920 w 409575"/>
                <a:gd name="connsiteY268" fmla="*/ 470823 h 638175"/>
                <a:gd name="connsiteX269" fmla="*/ 245609 w 409575"/>
                <a:gd name="connsiteY269" fmla="*/ 474514 h 638175"/>
                <a:gd name="connsiteX270" fmla="*/ 249298 w 409575"/>
                <a:gd name="connsiteY270" fmla="*/ 474514 h 638175"/>
                <a:gd name="connsiteX271" fmla="*/ 252987 w 409575"/>
                <a:gd name="connsiteY271" fmla="*/ 470823 h 638175"/>
                <a:gd name="connsiteX272" fmla="*/ 252987 w 409575"/>
                <a:gd name="connsiteY272" fmla="*/ 474514 h 638175"/>
                <a:gd name="connsiteX273" fmla="*/ 256676 w 409575"/>
                <a:gd name="connsiteY273" fmla="*/ 478202 h 638175"/>
                <a:gd name="connsiteX274" fmla="*/ 260365 w 409575"/>
                <a:gd name="connsiteY274" fmla="*/ 474514 h 638175"/>
                <a:gd name="connsiteX275" fmla="*/ 260365 w 409575"/>
                <a:gd name="connsiteY275" fmla="*/ 470823 h 638175"/>
                <a:gd name="connsiteX276" fmla="*/ 260365 w 409575"/>
                <a:gd name="connsiteY276" fmla="*/ 467133 h 638175"/>
                <a:gd name="connsiteX277" fmla="*/ 264055 w 409575"/>
                <a:gd name="connsiteY277" fmla="*/ 467133 h 638175"/>
                <a:gd name="connsiteX278" fmla="*/ 267744 w 409575"/>
                <a:gd name="connsiteY278" fmla="*/ 463442 h 638175"/>
                <a:gd name="connsiteX279" fmla="*/ 267744 w 409575"/>
                <a:gd name="connsiteY279" fmla="*/ 456061 h 638175"/>
                <a:gd name="connsiteX280" fmla="*/ 271433 w 409575"/>
                <a:gd name="connsiteY280" fmla="*/ 452370 h 638175"/>
                <a:gd name="connsiteX281" fmla="*/ 275122 w 409575"/>
                <a:gd name="connsiteY281" fmla="*/ 448680 h 638175"/>
                <a:gd name="connsiteX282" fmla="*/ 278811 w 409575"/>
                <a:gd name="connsiteY282" fmla="*/ 444989 h 638175"/>
                <a:gd name="connsiteX283" fmla="*/ 282500 w 409575"/>
                <a:gd name="connsiteY283" fmla="*/ 444989 h 638175"/>
                <a:gd name="connsiteX284" fmla="*/ 286190 w 409575"/>
                <a:gd name="connsiteY284" fmla="*/ 444989 h 638175"/>
                <a:gd name="connsiteX285" fmla="*/ 286190 w 409575"/>
                <a:gd name="connsiteY285" fmla="*/ 441299 h 638175"/>
                <a:gd name="connsiteX286" fmla="*/ 289879 w 409575"/>
                <a:gd name="connsiteY286" fmla="*/ 437608 h 638175"/>
                <a:gd name="connsiteX287" fmla="*/ 289879 w 409575"/>
                <a:gd name="connsiteY287" fmla="*/ 433917 h 638175"/>
                <a:gd name="connsiteX288" fmla="*/ 297258 w 409575"/>
                <a:gd name="connsiteY288" fmla="*/ 426537 h 638175"/>
                <a:gd name="connsiteX289" fmla="*/ 293568 w 409575"/>
                <a:gd name="connsiteY289" fmla="*/ 426537 h 638175"/>
                <a:gd name="connsiteX290" fmla="*/ 289879 w 409575"/>
                <a:gd name="connsiteY290" fmla="*/ 426537 h 638175"/>
                <a:gd name="connsiteX291" fmla="*/ 286190 w 409575"/>
                <a:gd name="connsiteY291" fmla="*/ 422847 h 638175"/>
                <a:gd name="connsiteX292" fmla="*/ 286190 w 409575"/>
                <a:gd name="connsiteY292" fmla="*/ 426537 h 638175"/>
                <a:gd name="connsiteX293" fmla="*/ 278811 w 409575"/>
                <a:gd name="connsiteY293" fmla="*/ 422847 h 638175"/>
                <a:gd name="connsiteX294" fmla="*/ 278811 w 409575"/>
                <a:gd name="connsiteY294" fmla="*/ 419156 h 638175"/>
                <a:gd name="connsiteX295" fmla="*/ 278811 w 409575"/>
                <a:gd name="connsiteY295" fmla="*/ 415465 h 638175"/>
                <a:gd name="connsiteX296" fmla="*/ 278811 w 409575"/>
                <a:gd name="connsiteY296" fmla="*/ 411775 h 638175"/>
                <a:gd name="connsiteX297" fmla="*/ 282500 w 409575"/>
                <a:gd name="connsiteY297" fmla="*/ 408084 h 638175"/>
                <a:gd name="connsiteX298" fmla="*/ 282500 w 409575"/>
                <a:gd name="connsiteY298" fmla="*/ 404394 h 638175"/>
                <a:gd name="connsiteX299" fmla="*/ 278811 w 409575"/>
                <a:gd name="connsiteY299" fmla="*/ 404394 h 638175"/>
                <a:gd name="connsiteX300" fmla="*/ 275122 w 409575"/>
                <a:gd name="connsiteY300" fmla="*/ 408084 h 638175"/>
                <a:gd name="connsiteX301" fmla="*/ 271433 w 409575"/>
                <a:gd name="connsiteY301" fmla="*/ 404394 h 638175"/>
                <a:gd name="connsiteX302" fmla="*/ 278811 w 409575"/>
                <a:gd name="connsiteY302" fmla="*/ 400703 h 638175"/>
                <a:gd name="connsiteX303" fmla="*/ 286190 w 409575"/>
                <a:gd name="connsiteY303" fmla="*/ 400703 h 638175"/>
                <a:gd name="connsiteX304" fmla="*/ 286190 w 409575"/>
                <a:gd name="connsiteY304" fmla="*/ 397012 h 638175"/>
                <a:gd name="connsiteX305" fmla="*/ 282500 w 409575"/>
                <a:gd name="connsiteY305" fmla="*/ 393322 h 638175"/>
                <a:gd name="connsiteX306" fmla="*/ 282500 w 409575"/>
                <a:gd name="connsiteY306" fmla="*/ 389631 h 638175"/>
                <a:gd name="connsiteX307" fmla="*/ 282500 w 409575"/>
                <a:gd name="connsiteY307" fmla="*/ 385940 h 638175"/>
                <a:gd name="connsiteX308" fmla="*/ 286190 w 409575"/>
                <a:gd name="connsiteY308" fmla="*/ 382250 h 638175"/>
                <a:gd name="connsiteX309" fmla="*/ 289879 w 409575"/>
                <a:gd name="connsiteY309" fmla="*/ 385940 h 638175"/>
                <a:gd name="connsiteX310" fmla="*/ 289879 w 409575"/>
                <a:gd name="connsiteY310" fmla="*/ 382250 h 638175"/>
                <a:gd name="connsiteX311" fmla="*/ 293568 w 409575"/>
                <a:gd name="connsiteY311" fmla="*/ 378559 h 638175"/>
                <a:gd name="connsiteX312" fmla="*/ 297258 w 409575"/>
                <a:gd name="connsiteY312" fmla="*/ 371178 h 638175"/>
                <a:gd name="connsiteX313" fmla="*/ 293568 w 409575"/>
                <a:gd name="connsiteY313" fmla="*/ 371178 h 638175"/>
                <a:gd name="connsiteX314" fmla="*/ 293568 w 409575"/>
                <a:gd name="connsiteY314" fmla="*/ 363797 h 638175"/>
                <a:gd name="connsiteX315" fmla="*/ 289879 w 409575"/>
                <a:gd name="connsiteY315" fmla="*/ 363797 h 638175"/>
                <a:gd name="connsiteX316" fmla="*/ 289879 w 409575"/>
                <a:gd name="connsiteY316" fmla="*/ 360106 h 638175"/>
                <a:gd name="connsiteX317" fmla="*/ 286190 w 409575"/>
                <a:gd name="connsiteY317" fmla="*/ 356416 h 638175"/>
                <a:gd name="connsiteX318" fmla="*/ 286190 w 409575"/>
                <a:gd name="connsiteY318" fmla="*/ 352725 h 638175"/>
                <a:gd name="connsiteX319" fmla="*/ 282500 w 409575"/>
                <a:gd name="connsiteY319" fmla="*/ 345344 h 638175"/>
                <a:gd name="connsiteX320" fmla="*/ 282500 w 409575"/>
                <a:gd name="connsiteY320" fmla="*/ 341654 h 638175"/>
                <a:gd name="connsiteX321" fmla="*/ 275122 w 409575"/>
                <a:gd name="connsiteY321" fmla="*/ 330582 h 638175"/>
                <a:gd name="connsiteX322" fmla="*/ 275122 w 409575"/>
                <a:gd name="connsiteY322" fmla="*/ 326892 h 638175"/>
                <a:gd name="connsiteX323" fmla="*/ 271433 w 409575"/>
                <a:gd name="connsiteY323" fmla="*/ 323201 h 638175"/>
                <a:gd name="connsiteX324" fmla="*/ 271433 w 409575"/>
                <a:gd name="connsiteY324" fmla="*/ 315820 h 638175"/>
                <a:gd name="connsiteX325" fmla="*/ 267744 w 409575"/>
                <a:gd name="connsiteY325" fmla="*/ 308439 h 638175"/>
                <a:gd name="connsiteX326" fmla="*/ 267744 w 409575"/>
                <a:gd name="connsiteY326" fmla="*/ 304748 h 638175"/>
                <a:gd name="connsiteX327" fmla="*/ 264055 w 409575"/>
                <a:gd name="connsiteY327" fmla="*/ 301057 h 638175"/>
                <a:gd name="connsiteX328" fmla="*/ 267744 w 409575"/>
                <a:gd name="connsiteY328" fmla="*/ 297367 h 638175"/>
                <a:gd name="connsiteX329" fmla="*/ 264055 w 409575"/>
                <a:gd name="connsiteY329" fmla="*/ 293676 h 638175"/>
                <a:gd name="connsiteX330" fmla="*/ 264055 w 409575"/>
                <a:gd name="connsiteY330" fmla="*/ 289986 h 638175"/>
                <a:gd name="connsiteX331" fmla="*/ 264055 w 409575"/>
                <a:gd name="connsiteY331" fmla="*/ 286295 h 638175"/>
                <a:gd name="connsiteX332" fmla="*/ 264055 w 409575"/>
                <a:gd name="connsiteY332" fmla="*/ 282604 h 638175"/>
                <a:gd name="connsiteX333" fmla="*/ 264055 w 409575"/>
                <a:gd name="connsiteY333" fmla="*/ 275223 h 638175"/>
                <a:gd name="connsiteX334" fmla="*/ 264055 w 409575"/>
                <a:gd name="connsiteY334" fmla="*/ 271532 h 638175"/>
                <a:gd name="connsiteX335" fmla="*/ 267744 w 409575"/>
                <a:gd name="connsiteY335" fmla="*/ 271532 h 638175"/>
                <a:gd name="connsiteX336" fmla="*/ 267744 w 409575"/>
                <a:gd name="connsiteY336" fmla="*/ 267842 h 638175"/>
                <a:gd name="connsiteX337" fmla="*/ 271433 w 409575"/>
                <a:gd name="connsiteY337" fmla="*/ 267842 h 638175"/>
                <a:gd name="connsiteX338" fmla="*/ 275122 w 409575"/>
                <a:gd name="connsiteY338" fmla="*/ 264151 h 638175"/>
                <a:gd name="connsiteX339" fmla="*/ 278811 w 409575"/>
                <a:gd name="connsiteY339" fmla="*/ 264151 h 638175"/>
                <a:gd name="connsiteX340" fmla="*/ 282500 w 409575"/>
                <a:gd name="connsiteY340" fmla="*/ 264151 h 638175"/>
                <a:gd name="connsiteX341" fmla="*/ 282500 w 409575"/>
                <a:gd name="connsiteY341" fmla="*/ 267842 h 638175"/>
                <a:gd name="connsiteX342" fmla="*/ 286190 w 409575"/>
                <a:gd name="connsiteY342" fmla="*/ 271532 h 638175"/>
                <a:gd name="connsiteX343" fmla="*/ 286190 w 409575"/>
                <a:gd name="connsiteY343" fmla="*/ 267842 h 638175"/>
                <a:gd name="connsiteX344" fmla="*/ 289879 w 409575"/>
                <a:gd name="connsiteY344" fmla="*/ 264151 h 638175"/>
                <a:gd name="connsiteX345" fmla="*/ 293568 w 409575"/>
                <a:gd name="connsiteY345" fmla="*/ 264151 h 638175"/>
                <a:gd name="connsiteX346" fmla="*/ 297258 w 409575"/>
                <a:gd name="connsiteY346" fmla="*/ 264151 h 638175"/>
                <a:gd name="connsiteX347" fmla="*/ 300947 w 409575"/>
                <a:gd name="connsiteY347" fmla="*/ 264151 h 638175"/>
                <a:gd name="connsiteX348" fmla="*/ 304636 w 409575"/>
                <a:gd name="connsiteY348" fmla="*/ 267842 h 638175"/>
                <a:gd name="connsiteX349" fmla="*/ 308326 w 409575"/>
                <a:gd name="connsiteY349" fmla="*/ 271532 h 638175"/>
                <a:gd name="connsiteX350" fmla="*/ 312015 w 409575"/>
                <a:gd name="connsiteY350" fmla="*/ 271532 h 638175"/>
                <a:gd name="connsiteX351" fmla="*/ 315704 w 409575"/>
                <a:gd name="connsiteY351" fmla="*/ 275223 h 638175"/>
                <a:gd name="connsiteX352" fmla="*/ 315704 w 409575"/>
                <a:gd name="connsiteY352" fmla="*/ 278914 h 638175"/>
                <a:gd name="connsiteX353" fmla="*/ 323082 w 409575"/>
                <a:gd name="connsiteY353" fmla="*/ 278914 h 638175"/>
                <a:gd name="connsiteX354" fmla="*/ 326771 w 409575"/>
                <a:gd name="connsiteY354" fmla="*/ 278914 h 638175"/>
                <a:gd name="connsiteX355" fmla="*/ 330460 w 409575"/>
                <a:gd name="connsiteY355" fmla="*/ 278914 h 638175"/>
                <a:gd name="connsiteX356" fmla="*/ 334150 w 409575"/>
                <a:gd name="connsiteY356" fmla="*/ 275223 h 638175"/>
                <a:gd name="connsiteX357" fmla="*/ 341528 w 409575"/>
                <a:gd name="connsiteY357" fmla="*/ 267842 h 638175"/>
                <a:gd name="connsiteX358" fmla="*/ 345217 w 409575"/>
                <a:gd name="connsiteY358" fmla="*/ 267842 h 638175"/>
                <a:gd name="connsiteX359" fmla="*/ 352595 w 409575"/>
                <a:gd name="connsiteY359" fmla="*/ 267842 h 638175"/>
                <a:gd name="connsiteX360" fmla="*/ 352595 w 409575"/>
                <a:gd name="connsiteY360" fmla="*/ 264151 h 638175"/>
                <a:gd name="connsiteX361" fmla="*/ 356285 w 409575"/>
                <a:gd name="connsiteY361" fmla="*/ 260461 h 638175"/>
                <a:gd name="connsiteX362" fmla="*/ 359974 w 409575"/>
                <a:gd name="connsiteY362" fmla="*/ 260461 h 638175"/>
                <a:gd name="connsiteX363" fmla="*/ 359974 w 409575"/>
                <a:gd name="connsiteY363" fmla="*/ 256771 h 638175"/>
                <a:gd name="connsiteX364" fmla="*/ 367352 w 409575"/>
                <a:gd name="connsiteY364" fmla="*/ 253080 h 638175"/>
                <a:gd name="connsiteX365" fmla="*/ 367352 w 409575"/>
                <a:gd name="connsiteY365" fmla="*/ 249390 h 638175"/>
                <a:gd name="connsiteX366" fmla="*/ 371041 w 409575"/>
                <a:gd name="connsiteY366" fmla="*/ 245699 h 638175"/>
                <a:gd name="connsiteX367" fmla="*/ 371041 w 409575"/>
                <a:gd name="connsiteY367" fmla="*/ 238318 h 638175"/>
                <a:gd name="connsiteX368" fmla="*/ 371041 w 409575"/>
                <a:gd name="connsiteY368" fmla="*/ 234627 h 638175"/>
                <a:gd name="connsiteX369" fmla="*/ 374730 w 409575"/>
                <a:gd name="connsiteY369" fmla="*/ 227246 h 638175"/>
                <a:gd name="connsiteX370" fmla="*/ 378420 w 409575"/>
                <a:gd name="connsiteY370" fmla="*/ 227246 h 638175"/>
                <a:gd name="connsiteX371" fmla="*/ 382106 w 409575"/>
                <a:gd name="connsiteY371" fmla="*/ 227246 h 638175"/>
                <a:gd name="connsiteX372" fmla="*/ 385802 w 409575"/>
                <a:gd name="connsiteY372" fmla="*/ 227246 h 638175"/>
                <a:gd name="connsiteX373" fmla="*/ 389488 w 409575"/>
                <a:gd name="connsiteY373" fmla="*/ 223555 h 638175"/>
                <a:gd name="connsiteX374" fmla="*/ 393174 w 409575"/>
                <a:gd name="connsiteY374" fmla="*/ 223555 h 638175"/>
                <a:gd name="connsiteX375" fmla="*/ 389488 w 409575"/>
                <a:gd name="connsiteY375" fmla="*/ 219865 h 638175"/>
                <a:gd name="connsiteX376" fmla="*/ 393174 w 409575"/>
                <a:gd name="connsiteY376" fmla="*/ 219865 h 638175"/>
                <a:gd name="connsiteX377" fmla="*/ 396870 w 409575"/>
                <a:gd name="connsiteY377" fmla="*/ 216174 h 638175"/>
                <a:gd name="connsiteX378" fmla="*/ 400556 w 409575"/>
                <a:gd name="connsiteY378" fmla="*/ 212484 h 638175"/>
                <a:gd name="connsiteX379" fmla="*/ 396870 w 409575"/>
                <a:gd name="connsiteY379" fmla="*/ 208793 h 638175"/>
                <a:gd name="connsiteX380" fmla="*/ 393174 w 409575"/>
                <a:gd name="connsiteY380" fmla="*/ 205102 h 638175"/>
                <a:gd name="connsiteX381" fmla="*/ 393174 w 409575"/>
                <a:gd name="connsiteY381" fmla="*/ 201412 h 638175"/>
                <a:gd name="connsiteX382" fmla="*/ 393174 w 409575"/>
                <a:gd name="connsiteY382" fmla="*/ 197721 h 638175"/>
                <a:gd name="connsiteX383" fmla="*/ 393174 w 409575"/>
                <a:gd name="connsiteY383" fmla="*/ 194031 h 638175"/>
                <a:gd name="connsiteX384" fmla="*/ 393174 w 409575"/>
                <a:gd name="connsiteY384" fmla="*/ 190340 h 638175"/>
                <a:gd name="connsiteX385" fmla="*/ 393174 w 409575"/>
                <a:gd name="connsiteY385" fmla="*/ 186649 h 638175"/>
                <a:gd name="connsiteX386" fmla="*/ 393174 w 409575"/>
                <a:gd name="connsiteY386" fmla="*/ 182959 h 638175"/>
                <a:gd name="connsiteX387" fmla="*/ 389488 w 409575"/>
                <a:gd name="connsiteY387" fmla="*/ 182959 h 638175"/>
                <a:gd name="connsiteX388" fmla="*/ 385802 w 409575"/>
                <a:gd name="connsiteY388" fmla="*/ 179268 h 638175"/>
                <a:gd name="connsiteX389" fmla="*/ 378420 w 409575"/>
                <a:gd name="connsiteY389" fmla="*/ 175578 h 638175"/>
                <a:gd name="connsiteX390" fmla="*/ 367352 w 409575"/>
                <a:gd name="connsiteY390" fmla="*/ 175578 h 638175"/>
                <a:gd name="connsiteX391" fmla="*/ 363663 w 409575"/>
                <a:gd name="connsiteY391" fmla="*/ 175578 h 638175"/>
                <a:gd name="connsiteX392" fmla="*/ 359974 w 409575"/>
                <a:gd name="connsiteY392" fmla="*/ 171888 h 638175"/>
                <a:gd name="connsiteX393" fmla="*/ 352595 w 409575"/>
                <a:gd name="connsiteY393" fmla="*/ 171888 h 638175"/>
                <a:gd name="connsiteX394" fmla="*/ 348906 w 409575"/>
                <a:gd name="connsiteY394" fmla="*/ 171888 h 638175"/>
                <a:gd name="connsiteX395" fmla="*/ 345217 w 409575"/>
                <a:gd name="connsiteY395" fmla="*/ 179268 h 638175"/>
                <a:gd name="connsiteX396" fmla="*/ 341528 w 409575"/>
                <a:gd name="connsiteY396" fmla="*/ 182959 h 638175"/>
                <a:gd name="connsiteX397" fmla="*/ 341528 w 409575"/>
                <a:gd name="connsiteY397" fmla="*/ 186649 h 638175"/>
                <a:gd name="connsiteX398" fmla="*/ 337839 w 409575"/>
                <a:gd name="connsiteY398" fmla="*/ 182959 h 638175"/>
                <a:gd name="connsiteX399" fmla="*/ 334150 w 409575"/>
                <a:gd name="connsiteY399" fmla="*/ 182959 h 638175"/>
                <a:gd name="connsiteX400" fmla="*/ 330460 w 409575"/>
                <a:gd name="connsiteY400" fmla="*/ 182959 h 638175"/>
                <a:gd name="connsiteX401" fmla="*/ 326771 w 409575"/>
                <a:gd name="connsiteY401" fmla="*/ 182959 h 638175"/>
                <a:gd name="connsiteX402" fmla="*/ 319393 w 409575"/>
                <a:gd name="connsiteY402" fmla="*/ 175578 h 638175"/>
                <a:gd name="connsiteX403" fmla="*/ 315704 w 409575"/>
                <a:gd name="connsiteY403" fmla="*/ 171888 h 638175"/>
                <a:gd name="connsiteX404" fmla="*/ 312015 w 409575"/>
                <a:gd name="connsiteY404" fmla="*/ 168197 h 638175"/>
                <a:gd name="connsiteX405" fmla="*/ 315704 w 409575"/>
                <a:gd name="connsiteY405" fmla="*/ 160816 h 638175"/>
                <a:gd name="connsiteX406" fmla="*/ 312015 w 409575"/>
                <a:gd name="connsiteY406" fmla="*/ 160816 h 638175"/>
                <a:gd name="connsiteX407" fmla="*/ 308326 w 409575"/>
                <a:gd name="connsiteY407" fmla="*/ 157126 h 638175"/>
                <a:gd name="connsiteX408" fmla="*/ 304636 w 409575"/>
                <a:gd name="connsiteY408" fmla="*/ 157126 h 638175"/>
                <a:gd name="connsiteX409" fmla="*/ 312015 w 409575"/>
                <a:gd name="connsiteY409" fmla="*/ 101766 h 638175"/>
                <a:gd name="connsiteX410" fmla="*/ 304636 w 409575"/>
                <a:gd name="connsiteY410" fmla="*/ 90695 h 638175"/>
                <a:gd name="connsiteX411" fmla="*/ 293568 w 409575"/>
                <a:gd name="connsiteY411" fmla="*/ 68552 h 638175"/>
                <a:gd name="connsiteX412" fmla="*/ 293568 w 409575"/>
                <a:gd name="connsiteY412" fmla="*/ 64861 h 638175"/>
                <a:gd name="connsiteX413" fmla="*/ 289879 w 409575"/>
                <a:gd name="connsiteY413" fmla="*/ 61171 h 638175"/>
                <a:gd name="connsiteX414" fmla="*/ 278811 w 409575"/>
                <a:gd name="connsiteY414" fmla="*/ 39027 h 638175"/>
                <a:gd name="connsiteX415" fmla="*/ 275122 w 409575"/>
                <a:gd name="connsiteY415" fmla="*/ 39027 h 638175"/>
                <a:gd name="connsiteX416" fmla="*/ 275122 w 409575"/>
                <a:gd name="connsiteY416" fmla="*/ 31646 h 638175"/>
                <a:gd name="connsiteX417" fmla="*/ 271433 w 409575"/>
                <a:gd name="connsiteY417" fmla="*/ 27955 h 638175"/>
                <a:gd name="connsiteX418" fmla="*/ 267744 w 409575"/>
                <a:gd name="connsiteY418" fmla="*/ 27955 h 638175"/>
                <a:gd name="connsiteX419" fmla="*/ 264055 w 409575"/>
                <a:gd name="connsiteY419" fmla="*/ 31646 h 638175"/>
                <a:gd name="connsiteX420" fmla="*/ 260365 w 409575"/>
                <a:gd name="connsiteY420" fmla="*/ 31646 h 638175"/>
                <a:gd name="connsiteX421" fmla="*/ 256676 w 409575"/>
                <a:gd name="connsiteY421" fmla="*/ 27955 h 638175"/>
                <a:gd name="connsiteX422" fmla="*/ 252987 w 409575"/>
                <a:gd name="connsiteY422" fmla="*/ 27955 h 638175"/>
                <a:gd name="connsiteX423" fmla="*/ 249298 w 409575"/>
                <a:gd name="connsiteY423" fmla="*/ 31646 h 638175"/>
                <a:gd name="connsiteX424" fmla="*/ 241920 w 409575"/>
                <a:gd name="connsiteY424" fmla="*/ 31646 h 638175"/>
                <a:gd name="connsiteX425" fmla="*/ 234541 w 409575"/>
                <a:gd name="connsiteY425" fmla="*/ 39027 h 638175"/>
                <a:gd name="connsiteX426" fmla="*/ 234541 w 409575"/>
                <a:gd name="connsiteY426" fmla="*/ 42718 h 638175"/>
                <a:gd name="connsiteX427" fmla="*/ 227163 w 409575"/>
                <a:gd name="connsiteY427" fmla="*/ 53789 h 638175"/>
                <a:gd name="connsiteX428" fmla="*/ 223474 w 409575"/>
                <a:gd name="connsiteY428" fmla="*/ 53789 h 638175"/>
                <a:gd name="connsiteX429" fmla="*/ 216096 w 409575"/>
                <a:gd name="connsiteY429" fmla="*/ 57480 h 638175"/>
                <a:gd name="connsiteX430" fmla="*/ 212406 w 409575"/>
                <a:gd name="connsiteY430" fmla="*/ 61171 h 638175"/>
                <a:gd name="connsiteX431" fmla="*/ 197650 w 409575"/>
                <a:gd name="connsiteY431" fmla="*/ 68552 h 638175"/>
                <a:gd name="connsiteX432" fmla="*/ 193961 w 409575"/>
                <a:gd name="connsiteY432" fmla="*/ 64861 h 638175"/>
                <a:gd name="connsiteX433" fmla="*/ 182893 w 409575"/>
                <a:gd name="connsiteY433" fmla="*/ 57480 h 638175"/>
                <a:gd name="connsiteX434" fmla="*/ 179204 w 409575"/>
                <a:gd name="connsiteY434" fmla="*/ 57480 h 638175"/>
                <a:gd name="connsiteX435" fmla="*/ 168136 w 409575"/>
                <a:gd name="connsiteY435" fmla="*/ 50099 h 638175"/>
                <a:gd name="connsiteX436" fmla="*/ 164447 w 409575"/>
                <a:gd name="connsiteY436" fmla="*/ 46408 h 638175"/>
                <a:gd name="connsiteX437" fmla="*/ 160758 w 409575"/>
                <a:gd name="connsiteY437" fmla="*/ 42718 h 638175"/>
                <a:gd name="connsiteX438" fmla="*/ 157069 w 409575"/>
                <a:gd name="connsiteY438" fmla="*/ 35336 h 638175"/>
                <a:gd name="connsiteX439" fmla="*/ 157069 w 409575"/>
                <a:gd name="connsiteY439" fmla="*/ 27955 h 638175"/>
                <a:gd name="connsiteX440" fmla="*/ 157069 w 409575"/>
                <a:gd name="connsiteY440" fmla="*/ 20574 h 638175"/>
                <a:gd name="connsiteX441" fmla="*/ 160758 w 409575"/>
                <a:gd name="connsiteY441" fmla="*/ 13193 h 638175"/>
                <a:gd name="connsiteX442" fmla="*/ 160758 w 409575"/>
                <a:gd name="connsiteY442" fmla="*/ 9502 h 638175"/>
                <a:gd name="connsiteX443" fmla="*/ 157069 w 409575"/>
                <a:gd name="connsiteY443" fmla="*/ 9502 h 638175"/>
                <a:gd name="connsiteX444" fmla="*/ 157069 w 409575"/>
                <a:gd name="connsiteY444" fmla="*/ 13193 h 638175"/>
                <a:gd name="connsiteX445" fmla="*/ 153380 w 409575"/>
                <a:gd name="connsiteY445" fmla="*/ 13193 h 638175"/>
                <a:gd name="connsiteX446" fmla="*/ 149690 w 409575"/>
                <a:gd name="connsiteY446" fmla="*/ 13193 h 638175"/>
                <a:gd name="connsiteX447" fmla="*/ 149690 w 409575"/>
                <a:gd name="connsiteY447" fmla="*/ 9502 h 638175"/>
                <a:gd name="connsiteX448" fmla="*/ 149690 w 409575"/>
                <a:gd name="connsiteY448" fmla="*/ 5812 h 638175"/>
                <a:gd name="connsiteX449" fmla="*/ 142312 w 409575"/>
                <a:gd name="connsiteY449" fmla="*/ 5812 h 638175"/>
                <a:gd name="connsiteX450" fmla="*/ 134933 w 409575"/>
                <a:gd name="connsiteY450" fmla="*/ 5812 h 638175"/>
                <a:gd name="connsiteX451" fmla="*/ 131244 w 409575"/>
                <a:gd name="connsiteY451" fmla="*/ 5812 h 638175"/>
                <a:gd name="connsiteX452" fmla="*/ 127555 w 409575"/>
                <a:gd name="connsiteY452" fmla="*/ 5812 h 638175"/>
                <a:gd name="connsiteX453" fmla="*/ 160758 w 409575"/>
                <a:gd name="connsiteY453" fmla="*/ 9502 h 638175"/>
                <a:gd name="connsiteX454" fmla="*/ 160758 w 409575"/>
                <a:gd name="connsiteY454" fmla="*/ 5812 h 638175"/>
                <a:gd name="connsiteX455" fmla="*/ 157069 w 409575"/>
                <a:gd name="connsiteY455" fmla="*/ 5812 h 638175"/>
                <a:gd name="connsiteX456" fmla="*/ 160758 w 409575"/>
                <a:gd name="connsiteY456" fmla="*/ 9502 h 638175"/>
                <a:gd name="connsiteX457" fmla="*/ 275122 w 409575"/>
                <a:gd name="connsiteY457" fmla="*/ 31646 h 638175"/>
                <a:gd name="connsiteX458" fmla="*/ 278811 w 409575"/>
                <a:gd name="connsiteY458" fmla="*/ 35336 h 638175"/>
                <a:gd name="connsiteX459" fmla="*/ 278811 w 409575"/>
                <a:gd name="connsiteY459" fmla="*/ 27955 h 638175"/>
                <a:gd name="connsiteX460" fmla="*/ 275122 w 409575"/>
                <a:gd name="connsiteY460" fmla="*/ 27955 h 638175"/>
                <a:gd name="connsiteX461" fmla="*/ 275122 w 409575"/>
                <a:gd name="connsiteY461" fmla="*/ 31646 h 638175"/>
                <a:gd name="connsiteX462" fmla="*/ 241920 w 409575"/>
                <a:gd name="connsiteY462" fmla="*/ 481898 h 638175"/>
                <a:gd name="connsiteX463" fmla="*/ 241920 w 409575"/>
                <a:gd name="connsiteY463" fmla="*/ 485584 h 638175"/>
                <a:gd name="connsiteX464" fmla="*/ 245609 w 409575"/>
                <a:gd name="connsiteY464" fmla="*/ 485584 h 638175"/>
                <a:gd name="connsiteX465" fmla="*/ 241920 w 409575"/>
                <a:gd name="connsiteY465" fmla="*/ 481898 h 638175"/>
                <a:gd name="connsiteX466" fmla="*/ 304636 w 409575"/>
                <a:gd name="connsiteY466" fmla="*/ 400703 h 638175"/>
                <a:gd name="connsiteX467" fmla="*/ 304636 w 409575"/>
                <a:gd name="connsiteY467" fmla="*/ 404394 h 638175"/>
                <a:gd name="connsiteX468" fmla="*/ 304636 w 409575"/>
                <a:gd name="connsiteY468" fmla="*/ 408084 h 638175"/>
                <a:gd name="connsiteX469" fmla="*/ 300947 w 409575"/>
                <a:gd name="connsiteY469" fmla="*/ 415465 h 638175"/>
                <a:gd name="connsiteX470" fmla="*/ 304636 w 409575"/>
                <a:gd name="connsiteY470" fmla="*/ 415465 h 638175"/>
                <a:gd name="connsiteX471" fmla="*/ 308326 w 409575"/>
                <a:gd name="connsiteY471" fmla="*/ 411775 h 638175"/>
                <a:gd name="connsiteX472" fmla="*/ 312015 w 409575"/>
                <a:gd name="connsiteY472" fmla="*/ 411775 h 638175"/>
                <a:gd name="connsiteX473" fmla="*/ 315704 w 409575"/>
                <a:gd name="connsiteY473" fmla="*/ 408084 h 638175"/>
                <a:gd name="connsiteX474" fmla="*/ 319393 w 409575"/>
                <a:gd name="connsiteY474" fmla="*/ 408084 h 638175"/>
                <a:gd name="connsiteX475" fmla="*/ 319393 w 409575"/>
                <a:gd name="connsiteY475" fmla="*/ 404394 h 638175"/>
                <a:gd name="connsiteX476" fmla="*/ 312015 w 409575"/>
                <a:gd name="connsiteY476" fmla="*/ 408084 h 638175"/>
                <a:gd name="connsiteX477" fmla="*/ 308326 w 409575"/>
                <a:gd name="connsiteY477" fmla="*/ 404394 h 638175"/>
                <a:gd name="connsiteX478" fmla="*/ 304636 w 409575"/>
                <a:gd name="connsiteY478" fmla="*/ 400703 h 638175"/>
                <a:gd name="connsiteX479" fmla="*/ 404242 w 409575"/>
                <a:gd name="connsiteY479" fmla="*/ 529875 h 638175"/>
                <a:gd name="connsiteX480" fmla="*/ 404242 w 409575"/>
                <a:gd name="connsiteY480" fmla="*/ 533561 h 638175"/>
                <a:gd name="connsiteX481" fmla="*/ 407929 w 409575"/>
                <a:gd name="connsiteY481" fmla="*/ 533561 h 638175"/>
                <a:gd name="connsiteX482" fmla="*/ 404242 w 409575"/>
                <a:gd name="connsiteY482" fmla="*/ 529875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Lst>
              <a:rect l="l" t="t" r="r" b="b"/>
              <a:pathLst>
                <a:path w="409575" h="638175">
                  <a:moveTo>
                    <a:pt x="127555" y="5812"/>
                  </a:moveTo>
                  <a:lnTo>
                    <a:pt x="120176" y="16883"/>
                  </a:lnTo>
                  <a:lnTo>
                    <a:pt x="120176" y="20574"/>
                  </a:lnTo>
                  <a:lnTo>
                    <a:pt x="120176" y="24264"/>
                  </a:lnTo>
                  <a:lnTo>
                    <a:pt x="120176" y="31646"/>
                  </a:lnTo>
                  <a:lnTo>
                    <a:pt x="116487" y="42718"/>
                  </a:lnTo>
                  <a:lnTo>
                    <a:pt x="116487" y="53789"/>
                  </a:lnTo>
                  <a:lnTo>
                    <a:pt x="116487" y="68552"/>
                  </a:lnTo>
                  <a:lnTo>
                    <a:pt x="109109" y="90695"/>
                  </a:lnTo>
                  <a:lnTo>
                    <a:pt x="105420" y="112838"/>
                  </a:lnTo>
                  <a:lnTo>
                    <a:pt x="98041" y="134982"/>
                  </a:lnTo>
                  <a:lnTo>
                    <a:pt x="98041" y="142363"/>
                  </a:lnTo>
                  <a:lnTo>
                    <a:pt x="94352" y="142363"/>
                  </a:lnTo>
                  <a:lnTo>
                    <a:pt x="94352" y="149744"/>
                  </a:lnTo>
                  <a:lnTo>
                    <a:pt x="86974" y="164507"/>
                  </a:lnTo>
                  <a:lnTo>
                    <a:pt x="86974" y="171888"/>
                  </a:lnTo>
                  <a:lnTo>
                    <a:pt x="79596" y="194031"/>
                  </a:lnTo>
                  <a:lnTo>
                    <a:pt x="79596" y="197721"/>
                  </a:lnTo>
                  <a:lnTo>
                    <a:pt x="79596" y="201412"/>
                  </a:lnTo>
                  <a:lnTo>
                    <a:pt x="79596" y="205102"/>
                  </a:lnTo>
                  <a:lnTo>
                    <a:pt x="79596" y="208793"/>
                  </a:lnTo>
                  <a:lnTo>
                    <a:pt x="79596" y="219865"/>
                  </a:lnTo>
                  <a:lnTo>
                    <a:pt x="75906" y="234627"/>
                  </a:lnTo>
                  <a:lnTo>
                    <a:pt x="75906" y="242009"/>
                  </a:lnTo>
                  <a:lnTo>
                    <a:pt x="75906" y="249390"/>
                  </a:lnTo>
                  <a:lnTo>
                    <a:pt x="72217" y="264151"/>
                  </a:lnTo>
                  <a:lnTo>
                    <a:pt x="72217" y="271532"/>
                  </a:lnTo>
                  <a:lnTo>
                    <a:pt x="72217" y="275223"/>
                  </a:lnTo>
                  <a:lnTo>
                    <a:pt x="72217" y="282604"/>
                  </a:lnTo>
                  <a:lnTo>
                    <a:pt x="68528" y="286295"/>
                  </a:lnTo>
                  <a:lnTo>
                    <a:pt x="68528" y="289986"/>
                  </a:lnTo>
                  <a:lnTo>
                    <a:pt x="64839" y="315820"/>
                  </a:lnTo>
                  <a:lnTo>
                    <a:pt x="61150" y="349034"/>
                  </a:lnTo>
                  <a:lnTo>
                    <a:pt x="57461" y="367487"/>
                  </a:lnTo>
                  <a:lnTo>
                    <a:pt x="53772" y="374869"/>
                  </a:lnTo>
                  <a:lnTo>
                    <a:pt x="50082" y="382250"/>
                  </a:lnTo>
                  <a:lnTo>
                    <a:pt x="46393" y="389631"/>
                  </a:lnTo>
                  <a:lnTo>
                    <a:pt x="42704" y="400703"/>
                  </a:lnTo>
                  <a:lnTo>
                    <a:pt x="50082" y="397012"/>
                  </a:lnTo>
                  <a:lnTo>
                    <a:pt x="53772" y="397012"/>
                  </a:lnTo>
                  <a:lnTo>
                    <a:pt x="61150" y="393322"/>
                  </a:lnTo>
                  <a:lnTo>
                    <a:pt x="64839" y="397012"/>
                  </a:lnTo>
                  <a:lnTo>
                    <a:pt x="61150" y="397012"/>
                  </a:lnTo>
                  <a:lnTo>
                    <a:pt x="61150" y="400703"/>
                  </a:lnTo>
                  <a:lnTo>
                    <a:pt x="53772" y="400703"/>
                  </a:lnTo>
                  <a:lnTo>
                    <a:pt x="50082" y="404394"/>
                  </a:lnTo>
                  <a:lnTo>
                    <a:pt x="57461" y="404394"/>
                  </a:lnTo>
                  <a:lnTo>
                    <a:pt x="57461" y="408084"/>
                  </a:lnTo>
                  <a:lnTo>
                    <a:pt x="50082" y="404394"/>
                  </a:lnTo>
                  <a:lnTo>
                    <a:pt x="46393" y="404394"/>
                  </a:lnTo>
                  <a:lnTo>
                    <a:pt x="46393" y="408084"/>
                  </a:lnTo>
                  <a:lnTo>
                    <a:pt x="39015" y="404394"/>
                  </a:lnTo>
                  <a:lnTo>
                    <a:pt x="39015" y="411775"/>
                  </a:lnTo>
                  <a:lnTo>
                    <a:pt x="42704" y="419156"/>
                  </a:lnTo>
                  <a:lnTo>
                    <a:pt x="39015" y="422847"/>
                  </a:lnTo>
                  <a:lnTo>
                    <a:pt x="39015" y="430227"/>
                  </a:lnTo>
                  <a:lnTo>
                    <a:pt x="35326" y="437608"/>
                  </a:lnTo>
                  <a:lnTo>
                    <a:pt x="31637" y="452370"/>
                  </a:lnTo>
                  <a:lnTo>
                    <a:pt x="27947" y="463442"/>
                  </a:lnTo>
                  <a:lnTo>
                    <a:pt x="20569" y="481898"/>
                  </a:lnTo>
                  <a:lnTo>
                    <a:pt x="5812" y="511416"/>
                  </a:lnTo>
                  <a:lnTo>
                    <a:pt x="31637" y="522493"/>
                  </a:lnTo>
                  <a:lnTo>
                    <a:pt x="42704" y="526179"/>
                  </a:lnTo>
                  <a:lnTo>
                    <a:pt x="42704" y="518798"/>
                  </a:lnTo>
                  <a:lnTo>
                    <a:pt x="46393" y="522493"/>
                  </a:lnTo>
                  <a:lnTo>
                    <a:pt x="50082" y="518798"/>
                  </a:lnTo>
                  <a:lnTo>
                    <a:pt x="53772" y="518798"/>
                  </a:lnTo>
                  <a:lnTo>
                    <a:pt x="57461" y="518798"/>
                  </a:lnTo>
                  <a:lnTo>
                    <a:pt x="64839" y="522493"/>
                  </a:lnTo>
                  <a:lnTo>
                    <a:pt x="61150" y="529875"/>
                  </a:lnTo>
                  <a:lnTo>
                    <a:pt x="57461" y="533561"/>
                  </a:lnTo>
                  <a:lnTo>
                    <a:pt x="57461" y="540943"/>
                  </a:lnTo>
                  <a:lnTo>
                    <a:pt x="53772" y="540943"/>
                  </a:lnTo>
                  <a:lnTo>
                    <a:pt x="53772" y="544639"/>
                  </a:lnTo>
                  <a:lnTo>
                    <a:pt x="53772" y="548325"/>
                  </a:lnTo>
                  <a:lnTo>
                    <a:pt x="50082" y="552011"/>
                  </a:lnTo>
                  <a:lnTo>
                    <a:pt x="46393" y="555707"/>
                  </a:lnTo>
                  <a:lnTo>
                    <a:pt x="42704" y="559393"/>
                  </a:lnTo>
                  <a:lnTo>
                    <a:pt x="42704" y="563089"/>
                  </a:lnTo>
                  <a:lnTo>
                    <a:pt x="42704" y="566775"/>
                  </a:lnTo>
                  <a:lnTo>
                    <a:pt x="42704" y="570471"/>
                  </a:lnTo>
                  <a:lnTo>
                    <a:pt x="42704" y="577853"/>
                  </a:lnTo>
                  <a:lnTo>
                    <a:pt x="39015" y="581539"/>
                  </a:lnTo>
                  <a:lnTo>
                    <a:pt x="39015" y="585234"/>
                  </a:lnTo>
                  <a:lnTo>
                    <a:pt x="35326" y="585234"/>
                  </a:lnTo>
                  <a:lnTo>
                    <a:pt x="35326" y="588921"/>
                  </a:lnTo>
                  <a:lnTo>
                    <a:pt x="35326" y="592616"/>
                  </a:lnTo>
                  <a:lnTo>
                    <a:pt x="35326" y="596303"/>
                  </a:lnTo>
                  <a:lnTo>
                    <a:pt x="39015" y="596303"/>
                  </a:lnTo>
                  <a:lnTo>
                    <a:pt x="42704" y="599989"/>
                  </a:lnTo>
                  <a:lnTo>
                    <a:pt x="46393" y="599989"/>
                  </a:lnTo>
                  <a:lnTo>
                    <a:pt x="50082" y="596303"/>
                  </a:lnTo>
                  <a:lnTo>
                    <a:pt x="57461" y="599989"/>
                  </a:lnTo>
                  <a:lnTo>
                    <a:pt x="68528" y="599989"/>
                  </a:lnTo>
                  <a:lnTo>
                    <a:pt x="72217" y="599989"/>
                  </a:lnTo>
                  <a:lnTo>
                    <a:pt x="75906" y="599989"/>
                  </a:lnTo>
                  <a:lnTo>
                    <a:pt x="79596" y="596303"/>
                  </a:lnTo>
                  <a:lnTo>
                    <a:pt x="86974" y="592616"/>
                  </a:lnTo>
                  <a:lnTo>
                    <a:pt x="90663" y="592616"/>
                  </a:lnTo>
                  <a:lnTo>
                    <a:pt x="90663" y="588921"/>
                  </a:lnTo>
                  <a:lnTo>
                    <a:pt x="94352" y="592616"/>
                  </a:lnTo>
                  <a:lnTo>
                    <a:pt x="98041" y="592616"/>
                  </a:lnTo>
                  <a:lnTo>
                    <a:pt x="101731" y="592616"/>
                  </a:lnTo>
                  <a:lnTo>
                    <a:pt x="105420" y="588921"/>
                  </a:lnTo>
                  <a:lnTo>
                    <a:pt x="109109" y="585234"/>
                  </a:lnTo>
                  <a:lnTo>
                    <a:pt x="120176" y="588921"/>
                  </a:lnTo>
                  <a:lnTo>
                    <a:pt x="116487" y="599989"/>
                  </a:lnTo>
                  <a:lnTo>
                    <a:pt x="120176" y="603684"/>
                  </a:lnTo>
                  <a:lnTo>
                    <a:pt x="123866" y="607371"/>
                  </a:lnTo>
                  <a:lnTo>
                    <a:pt x="127555" y="599989"/>
                  </a:lnTo>
                  <a:lnTo>
                    <a:pt x="131244" y="599989"/>
                  </a:lnTo>
                  <a:lnTo>
                    <a:pt x="138622" y="599989"/>
                  </a:lnTo>
                  <a:lnTo>
                    <a:pt x="142312" y="596303"/>
                  </a:lnTo>
                  <a:lnTo>
                    <a:pt x="142312" y="592616"/>
                  </a:lnTo>
                  <a:lnTo>
                    <a:pt x="146001" y="592616"/>
                  </a:lnTo>
                  <a:lnTo>
                    <a:pt x="149690" y="592616"/>
                  </a:lnTo>
                  <a:lnTo>
                    <a:pt x="153380" y="592616"/>
                  </a:lnTo>
                  <a:lnTo>
                    <a:pt x="157069" y="592616"/>
                  </a:lnTo>
                  <a:lnTo>
                    <a:pt x="160758" y="592616"/>
                  </a:lnTo>
                  <a:lnTo>
                    <a:pt x="164447" y="592616"/>
                  </a:lnTo>
                  <a:lnTo>
                    <a:pt x="168136" y="588921"/>
                  </a:lnTo>
                  <a:lnTo>
                    <a:pt x="171826" y="588921"/>
                  </a:lnTo>
                  <a:lnTo>
                    <a:pt x="171826" y="585234"/>
                  </a:lnTo>
                  <a:lnTo>
                    <a:pt x="175515" y="585234"/>
                  </a:lnTo>
                  <a:lnTo>
                    <a:pt x="179204" y="581539"/>
                  </a:lnTo>
                  <a:lnTo>
                    <a:pt x="182893" y="581539"/>
                  </a:lnTo>
                  <a:lnTo>
                    <a:pt x="182893" y="577853"/>
                  </a:lnTo>
                  <a:lnTo>
                    <a:pt x="190272" y="574157"/>
                  </a:lnTo>
                  <a:lnTo>
                    <a:pt x="193961" y="570471"/>
                  </a:lnTo>
                  <a:lnTo>
                    <a:pt x="197650" y="570471"/>
                  </a:lnTo>
                  <a:lnTo>
                    <a:pt x="201339" y="570471"/>
                  </a:lnTo>
                  <a:lnTo>
                    <a:pt x="205028" y="574157"/>
                  </a:lnTo>
                  <a:lnTo>
                    <a:pt x="205028" y="570471"/>
                  </a:lnTo>
                  <a:lnTo>
                    <a:pt x="208717" y="570471"/>
                  </a:lnTo>
                  <a:lnTo>
                    <a:pt x="212406" y="570471"/>
                  </a:lnTo>
                  <a:lnTo>
                    <a:pt x="212406" y="566775"/>
                  </a:lnTo>
                  <a:lnTo>
                    <a:pt x="216096" y="563089"/>
                  </a:lnTo>
                  <a:lnTo>
                    <a:pt x="219785" y="559393"/>
                  </a:lnTo>
                  <a:lnTo>
                    <a:pt x="216096" y="555707"/>
                  </a:lnTo>
                  <a:lnTo>
                    <a:pt x="216096" y="552011"/>
                  </a:lnTo>
                  <a:lnTo>
                    <a:pt x="219785" y="548325"/>
                  </a:lnTo>
                  <a:lnTo>
                    <a:pt x="227163" y="552011"/>
                  </a:lnTo>
                  <a:lnTo>
                    <a:pt x="230852" y="552011"/>
                  </a:lnTo>
                  <a:lnTo>
                    <a:pt x="234541" y="552011"/>
                  </a:lnTo>
                  <a:lnTo>
                    <a:pt x="238230" y="552011"/>
                  </a:lnTo>
                  <a:lnTo>
                    <a:pt x="238230" y="548325"/>
                  </a:lnTo>
                  <a:lnTo>
                    <a:pt x="245609" y="544639"/>
                  </a:lnTo>
                  <a:lnTo>
                    <a:pt x="245609" y="540943"/>
                  </a:lnTo>
                  <a:lnTo>
                    <a:pt x="252987" y="544639"/>
                  </a:lnTo>
                  <a:lnTo>
                    <a:pt x="252987" y="540943"/>
                  </a:lnTo>
                  <a:lnTo>
                    <a:pt x="252987" y="537257"/>
                  </a:lnTo>
                  <a:lnTo>
                    <a:pt x="256676" y="537257"/>
                  </a:lnTo>
                  <a:lnTo>
                    <a:pt x="256676" y="533561"/>
                  </a:lnTo>
                  <a:lnTo>
                    <a:pt x="260365" y="533561"/>
                  </a:lnTo>
                  <a:lnTo>
                    <a:pt x="264055" y="533561"/>
                  </a:lnTo>
                  <a:lnTo>
                    <a:pt x="264055" y="548325"/>
                  </a:lnTo>
                  <a:lnTo>
                    <a:pt x="267744" y="544639"/>
                  </a:lnTo>
                  <a:lnTo>
                    <a:pt x="271433" y="548325"/>
                  </a:lnTo>
                  <a:lnTo>
                    <a:pt x="275122" y="548325"/>
                  </a:lnTo>
                  <a:lnTo>
                    <a:pt x="278811" y="544639"/>
                  </a:lnTo>
                  <a:lnTo>
                    <a:pt x="282500" y="544639"/>
                  </a:lnTo>
                  <a:lnTo>
                    <a:pt x="286190" y="548325"/>
                  </a:lnTo>
                  <a:lnTo>
                    <a:pt x="282500" y="548325"/>
                  </a:lnTo>
                  <a:lnTo>
                    <a:pt x="278811" y="548325"/>
                  </a:lnTo>
                  <a:lnTo>
                    <a:pt x="278811" y="552011"/>
                  </a:lnTo>
                  <a:lnTo>
                    <a:pt x="275122" y="552011"/>
                  </a:lnTo>
                  <a:lnTo>
                    <a:pt x="271433" y="552011"/>
                  </a:lnTo>
                  <a:lnTo>
                    <a:pt x="271433" y="555707"/>
                  </a:lnTo>
                  <a:lnTo>
                    <a:pt x="267744" y="555707"/>
                  </a:lnTo>
                  <a:lnTo>
                    <a:pt x="264055" y="555707"/>
                  </a:lnTo>
                  <a:lnTo>
                    <a:pt x="264055" y="559393"/>
                  </a:lnTo>
                  <a:lnTo>
                    <a:pt x="267744" y="570471"/>
                  </a:lnTo>
                  <a:lnTo>
                    <a:pt x="271433" y="574157"/>
                  </a:lnTo>
                  <a:lnTo>
                    <a:pt x="271433" y="570471"/>
                  </a:lnTo>
                  <a:lnTo>
                    <a:pt x="275122" y="570471"/>
                  </a:lnTo>
                  <a:lnTo>
                    <a:pt x="275122" y="574157"/>
                  </a:lnTo>
                  <a:lnTo>
                    <a:pt x="275122" y="581539"/>
                  </a:lnTo>
                  <a:lnTo>
                    <a:pt x="282500" y="585234"/>
                  </a:lnTo>
                  <a:lnTo>
                    <a:pt x="275122" y="588921"/>
                  </a:lnTo>
                  <a:lnTo>
                    <a:pt x="271433" y="588921"/>
                  </a:lnTo>
                  <a:lnTo>
                    <a:pt x="271433" y="596303"/>
                  </a:lnTo>
                  <a:lnTo>
                    <a:pt x="271433" y="603684"/>
                  </a:lnTo>
                  <a:lnTo>
                    <a:pt x="271433" y="607371"/>
                  </a:lnTo>
                  <a:lnTo>
                    <a:pt x="271433" y="611066"/>
                  </a:lnTo>
                  <a:lnTo>
                    <a:pt x="264055" y="611066"/>
                  </a:lnTo>
                  <a:lnTo>
                    <a:pt x="267744" y="614752"/>
                  </a:lnTo>
                  <a:lnTo>
                    <a:pt x="271433" y="614752"/>
                  </a:lnTo>
                  <a:lnTo>
                    <a:pt x="271433" y="618448"/>
                  </a:lnTo>
                  <a:lnTo>
                    <a:pt x="271433" y="625830"/>
                  </a:lnTo>
                  <a:lnTo>
                    <a:pt x="275122" y="625830"/>
                  </a:lnTo>
                  <a:lnTo>
                    <a:pt x="275122" y="640594"/>
                  </a:lnTo>
                  <a:lnTo>
                    <a:pt x="289879" y="636898"/>
                  </a:lnTo>
                  <a:lnTo>
                    <a:pt x="308326" y="629516"/>
                  </a:lnTo>
                  <a:lnTo>
                    <a:pt x="312015" y="629516"/>
                  </a:lnTo>
                  <a:lnTo>
                    <a:pt x="334150" y="633212"/>
                  </a:lnTo>
                  <a:lnTo>
                    <a:pt x="337839" y="633212"/>
                  </a:lnTo>
                  <a:lnTo>
                    <a:pt x="341528" y="633212"/>
                  </a:lnTo>
                  <a:lnTo>
                    <a:pt x="348906" y="633212"/>
                  </a:lnTo>
                  <a:lnTo>
                    <a:pt x="359974" y="611066"/>
                  </a:lnTo>
                  <a:lnTo>
                    <a:pt x="359974" y="603684"/>
                  </a:lnTo>
                  <a:lnTo>
                    <a:pt x="363663" y="596303"/>
                  </a:lnTo>
                  <a:lnTo>
                    <a:pt x="367352" y="585234"/>
                  </a:lnTo>
                  <a:lnTo>
                    <a:pt x="371041" y="577853"/>
                  </a:lnTo>
                  <a:lnTo>
                    <a:pt x="371041" y="574157"/>
                  </a:lnTo>
                  <a:lnTo>
                    <a:pt x="371041" y="570471"/>
                  </a:lnTo>
                  <a:lnTo>
                    <a:pt x="382106" y="548325"/>
                  </a:lnTo>
                  <a:lnTo>
                    <a:pt x="389488" y="552011"/>
                  </a:lnTo>
                  <a:lnTo>
                    <a:pt x="404242" y="552011"/>
                  </a:lnTo>
                  <a:lnTo>
                    <a:pt x="396870" y="544639"/>
                  </a:lnTo>
                  <a:lnTo>
                    <a:pt x="396870" y="540943"/>
                  </a:lnTo>
                  <a:lnTo>
                    <a:pt x="400556" y="537257"/>
                  </a:lnTo>
                  <a:lnTo>
                    <a:pt x="396870" y="537257"/>
                  </a:lnTo>
                  <a:lnTo>
                    <a:pt x="393174" y="537257"/>
                  </a:lnTo>
                  <a:lnTo>
                    <a:pt x="389488" y="533561"/>
                  </a:lnTo>
                  <a:lnTo>
                    <a:pt x="385802" y="533561"/>
                  </a:lnTo>
                  <a:lnTo>
                    <a:pt x="382106" y="529875"/>
                  </a:lnTo>
                  <a:lnTo>
                    <a:pt x="378420" y="529875"/>
                  </a:lnTo>
                  <a:lnTo>
                    <a:pt x="378420" y="526179"/>
                  </a:lnTo>
                  <a:lnTo>
                    <a:pt x="374730" y="522493"/>
                  </a:lnTo>
                  <a:lnTo>
                    <a:pt x="371041" y="526179"/>
                  </a:lnTo>
                  <a:lnTo>
                    <a:pt x="367352" y="526179"/>
                  </a:lnTo>
                  <a:lnTo>
                    <a:pt x="363663" y="526179"/>
                  </a:lnTo>
                  <a:lnTo>
                    <a:pt x="348906" y="526179"/>
                  </a:lnTo>
                  <a:lnTo>
                    <a:pt x="345217" y="529875"/>
                  </a:lnTo>
                  <a:lnTo>
                    <a:pt x="341528" y="529875"/>
                  </a:lnTo>
                  <a:lnTo>
                    <a:pt x="337839" y="533561"/>
                  </a:lnTo>
                  <a:lnTo>
                    <a:pt x="334150" y="533561"/>
                  </a:lnTo>
                  <a:lnTo>
                    <a:pt x="334150" y="529875"/>
                  </a:lnTo>
                  <a:lnTo>
                    <a:pt x="330460" y="529875"/>
                  </a:lnTo>
                  <a:lnTo>
                    <a:pt x="326771" y="526179"/>
                  </a:lnTo>
                  <a:lnTo>
                    <a:pt x="323082" y="522493"/>
                  </a:lnTo>
                  <a:lnTo>
                    <a:pt x="319393" y="515111"/>
                  </a:lnTo>
                  <a:lnTo>
                    <a:pt x="315704" y="515111"/>
                  </a:lnTo>
                  <a:lnTo>
                    <a:pt x="315704" y="511416"/>
                  </a:lnTo>
                  <a:lnTo>
                    <a:pt x="308326" y="511416"/>
                  </a:lnTo>
                  <a:lnTo>
                    <a:pt x="304636" y="511416"/>
                  </a:lnTo>
                  <a:lnTo>
                    <a:pt x="300947" y="504043"/>
                  </a:lnTo>
                  <a:lnTo>
                    <a:pt x="289879" y="504043"/>
                  </a:lnTo>
                  <a:lnTo>
                    <a:pt x="286190" y="504043"/>
                  </a:lnTo>
                  <a:lnTo>
                    <a:pt x="282500" y="504043"/>
                  </a:lnTo>
                  <a:lnTo>
                    <a:pt x="275122" y="507730"/>
                  </a:lnTo>
                  <a:lnTo>
                    <a:pt x="271433" y="504043"/>
                  </a:lnTo>
                  <a:lnTo>
                    <a:pt x="271433" y="507730"/>
                  </a:lnTo>
                  <a:lnTo>
                    <a:pt x="267744" y="507730"/>
                  </a:lnTo>
                  <a:lnTo>
                    <a:pt x="267744" y="504043"/>
                  </a:lnTo>
                  <a:lnTo>
                    <a:pt x="271433" y="504043"/>
                  </a:lnTo>
                  <a:lnTo>
                    <a:pt x="271433" y="500348"/>
                  </a:lnTo>
                  <a:lnTo>
                    <a:pt x="267744" y="496662"/>
                  </a:lnTo>
                  <a:lnTo>
                    <a:pt x="264055" y="496662"/>
                  </a:lnTo>
                  <a:lnTo>
                    <a:pt x="260365" y="500348"/>
                  </a:lnTo>
                  <a:lnTo>
                    <a:pt x="256676" y="500348"/>
                  </a:lnTo>
                  <a:lnTo>
                    <a:pt x="252987" y="500348"/>
                  </a:lnTo>
                  <a:lnTo>
                    <a:pt x="252987" y="496662"/>
                  </a:lnTo>
                  <a:lnTo>
                    <a:pt x="256676" y="496662"/>
                  </a:lnTo>
                  <a:lnTo>
                    <a:pt x="256676" y="492966"/>
                  </a:lnTo>
                  <a:lnTo>
                    <a:pt x="256676" y="489280"/>
                  </a:lnTo>
                  <a:lnTo>
                    <a:pt x="249298" y="485584"/>
                  </a:lnTo>
                  <a:lnTo>
                    <a:pt x="245609" y="485584"/>
                  </a:lnTo>
                  <a:lnTo>
                    <a:pt x="245609" y="489280"/>
                  </a:lnTo>
                  <a:lnTo>
                    <a:pt x="241920" y="489280"/>
                  </a:lnTo>
                  <a:lnTo>
                    <a:pt x="238230" y="485584"/>
                  </a:lnTo>
                  <a:lnTo>
                    <a:pt x="234541" y="485584"/>
                  </a:lnTo>
                  <a:lnTo>
                    <a:pt x="234541" y="481898"/>
                  </a:lnTo>
                  <a:lnTo>
                    <a:pt x="238230" y="481898"/>
                  </a:lnTo>
                  <a:lnTo>
                    <a:pt x="241920" y="481898"/>
                  </a:lnTo>
                  <a:lnTo>
                    <a:pt x="245609" y="478202"/>
                  </a:lnTo>
                  <a:lnTo>
                    <a:pt x="234541" y="470823"/>
                  </a:lnTo>
                  <a:lnTo>
                    <a:pt x="234541" y="467133"/>
                  </a:lnTo>
                  <a:lnTo>
                    <a:pt x="241920" y="470823"/>
                  </a:lnTo>
                  <a:lnTo>
                    <a:pt x="245609" y="474514"/>
                  </a:lnTo>
                  <a:lnTo>
                    <a:pt x="249298" y="474514"/>
                  </a:lnTo>
                  <a:lnTo>
                    <a:pt x="252987" y="470823"/>
                  </a:lnTo>
                  <a:lnTo>
                    <a:pt x="252987" y="474514"/>
                  </a:lnTo>
                  <a:lnTo>
                    <a:pt x="256676" y="478202"/>
                  </a:lnTo>
                  <a:lnTo>
                    <a:pt x="260365" y="474514"/>
                  </a:lnTo>
                  <a:lnTo>
                    <a:pt x="260365" y="470823"/>
                  </a:lnTo>
                  <a:lnTo>
                    <a:pt x="260365" y="467133"/>
                  </a:lnTo>
                  <a:lnTo>
                    <a:pt x="264055" y="467133"/>
                  </a:lnTo>
                  <a:lnTo>
                    <a:pt x="267744" y="463442"/>
                  </a:lnTo>
                  <a:lnTo>
                    <a:pt x="267744" y="456061"/>
                  </a:lnTo>
                  <a:lnTo>
                    <a:pt x="271433" y="452370"/>
                  </a:lnTo>
                  <a:lnTo>
                    <a:pt x="275122" y="448680"/>
                  </a:lnTo>
                  <a:lnTo>
                    <a:pt x="278811" y="444989"/>
                  </a:lnTo>
                  <a:lnTo>
                    <a:pt x="282500" y="444989"/>
                  </a:lnTo>
                  <a:lnTo>
                    <a:pt x="286190" y="444989"/>
                  </a:lnTo>
                  <a:lnTo>
                    <a:pt x="286190" y="441299"/>
                  </a:lnTo>
                  <a:lnTo>
                    <a:pt x="289879" y="437608"/>
                  </a:lnTo>
                  <a:lnTo>
                    <a:pt x="289879" y="433917"/>
                  </a:lnTo>
                  <a:lnTo>
                    <a:pt x="297258" y="426537"/>
                  </a:lnTo>
                  <a:lnTo>
                    <a:pt x="293568" y="426537"/>
                  </a:lnTo>
                  <a:lnTo>
                    <a:pt x="289879" y="426537"/>
                  </a:lnTo>
                  <a:lnTo>
                    <a:pt x="286190" y="422847"/>
                  </a:lnTo>
                  <a:lnTo>
                    <a:pt x="286190" y="426537"/>
                  </a:lnTo>
                  <a:lnTo>
                    <a:pt x="278811" y="422847"/>
                  </a:lnTo>
                  <a:lnTo>
                    <a:pt x="278811" y="419156"/>
                  </a:lnTo>
                  <a:lnTo>
                    <a:pt x="278811" y="415465"/>
                  </a:lnTo>
                  <a:lnTo>
                    <a:pt x="278811" y="411775"/>
                  </a:lnTo>
                  <a:lnTo>
                    <a:pt x="282500" y="408084"/>
                  </a:lnTo>
                  <a:lnTo>
                    <a:pt x="282500" y="404394"/>
                  </a:lnTo>
                  <a:lnTo>
                    <a:pt x="278811" y="404394"/>
                  </a:lnTo>
                  <a:lnTo>
                    <a:pt x="275122" y="408084"/>
                  </a:lnTo>
                  <a:lnTo>
                    <a:pt x="271433" y="404394"/>
                  </a:lnTo>
                  <a:lnTo>
                    <a:pt x="278811" y="400703"/>
                  </a:lnTo>
                  <a:lnTo>
                    <a:pt x="286190" y="400703"/>
                  </a:lnTo>
                  <a:lnTo>
                    <a:pt x="286190" y="397012"/>
                  </a:lnTo>
                  <a:lnTo>
                    <a:pt x="282500" y="393322"/>
                  </a:lnTo>
                  <a:lnTo>
                    <a:pt x="282500" y="389631"/>
                  </a:lnTo>
                  <a:lnTo>
                    <a:pt x="282500" y="385940"/>
                  </a:lnTo>
                  <a:lnTo>
                    <a:pt x="286190" y="382250"/>
                  </a:lnTo>
                  <a:lnTo>
                    <a:pt x="289879" y="385940"/>
                  </a:lnTo>
                  <a:lnTo>
                    <a:pt x="289879" y="382250"/>
                  </a:lnTo>
                  <a:lnTo>
                    <a:pt x="293568" y="378559"/>
                  </a:lnTo>
                  <a:lnTo>
                    <a:pt x="297258" y="371178"/>
                  </a:lnTo>
                  <a:lnTo>
                    <a:pt x="293568" y="371178"/>
                  </a:lnTo>
                  <a:lnTo>
                    <a:pt x="293568" y="363797"/>
                  </a:lnTo>
                  <a:lnTo>
                    <a:pt x="289879" y="363797"/>
                  </a:lnTo>
                  <a:lnTo>
                    <a:pt x="289879" y="360106"/>
                  </a:lnTo>
                  <a:lnTo>
                    <a:pt x="286190" y="356416"/>
                  </a:lnTo>
                  <a:lnTo>
                    <a:pt x="286190" y="352725"/>
                  </a:lnTo>
                  <a:lnTo>
                    <a:pt x="282500" y="345344"/>
                  </a:lnTo>
                  <a:lnTo>
                    <a:pt x="282500" y="341654"/>
                  </a:lnTo>
                  <a:lnTo>
                    <a:pt x="275122" y="330582"/>
                  </a:lnTo>
                  <a:lnTo>
                    <a:pt x="275122" y="326892"/>
                  </a:lnTo>
                  <a:lnTo>
                    <a:pt x="271433" y="323201"/>
                  </a:lnTo>
                  <a:lnTo>
                    <a:pt x="271433" y="315820"/>
                  </a:lnTo>
                  <a:lnTo>
                    <a:pt x="267744" y="308439"/>
                  </a:lnTo>
                  <a:lnTo>
                    <a:pt x="267744" y="304748"/>
                  </a:lnTo>
                  <a:lnTo>
                    <a:pt x="264055" y="301057"/>
                  </a:lnTo>
                  <a:lnTo>
                    <a:pt x="267744" y="297367"/>
                  </a:lnTo>
                  <a:lnTo>
                    <a:pt x="264055" y="293676"/>
                  </a:lnTo>
                  <a:lnTo>
                    <a:pt x="264055" y="289986"/>
                  </a:lnTo>
                  <a:lnTo>
                    <a:pt x="264055" y="286295"/>
                  </a:lnTo>
                  <a:lnTo>
                    <a:pt x="264055" y="282604"/>
                  </a:lnTo>
                  <a:lnTo>
                    <a:pt x="264055" y="275223"/>
                  </a:lnTo>
                  <a:lnTo>
                    <a:pt x="264055" y="271532"/>
                  </a:lnTo>
                  <a:lnTo>
                    <a:pt x="267744" y="271532"/>
                  </a:lnTo>
                  <a:lnTo>
                    <a:pt x="267744" y="267842"/>
                  </a:lnTo>
                  <a:lnTo>
                    <a:pt x="271433" y="267842"/>
                  </a:lnTo>
                  <a:lnTo>
                    <a:pt x="275122" y="264151"/>
                  </a:lnTo>
                  <a:lnTo>
                    <a:pt x="278811" y="264151"/>
                  </a:lnTo>
                  <a:lnTo>
                    <a:pt x="282500" y="264151"/>
                  </a:lnTo>
                  <a:lnTo>
                    <a:pt x="282500" y="267842"/>
                  </a:lnTo>
                  <a:lnTo>
                    <a:pt x="286190" y="271532"/>
                  </a:lnTo>
                  <a:lnTo>
                    <a:pt x="286190" y="267842"/>
                  </a:lnTo>
                  <a:lnTo>
                    <a:pt x="289879" y="264151"/>
                  </a:lnTo>
                  <a:lnTo>
                    <a:pt x="293568" y="264151"/>
                  </a:lnTo>
                  <a:lnTo>
                    <a:pt x="297258" y="264151"/>
                  </a:lnTo>
                  <a:lnTo>
                    <a:pt x="300947" y="264151"/>
                  </a:lnTo>
                  <a:lnTo>
                    <a:pt x="304636" y="267842"/>
                  </a:lnTo>
                  <a:lnTo>
                    <a:pt x="308326" y="271532"/>
                  </a:lnTo>
                  <a:lnTo>
                    <a:pt x="312015" y="271532"/>
                  </a:lnTo>
                  <a:lnTo>
                    <a:pt x="315704" y="275223"/>
                  </a:lnTo>
                  <a:lnTo>
                    <a:pt x="315704" y="278914"/>
                  </a:lnTo>
                  <a:lnTo>
                    <a:pt x="323082" y="278914"/>
                  </a:lnTo>
                  <a:lnTo>
                    <a:pt x="326771" y="278914"/>
                  </a:lnTo>
                  <a:lnTo>
                    <a:pt x="330460" y="278914"/>
                  </a:lnTo>
                  <a:lnTo>
                    <a:pt x="334150" y="275223"/>
                  </a:lnTo>
                  <a:lnTo>
                    <a:pt x="341528" y="267842"/>
                  </a:lnTo>
                  <a:lnTo>
                    <a:pt x="345217" y="267842"/>
                  </a:lnTo>
                  <a:lnTo>
                    <a:pt x="352595" y="267842"/>
                  </a:lnTo>
                  <a:lnTo>
                    <a:pt x="352595" y="264151"/>
                  </a:lnTo>
                  <a:lnTo>
                    <a:pt x="356285" y="260461"/>
                  </a:lnTo>
                  <a:lnTo>
                    <a:pt x="359974" y="260461"/>
                  </a:lnTo>
                  <a:lnTo>
                    <a:pt x="359974" y="256771"/>
                  </a:lnTo>
                  <a:lnTo>
                    <a:pt x="367352" y="253080"/>
                  </a:lnTo>
                  <a:lnTo>
                    <a:pt x="367352" y="249390"/>
                  </a:lnTo>
                  <a:lnTo>
                    <a:pt x="371041" y="245699"/>
                  </a:lnTo>
                  <a:lnTo>
                    <a:pt x="371041" y="238318"/>
                  </a:lnTo>
                  <a:lnTo>
                    <a:pt x="371041" y="234627"/>
                  </a:lnTo>
                  <a:lnTo>
                    <a:pt x="374730" y="227246"/>
                  </a:lnTo>
                  <a:lnTo>
                    <a:pt x="378420" y="227246"/>
                  </a:lnTo>
                  <a:lnTo>
                    <a:pt x="382106" y="227246"/>
                  </a:lnTo>
                  <a:lnTo>
                    <a:pt x="385802" y="227246"/>
                  </a:lnTo>
                  <a:lnTo>
                    <a:pt x="389488" y="223555"/>
                  </a:lnTo>
                  <a:lnTo>
                    <a:pt x="393174" y="223555"/>
                  </a:lnTo>
                  <a:lnTo>
                    <a:pt x="389488" y="219865"/>
                  </a:lnTo>
                  <a:lnTo>
                    <a:pt x="393174" y="219865"/>
                  </a:lnTo>
                  <a:lnTo>
                    <a:pt x="396870" y="216174"/>
                  </a:lnTo>
                  <a:lnTo>
                    <a:pt x="400556" y="212484"/>
                  </a:lnTo>
                  <a:lnTo>
                    <a:pt x="396870" y="208793"/>
                  </a:lnTo>
                  <a:lnTo>
                    <a:pt x="393174" y="205102"/>
                  </a:lnTo>
                  <a:lnTo>
                    <a:pt x="393174" y="201412"/>
                  </a:lnTo>
                  <a:lnTo>
                    <a:pt x="393174" y="197721"/>
                  </a:lnTo>
                  <a:lnTo>
                    <a:pt x="393174" y="194031"/>
                  </a:lnTo>
                  <a:lnTo>
                    <a:pt x="393174" y="190340"/>
                  </a:lnTo>
                  <a:lnTo>
                    <a:pt x="393174" y="186649"/>
                  </a:lnTo>
                  <a:lnTo>
                    <a:pt x="393174" y="182959"/>
                  </a:lnTo>
                  <a:lnTo>
                    <a:pt x="389488" y="182959"/>
                  </a:lnTo>
                  <a:lnTo>
                    <a:pt x="385802" y="179268"/>
                  </a:lnTo>
                  <a:lnTo>
                    <a:pt x="378420" y="175578"/>
                  </a:lnTo>
                  <a:lnTo>
                    <a:pt x="367352" y="175578"/>
                  </a:lnTo>
                  <a:lnTo>
                    <a:pt x="363663" y="175578"/>
                  </a:lnTo>
                  <a:lnTo>
                    <a:pt x="359974" y="171888"/>
                  </a:lnTo>
                  <a:lnTo>
                    <a:pt x="352595" y="171888"/>
                  </a:lnTo>
                  <a:lnTo>
                    <a:pt x="348906" y="171888"/>
                  </a:lnTo>
                  <a:lnTo>
                    <a:pt x="345217" y="179268"/>
                  </a:lnTo>
                  <a:lnTo>
                    <a:pt x="341528" y="182959"/>
                  </a:lnTo>
                  <a:lnTo>
                    <a:pt x="341528" y="186649"/>
                  </a:lnTo>
                  <a:lnTo>
                    <a:pt x="337839" y="182959"/>
                  </a:lnTo>
                  <a:lnTo>
                    <a:pt x="334150" y="182959"/>
                  </a:lnTo>
                  <a:lnTo>
                    <a:pt x="330460" y="182959"/>
                  </a:lnTo>
                  <a:lnTo>
                    <a:pt x="326771" y="182959"/>
                  </a:lnTo>
                  <a:lnTo>
                    <a:pt x="319393" y="175578"/>
                  </a:lnTo>
                  <a:lnTo>
                    <a:pt x="315704" y="171888"/>
                  </a:lnTo>
                  <a:lnTo>
                    <a:pt x="312015" y="168197"/>
                  </a:lnTo>
                  <a:lnTo>
                    <a:pt x="315704" y="160816"/>
                  </a:lnTo>
                  <a:lnTo>
                    <a:pt x="312015" y="160816"/>
                  </a:lnTo>
                  <a:lnTo>
                    <a:pt x="308326" y="157126"/>
                  </a:lnTo>
                  <a:lnTo>
                    <a:pt x="304636" y="157126"/>
                  </a:lnTo>
                  <a:lnTo>
                    <a:pt x="312015" y="101766"/>
                  </a:lnTo>
                  <a:lnTo>
                    <a:pt x="304636" y="90695"/>
                  </a:lnTo>
                  <a:lnTo>
                    <a:pt x="293568" y="68552"/>
                  </a:lnTo>
                  <a:lnTo>
                    <a:pt x="293568" y="64861"/>
                  </a:lnTo>
                  <a:lnTo>
                    <a:pt x="289879" y="61171"/>
                  </a:lnTo>
                  <a:lnTo>
                    <a:pt x="278811" y="39027"/>
                  </a:lnTo>
                  <a:lnTo>
                    <a:pt x="275122" y="39027"/>
                  </a:lnTo>
                  <a:lnTo>
                    <a:pt x="275122" y="31646"/>
                  </a:lnTo>
                  <a:lnTo>
                    <a:pt x="271433" y="27955"/>
                  </a:lnTo>
                  <a:lnTo>
                    <a:pt x="267744" y="27955"/>
                  </a:lnTo>
                  <a:lnTo>
                    <a:pt x="264055" y="31646"/>
                  </a:lnTo>
                  <a:lnTo>
                    <a:pt x="260365" y="31646"/>
                  </a:lnTo>
                  <a:lnTo>
                    <a:pt x="256676" y="27955"/>
                  </a:lnTo>
                  <a:lnTo>
                    <a:pt x="252987" y="27955"/>
                  </a:lnTo>
                  <a:lnTo>
                    <a:pt x="249298" y="31646"/>
                  </a:lnTo>
                  <a:lnTo>
                    <a:pt x="241920" y="31646"/>
                  </a:lnTo>
                  <a:lnTo>
                    <a:pt x="234541" y="39027"/>
                  </a:lnTo>
                  <a:lnTo>
                    <a:pt x="234541" y="42718"/>
                  </a:lnTo>
                  <a:lnTo>
                    <a:pt x="227163" y="53789"/>
                  </a:lnTo>
                  <a:lnTo>
                    <a:pt x="223474" y="53789"/>
                  </a:lnTo>
                  <a:lnTo>
                    <a:pt x="216096" y="57480"/>
                  </a:lnTo>
                  <a:lnTo>
                    <a:pt x="212406" y="61171"/>
                  </a:lnTo>
                  <a:lnTo>
                    <a:pt x="197650" y="68552"/>
                  </a:lnTo>
                  <a:lnTo>
                    <a:pt x="193961" y="64861"/>
                  </a:lnTo>
                  <a:lnTo>
                    <a:pt x="182893" y="57480"/>
                  </a:lnTo>
                  <a:lnTo>
                    <a:pt x="179204" y="57480"/>
                  </a:lnTo>
                  <a:lnTo>
                    <a:pt x="168136" y="50099"/>
                  </a:lnTo>
                  <a:lnTo>
                    <a:pt x="164447" y="46408"/>
                  </a:lnTo>
                  <a:lnTo>
                    <a:pt x="160758" y="42718"/>
                  </a:lnTo>
                  <a:lnTo>
                    <a:pt x="157069" y="35336"/>
                  </a:lnTo>
                  <a:lnTo>
                    <a:pt x="157069" y="27955"/>
                  </a:lnTo>
                  <a:lnTo>
                    <a:pt x="157069" y="20574"/>
                  </a:lnTo>
                  <a:lnTo>
                    <a:pt x="160758" y="13193"/>
                  </a:lnTo>
                  <a:lnTo>
                    <a:pt x="160758" y="9502"/>
                  </a:lnTo>
                  <a:lnTo>
                    <a:pt x="157069" y="9502"/>
                  </a:lnTo>
                  <a:lnTo>
                    <a:pt x="157069" y="13193"/>
                  </a:lnTo>
                  <a:lnTo>
                    <a:pt x="153380" y="13193"/>
                  </a:lnTo>
                  <a:lnTo>
                    <a:pt x="149690" y="13193"/>
                  </a:lnTo>
                  <a:lnTo>
                    <a:pt x="149690" y="9502"/>
                  </a:lnTo>
                  <a:lnTo>
                    <a:pt x="149690" y="5812"/>
                  </a:lnTo>
                  <a:lnTo>
                    <a:pt x="142312" y="5812"/>
                  </a:lnTo>
                  <a:lnTo>
                    <a:pt x="134933" y="5812"/>
                  </a:lnTo>
                  <a:lnTo>
                    <a:pt x="131244" y="5812"/>
                  </a:lnTo>
                  <a:lnTo>
                    <a:pt x="127555" y="5812"/>
                  </a:lnTo>
                  <a:close/>
                  <a:moveTo>
                    <a:pt x="160758" y="9502"/>
                  </a:moveTo>
                  <a:lnTo>
                    <a:pt x="160758" y="5812"/>
                  </a:lnTo>
                  <a:lnTo>
                    <a:pt x="157069" y="5812"/>
                  </a:lnTo>
                  <a:lnTo>
                    <a:pt x="160758" y="9502"/>
                  </a:lnTo>
                  <a:close/>
                  <a:moveTo>
                    <a:pt x="275122" y="31646"/>
                  </a:moveTo>
                  <a:lnTo>
                    <a:pt x="278811" y="35336"/>
                  </a:lnTo>
                  <a:lnTo>
                    <a:pt x="278811" y="27955"/>
                  </a:lnTo>
                  <a:lnTo>
                    <a:pt x="275122" y="27955"/>
                  </a:lnTo>
                  <a:lnTo>
                    <a:pt x="275122" y="31646"/>
                  </a:lnTo>
                  <a:close/>
                  <a:moveTo>
                    <a:pt x="241920" y="481898"/>
                  </a:moveTo>
                  <a:lnTo>
                    <a:pt x="241920" y="485584"/>
                  </a:lnTo>
                  <a:lnTo>
                    <a:pt x="245609" y="485584"/>
                  </a:lnTo>
                  <a:lnTo>
                    <a:pt x="241920" y="481898"/>
                  </a:lnTo>
                  <a:close/>
                  <a:moveTo>
                    <a:pt x="304636" y="400703"/>
                  </a:moveTo>
                  <a:lnTo>
                    <a:pt x="304636" y="404394"/>
                  </a:lnTo>
                  <a:lnTo>
                    <a:pt x="304636" y="408084"/>
                  </a:lnTo>
                  <a:lnTo>
                    <a:pt x="300947" y="415465"/>
                  </a:lnTo>
                  <a:lnTo>
                    <a:pt x="304636" y="415465"/>
                  </a:lnTo>
                  <a:lnTo>
                    <a:pt x="308326" y="411775"/>
                  </a:lnTo>
                  <a:lnTo>
                    <a:pt x="312015" y="411775"/>
                  </a:lnTo>
                  <a:lnTo>
                    <a:pt x="315704" y="408084"/>
                  </a:lnTo>
                  <a:lnTo>
                    <a:pt x="319393" y="408084"/>
                  </a:lnTo>
                  <a:lnTo>
                    <a:pt x="319393" y="404394"/>
                  </a:lnTo>
                  <a:lnTo>
                    <a:pt x="312015" y="408084"/>
                  </a:lnTo>
                  <a:lnTo>
                    <a:pt x="308326" y="404394"/>
                  </a:lnTo>
                  <a:lnTo>
                    <a:pt x="304636" y="400703"/>
                  </a:lnTo>
                  <a:close/>
                  <a:moveTo>
                    <a:pt x="404242" y="529875"/>
                  </a:moveTo>
                  <a:lnTo>
                    <a:pt x="404242" y="533561"/>
                  </a:lnTo>
                  <a:lnTo>
                    <a:pt x="407929" y="533561"/>
                  </a:lnTo>
                  <a:lnTo>
                    <a:pt x="404242" y="529875"/>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30" name="Freeform: Shape 29">
              <a:extLst>
                <a:ext uri="{FF2B5EF4-FFF2-40B4-BE49-F238E27FC236}">
                  <a16:creationId xmlns:a16="http://schemas.microsoft.com/office/drawing/2014/main" id="{0A017B13-22C4-474E-A470-577C538344EB}"/>
                </a:ext>
              </a:extLst>
            </p:cNvPr>
            <p:cNvSpPr/>
            <p:nvPr/>
          </p:nvSpPr>
          <p:spPr>
            <a:xfrm>
              <a:off x="5104876" y="1864859"/>
              <a:ext cx="234089" cy="361775"/>
            </a:xfrm>
            <a:custGeom>
              <a:avLst/>
              <a:gdLst>
                <a:gd name="connsiteX0" fmla="*/ 79596 w 104775"/>
                <a:gd name="connsiteY0" fmla="*/ 116528 h 161925"/>
                <a:gd name="connsiteX1" fmla="*/ 72217 w 104775"/>
                <a:gd name="connsiteY1" fmla="*/ 123909 h 161925"/>
                <a:gd name="connsiteX2" fmla="*/ 68528 w 104775"/>
                <a:gd name="connsiteY2" fmla="*/ 127600 h 161925"/>
                <a:gd name="connsiteX3" fmla="*/ 64839 w 104775"/>
                <a:gd name="connsiteY3" fmla="*/ 127600 h 161925"/>
                <a:gd name="connsiteX4" fmla="*/ 61150 w 104775"/>
                <a:gd name="connsiteY4" fmla="*/ 127600 h 161925"/>
                <a:gd name="connsiteX5" fmla="*/ 57460 w 104775"/>
                <a:gd name="connsiteY5" fmla="*/ 127600 h 161925"/>
                <a:gd name="connsiteX6" fmla="*/ 46393 w 104775"/>
                <a:gd name="connsiteY6" fmla="*/ 142362 h 161925"/>
                <a:gd name="connsiteX7" fmla="*/ 46393 w 104775"/>
                <a:gd name="connsiteY7" fmla="*/ 146053 h 161925"/>
                <a:gd name="connsiteX8" fmla="*/ 46393 w 104775"/>
                <a:gd name="connsiteY8" fmla="*/ 146053 h 161925"/>
                <a:gd name="connsiteX9" fmla="*/ 46393 w 104775"/>
                <a:gd name="connsiteY9" fmla="*/ 149743 h 161925"/>
                <a:gd name="connsiteX10" fmla="*/ 42704 w 104775"/>
                <a:gd name="connsiteY10" fmla="*/ 149743 h 161925"/>
                <a:gd name="connsiteX11" fmla="*/ 39015 w 104775"/>
                <a:gd name="connsiteY11" fmla="*/ 149743 h 161925"/>
                <a:gd name="connsiteX12" fmla="*/ 35325 w 104775"/>
                <a:gd name="connsiteY12" fmla="*/ 146053 h 161925"/>
                <a:gd name="connsiteX13" fmla="*/ 27947 w 104775"/>
                <a:gd name="connsiteY13" fmla="*/ 142362 h 161925"/>
                <a:gd name="connsiteX14" fmla="*/ 24258 w 104775"/>
                <a:gd name="connsiteY14" fmla="*/ 142362 h 161925"/>
                <a:gd name="connsiteX15" fmla="*/ 27947 w 104775"/>
                <a:gd name="connsiteY15" fmla="*/ 146053 h 161925"/>
                <a:gd name="connsiteX16" fmla="*/ 31636 w 104775"/>
                <a:gd name="connsiteY16" fmla="*/ 149743 h 161925"/>
                <a:gd name="connsiteX17" fmla="*/ 31636 w 104775"/>
                <a:gd name="connsiteY17" fmla="*/ 149743 h 161925"/>
                <a:gd name="connsiteX18" fmla="*/ 35325 w 104775"/>
                <a:gd name="connsiteY18" fmla="*/ 153434 h 161925"/>
                <a:gd name="connsiteX19" fmla="*/ 39015 w 104775"/>
                <a:gd name="connsiteY19" fmla="*/ 153434 h 161925"/>
                <a:gd name="connsiteX20" fmla="*/ 31636 w 104775"/>
                <a:gd name="connsiteY20" fmla="*/ 153434 h 161925"/>
                <a:gd name="connsiteX21" fmla="*/ 31636 w 104775"/>
                <a:gd name="connsiteY21" fmla="*/ 153434 h 161925"/>
                <a:gd name="connsiteX22" fmla="*/ 31636 w 104775"/>
                <a:gd name="connsiteY22" fmla="*/ 157125 h 161925"/>
                <a:gd name="connsiteX23" fmla="*/ 31636 w 104775"/>
                <a:gd name="connsiteY23" fmla="*/ 157125 h 161925"/>
                <a:gd name="connsiteX24" fmla="*/ 31636 w 104775"/>
                <a:gd name="connsiteY24" fmla="*/ 157125 h 161925"/>
                <a:gd name="connsiteX25" fmla="*/ 24258 w 104775"/>
                <a:gd name="connsiteY25" fmla="*/ 157125 h 161925"/>
                <a:gd name="connsiteX26" fmla="*/ 20569 w 104775"/>
                <a:gd name="connsiteY26" fmla="*/ 157125 h 161925"/>
                <a:gd name="connsiteX27" fmla="*/ 24258 w 104775"/>
                <a:gd name="connsiteY27" fmla="*/ 157125 h 161925"/>
                <a:gd name="connsiteX28" fmla="*/ 20569 w 104775"/>
                <a:gd name="connsiteY28" fmla="*/ 160815 h 161925"/>
                <a:gd name="connsiteX29" fmla="*/ 16880 w 104775"/>
                <a:gd name="connsiteY29" fmla="*/ 160815 h 161925"/>
                <a:gd name="connsiteX30" fmla="*/ 13191 w 104775"/>
                <a:gd name="connsiteY30" fmla="*/ 164506 h 161925"/>
                <a:gd name="connsiteX31" fmla="*/ 9501 w 104775"/>
                <a:gd name="connsiteY31" fmla="*/ 164506 h 161925"/>
                <a:gd name="connsiteX32" fmla="*/ 9501 w 104775"/>
                <a:gd name="connsiteY32" fmla="*/ 160815 h 161925"/>
                <a:gd name="connsiteX33" fmla="*/ 9501 w 104775"/>
                <a:gd name="connsiteY33" fmla="*/ 153434 h 161925"/>
                <a:gd name="connsiteX34" fmla="*/ 5812 w 104775"/>
                <a:gd name="connsiteY34" fmla="*/ 138672 h 161925"/>
                <a:gd name="connsiteX35" fmla="*/ 5812 w 104775"/>
                <a:gd name="connsiteY35" fmla="*/ 131290 h 161925"/>
                <a:gd name="connsiteX36" fmla="*/ 5812 w 104775"/>
                <a:gd name="connsiteY36" fmla="*/ 127600 h 161925"/>
                <a:gd name="connsiteX37" fmla="*/ 9501 w 104775"/>
                <a:gd name="connsiteY37" fmla="*/ 116528 h 161925"/>
                <a:gd name="connsiteX38" fmla="*/ 9501 w 104775"/>
                <a:gd name="connsiteY38" fmla="*/ 112837 h 161925"/>
                <a:gd name="connsiteX39" fmla="*/ 9501 w 104775"/>
                <a:gd name="connsiteY39" fmla="*/ 112837 h 161925"/>
                <a:gd name="connsiteX40" fmla="*/ 13191 w 104775"/>
                <a:gd name="connsiteY40" fmla="*/ 101766 h 161925"/>
                <a:gd name="connsiteX41" fmla="*/ 16880 w 104775"/>
                <a:gd name="connsiteY41" fmla="*/ 90695 h 161925"/>
                <a:gd name="connsiteX42" fmla="*/ 20569 w 104775"/>
                <a:gd name="connsiteY42" fmla="*/ 79623 h 161925"/>
                <a:gd name="connsiteX43" fmla="*/ 24258 w 104775"/>
                <a:gd name="connsiteY43" fmla="*/ 75932 h 161925"/>
                <a:gd name="connsiteX44" fmla="*/ 31636 w 104775"/>
                <a:gd name="connsiteY44" fmla="*/ 64860 h 161925"/>
                <a:gd name="connsiteX45" fmla="*/ 39015 w 104775"/>
                <a:gd name="connsiteY45" fmla="*/ 50098 h 161925"/>
                <a:gd name="connsiteX46" fmla="*/ 50082 w 104775"/>
                <a:gd name="connsiteY46" fmla="*/ 39026 h 161925"/>
                <a:gd name="connsiteX47" fmla="*/ 50082 w 104775"/>
                <a:gd name="connsiteY47" fmla="*/ 39026 h 161925"/>
                <a:gd name="connsiteX48" fmla="*/ 50082 w 104775"/>
                <a:gd name="connsiteY48" fmla="*/ 39026 h 161925"/>
                <a:gd name="connsiteX49" fmla="*/ 50082 w 104775"/>
                <a:gd name="connsiteY49" fmla="*/ 42717 h 161925"/>
                <a:gd name="connsiteX50" fmla="*/ 50082 w 104775"/>
                <a:gd name="connsiteY50" fmla="*/ 46407 h 161925"/>
                <a:gd name="connsiteX51" fmla="*/ 53771 w 104775"/>
                <a:gd name="connsiteY51" fmla="*/ 42717 h 161925"/>
                <a:gd name="connsiteX52" fmla="*/ 53771 w 104775"/>
                <a:gd name="connsiteY52" fmla="*/ 42717 h 161925"/>
                <a:gd name="connsiteX53" fmla="*/ 53771 w 104775"/>
                <a:gd name="connsiteY53" fmla="*/ 42717 h 161925"/>
                <a:gd name="connsiteX54" fmla="*/ 57460 w 104775"/>
                <a:gd name="connsiteY54" fmla="*/ 39026 h 161925"/>
                <a:gd name="connsiteX55" fmla="*/ 57460 w 104775"/>
                <a:gd name="connsiteY55" fmla="*/ 39026 h 161925"/>
                <a:gd name="connsiteX56" fmla="*/ 61150 w 104775"/>
                <a:gd name="connsiteY56" fmla="*/ 35336 h 161925"/>
                <a:gd name="connsiteX57" fmla="*/ 64839 w 104775"/>
                <a:gd name="connsiteY57" fmla="*/ 35336 h 161925"/>
                <a:gd name="connsiteX58" fmla="*/ 64839 w 104775"/>
                <a:gd name="connsiteY58" fmla="*/ 39026 h 161925"/>
                <a:gd name="connsiteX59" fmla="*/ 64839 w 104775"/>
                <a:gd name="connsiteY59" fmla="*/ 35336 h 161925"/>
                <a:gd name="connsiteX60" fmla="*/ 64839 w 104775"/>
                <a:gd name="connsiteY60" fmla="*/ 35336 h 161925"/>
                <a:gd name="connsiteX61" fmla="*/ 61150 w 104775"/>
                <a:gd name="connsiteY61" fmla="*/ 35336 h 161925"/>
                <a:gd name="connsiteX62" fmla="*/ 61150 w 104775"/>
                <a:gd name="connsiteY62" fmla="*/ 31645 h 161925"/>
                <a:gd name="connsiteX63" fmla="*/ 57460 w 104775"/>
                <a:gd name="connsiteY63" fmla="*/ 35336 h 161925"/>
                <a:gd name="connsiteX64" fmla="*/ 57460 w 104775"/>
                <a:gd name="connsiteY64" fmla="*/ 35336 h 161925"/>
                <a:gd name="connsiteX65" fmla="*/ 50082 w 104775"/>
                <a:gd name="connsiteY65" fmla="*/ 39026 h 161925"/>
                <a:gd name="connsiteX66" fmla="*/ 50082 w 104775"/>
                <a:gd name="connsiteY66" fmla="*/ 39026 h 161925"/>
                <a:gd name="connsiteX67" fmla="*/ 61150 w 104775"/>
                <a:gd name="connsiteY67" fmla="*/ 16882 h 161925"/>
                <a:gd name="connsiteX68" fmla="*/ 64839 w 104775"/>
                <a:gd name="connsiteY68" fmla="*/ 13193 h 161925"/>
                <a:gd name="connsiteX69" fmla="*/ 72217 w 104775"/>
                <a:gd name="connsiteY69" fmla="*/ 9502 h 161925"/>
                <a:gd name="connsiteX70" fmla="*/ 72217 w 104775"/>
                <a:gd name="connsiteY70" fmla="*/ 5812 h 161925"/>
                <a:gd name="connsiteX71" fmla="*/ 75906 w 104775"/>
                <a:gd name="connsiteY71" fmla="*/ 5812 h 161925"/>
                <a:gd name="connsiteX72" fmla="*/ 79596 w 104775"/>
                <a:gd name="connsiteY72" fmla="*/ 5812 h 161925"/>
                <a:gd name="connsiteX73" fmla="*/ 79596 w 104775"/>
                <a:gd name="connsiteY73" fmla="*/ 5812 h 161925"/>
                <a:gd name="connsiteX74" fmla="*/ 83285 w 104775"/>
                <a:gd name="connsiteY74" fmla="*/ 9502 h 161925"/>
                <a:gd name="connsiteX75" fmla="*/ 86974 w 104775"/>
                <a:gd name="connsiteY75" fmla="*/ 13193 h 161925"/>
                <a:gd name="connsiteX76" fmla="*/ 86974 w 104775"/>
                <a:gd name="connsiteY76" fmla="*/ 16882 h 161925"/>
                <a:gd name="connsiteX77" fmla="*/ 86974 w 104775"/>
                <a:gd name="connsiteY77" fmla="*/ 20573 h 161925"/>
                <a:gd name="connsiteX78" fmla="*/ 90663 w 104775"/>
                <a:gd name="connsiteY78" fmla="*/ 20573 h 161925"/>
                <a:gd name="connsiteX79" fmla="*/ 86974 w 104775"/>
                <a:gd name="connsiteY79" fmla="*/ 20573 h 161925"/>
                <a:gd name="connsiteX80" fmla="*/ 86974 w 104775"/>
                <a:gd name="connsiteY80" fmla="*/ 20573 h 161925"/>
                <a:gd name="connsiteX81" fmla="*/ 86974 w 104775"/>
                <a:gd name="connsiteY81" fmla="*/ 24264 h 161925"/>
                <a:gd name="connsiteX82" fmla="*/ 90663 w 104775"/>
                <a:gd name="connsiteY82" fmla="*/ 27954 h 161925"/>
                <a:gd name="connsiteX83" fmla="*/ 90663 w 104775"/>
                <a:gd name="connsiteY83" fmla="*/ 27954 h 161925"/>
                <a:gd name="connsiteX84" fmla="*/ 94352 w 104775"/>
                <a:gd name="connsiteY84" fmla="*/ 31645 h 161925"/>
                <a:gd name="connsiteX85" fmla="*/ 101730 w 104775"/>
                <a:gd name="connsiteY85" fmla="*/ 42717 h 161925"/>
                <a:gd name="connsiteX86" fmla="*/ 101730 w 104775"/>
                <a:gd name="connsiteY86" fmla="*/ 46407 h 161925"/>
                <a:gd name="connsiteX87" fmla="*/ 101730 w 104775"/>
                <a:gd name="connsiteY87" fmla="*/ 46407 h 161925"/>
                <a:gd name="connsiteX88" fmla="*/ 101730 w 104775"/>
                <a:gd name="connsiteY88" fmla="*/ 46407 h 161925"/>
                <a:gd name="connsiteX89" fmla="*/ 101730 w 104775"/>
                <a:gd name="connsiteY89" fmla="*/ 46407 h 161925"/>
                <a:gd name="connsiteX90" fmla="*/ 98041 w 104775"/>
                <a:gd name="connsiteY90" fmla="*/ 50098 h 161925"/>
                <a:gd name="connsiteX91" fmla="*/ 98041 w 104775"/>
                <a:gd name="connsiteY91" fmla="*/ 72242 h 161925"/>
                <a:gd name="connsiteX92" fmla="*/ 98041 w 104775"/>
                <a:gd name="connsiteY92" fmla="*/ 83313 h 161925"/>
                <a:gd name="connsiteX93" fmla="*/ 98041 w 104775"/>
                <a:gd name="connsiteY93" fmla="*/ 87004 h 161925"/>
                <a:gd name="connsiteX94" fmla="*/ 94352 w 104775"/>
                <a:gd name="connsiteY94" fmla="*/ 94385 h 161925"/>
                <a:gd name="connsiteX95" fmla="*/ 90663 w 104775"/>
                <a:gd name="connsiteY95" fmla="*/ 94385 h 161925"/>
                <a:gd name="connsiteX96" fmla="*/ 86974 w 104775"/>
                <a:gd name="connsiteY96" fmla="*/ 98075 h 161925"/>
                <a:gd name="connsiteX97" fmla="*/ 86974 w 104775"/>
                <a:gd name="connsiteY97" fmla="*/ 98075 h 161925"/>
                <a:gd name="connsiteX98" fmla="*/ 86974 w 104775"/>
                <a:gd name="connsiteY98" fmla="*/ 98075 h 161925"/>
                <a:gd name="connsiteX99" fmla="*/ 86974 w 104775"/>
                <a:gd name="connsiteY99" fmla="*/ 105456 h 161925"/>
                <a:gd name="connsiteX100" fmla="*/ 79596 w 104775"/>
                <a:gd name="connsiteY100" fmla="*/ 112837 h 161925"/>
                <a:gd name="connsiteX101" fmla="*/ 79596 w 104775"/>
                <a:gd name="connsiteY101" fmla="*/ 116528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04775" h="161925">
                  <a:moveTo>
                    <a:pt x="79596" y="116528"/>
                  </a:moveTo>
                  <a:lnTo>
                    <a:pt x="72217" y="123909"/>
                  </a:lnTo>
                  <a:lnTo>
                    <a:pt x="68528" y="127600"/>
                  </a:lnTo>
                  <a:lnTo>
                    <a:pt x="64839" y="127600"/>
                  </a:lnTo>
                  <a:lnTo>
                    <a:pt x="61150" y="127600"/>
                  </a:lnTo>
                  <a:lnTo>
                    <a:pt x="57460" y="127600"/>
                  </a:lnTo>
                  <a:lnTo>
                    <a:pt x="46393" y="142362"/>
                  </a:lnTo>
                  <a:lnTo>
                    <a:pt x="46393" y="146053"/>
                  </a:lnTo>
                  <a:lnTo>
                    <a:pt x="46393" y="146053"/>
                  </a:lnTo>
                  <a:lnTo>
                    <a:pt x="46393" y="149743"/>
                  </a:lnTo>
                  <a:lnTo>
                    <a:pt x="42704" y="149743"/>
                  </a:lnTo>
                  <a:lnTo>
                    <a:pt x="39015" y="149743"/>
                  </a:lnTo>
                  <a:lnTo>
                    <a:pt x="35325" y="146053"/>
                  </a:lnTo>
                  <a:lnTo>
                    <a:pt x="27947" y="142362"/>
                  </a:lnTo>
                  <a:lnTo>
                    <a:pt x="24258" y="142362"/>
                  </a:lnTo>
                  <a:lnTo>
                    <a:pt x="27947" y="146053"/>
                  </a:lnTo>
                  <a:lnTo>
                    <a:pt x="31636" y="149743"/>
                  </a:lnTo>
                  <a:lnTo>
                    <a:pt x="31636" y="149743"/>
                  </a:lnTo>
                  <a:lnTo>
                    <a:pt x="35325" y="153434"/>
                  </a:lnTo>
                  <a:lnTo>
                    <a:pt x="39015" y="153434"/>
                  </a:lnTo>
                  <a:lnTo>
                    <a:pt x="31636" y="153434"/>
                  </a:lnTo>
                  <a:lnTo>
                    <a:pt x="31636" y="153434"/>
                  </a:lnTo>
                  <a:lnTo>
                    <a:pt x="31636" y="157125"/>
                  </a:lnTo>
                  <a:lnTo>
                    <a:pt x="31636" y="157125"/>
                  </a:lnTo>
                  <a:lnTo>
                    <a:pt x="31636" y="157125"/>
                  </a:lnTo>
                  <a:lnTo>
                    <a:pt x="24258" y="157125"/>
                  </a:lnTo>
                  <a:lnTo>
                    <a:pt x="20569" y="157125"/>
                  </a:lnTo>
                  <a:lnTo>
                    <a:pt x="24258" y="157125"/>
                  </a:lnTo>
                  <a:lnTo>
                    <a:pt x="20569" y="160815"/>
                  </a:lnTo>
                  <a:lnTo>
                    <a:pt x="16880" y="160815"/>
                  </a:lnTo>
                  <a:lnTo>
                    <a:pt x="13191" y="164506"/>
                  </a:lnTo>
                  <a:lnTo>
                    <a:pt x="9501" y="164506"/>
                  </a:lnTo>
                  <a:lnTo>
                    <a:pt x="9501" y="160815"/>
                  </a:lnTo>
                  <a:lnTo>
                    <a:pt x="9501" y="153434"/>
                  </a:lnTo>
                  <a:lnTo>
                    <a:pt x="5812" y="138672"/>
                  </a:lnTo>
                  <a:lnTo>
                    <a:pt x="5812" y="131290"/>
                  </a:lnTo>
                  <a:lnTo>
                    <a:pt x="5812" y="127600"/>
                  </a:lnTo>
                  <a:lnTo>
                    <a:pt x="9501" y="116528"/>
                  </a:lnTo>
                  <a:lnTo>
                    <a:pt x="9501" y="112837"/>
                  </a:lnTo>
                  <a:lnTo>
                    <a:pt x="9501" y="112837"/>
                  </a:lnTo>
                  <a:lnTo>
                    <a:pt x="13191" y="101766"/>
                  </a:lnTo>
                  <a:lnTo>
                    <a:pt x="16880" y="90695"/>
                  </a:lnTo>
                  <a:lnTo>
                    <a:pt x="20569" y="79623"/>
                  </a:lnTo>
                  <a:lnTo>
                    <a:pt x="24258" y="75932"/>
                  </a:lnTo>
                  <a:lnTo>
                    <a:pt x="31636" y="64860"/>
                  </a:lnTo>
                  <a:lnTo>
                    <a:pt x="39015" y="50098"/>
                  </a:lnTo>
                  <a:lnTo>
                    <a:pt x="50082" y="39026"/>
                  </a:lnTo>
                  <a:lnTo>
                    <a:pt x="50082" y="39026"/>
                  </a:lnTo>
                  <a:lnTo>
                    <a:pt x="50082" y="39026"/>
                  </a:lnTo>
                  <a:lnTo>
                    <a:pt x="50082" y="42717"/>
                  </a:lnTo>
                  <a:lnTo>
                    <a:pt x="50082" y="46407"/>
                  </a:lnTo>
                  <a:lnTo>
                    <a:pt x="53771" y="42717"/>
                  </a:lnTo>
                  <a:lnTo>
                    <a:pt x="53771" y="42717"/>
                  </a:lnTo>
                  <a:lnTo>
                    <a:pt x="53771" y="42717"/>
                  </a:lnTo>
                  <a:lnTo>
                    <a:pt x="57460" y="39026"/>
                  </a:lnTo>
                  <a:lnTo>
                    <a:pt x="57460" y="39026"/>
                  </a:lnTo>
                  <a:lnTo>
                    <a:pt x="61150" y="35336"/>
                  </a:lnTo>
                  <a:lnTo>
                    <a:pt x="64839" y="35336"/>
                  </a:lnTo>
                  <a:lnTo>
                    <a:pt x="64839" y="39026"/>
                  </a:lnTo>
                  <a:lnTo>
                    <a:pt x="64839" y="35336"/>
                  </a:lnTo>
                  <a:lnTo>
                    <a:pt x="64839" y="35336"/>
                  </a:lnTo>
                  <a:lnTo>
                    <a:pt x="61150" y="35336"/>
                  </a:lnTo>
                  <a:lnTo>
                    <a:pt x="61150" y="31645"/>
                  </a:lnTo>
                  <a:lnTo>
                    <a:pt x="57460" y="35336"/>
                  </a:lnTo>
                  <a:lnTo>
                    <a:pt x="57460" y="35336"/>
                  </a:lnTo>
                  <a:lnTo>
                    <a:pt x="50082" y="39026"/>
                  </a:lnTo>
                  <a:lnTo>
                    <a:pt x="50082" y="39026"/>
                  </a:lnTo>
                  <a:lnTo>
                    <a:pt x="61150" y="16882"/>
                  </a:lnTo>
                  <a:lnTo>
                    <a:pt x="64839" y="13193"/>
                  </a:lnTo>
                  <a:lnTo>
                    <a:pt x="72217" y="9502"/>
                  </a:lnTo>
                  <a:lnTo>
                    <a:pt x="72217" y="5812"/>
                  </a:lnTo>
                  <a:lnTo>
                    <a:pt x="75906" y="5812"/>
                  </a:lnTo>
                  <a:lnTo>
                    <a:pt x="79596" y="5812"/>
                  </a:lnTo>
                  <a:lnTo>
                    <a:pt x="79596" y="5812"/>
                  </a:lnTo>
                  <a:lnTo>
                    <a:pt x="83285" y="9502"/>
                  </a:lnTo>
                  <a:lnTo>
                    <a:pt x="86974" y="13193"/>
                  </a:lnTo>
                  <a:lnTo>
                    <a:pt x="86974" y="16882"/>
                  </a:lnTo>
                  <a:lnTo>
                    <a:pt x="86974" y="20573"/>
                  </a:lnTo>
                  <a:lnTo>
                    <a:pt x="90663" y="20573"/>
                  </a:lnTo>
                  <a:lnTo>
                    <a:pt x="86974" y="20573"/>
                  </a:lnTo>
                  <a:lnTo>
                    <a:pt x="86974" y="20573"/>
                  </a:lnTo>
                  <a:lnTo>
                    <a:pt x="86974" y="24264"/>
                  </a:lnTo>
                  <a:lnTo>
                    <a:pt x="90663" y="27954"/>
                  </a:lnTo>
                  <a:lnTo>
                    <a:pt x="90663" y="27954"/>
                  </a:lnTo>
                  <a:lnTo>
                    <a:pt x="94352" y="31645"/>
                  </a:lnTo>
                  <a:lnTo>
                    <a:pt x="101730" y="42717"/>
                  </a:lnTo>
                  <a:lnTo>
                    <a:pt x="101730" y="46407"/>
                  </a:lnTo>
                  <a:lnTo>
                    <a:pt x="101730" y="46407"/>
                  </a:lnTo>
                  <a:lnTo>
                    <a:pt x="101730" y="46407"/>
                  </a:lnTo>
                  <a:lnTo>
                    <a:pt x="101730" y="46407"/>
                  </a:lnTo>
                  <a:lnTo>
                    <a:pt x="98041" y="50098"/>
                  </a:lnTo>
                  <a:lnTo>
                    <a:pt x="98041" y="72242"/>
                  </a:lnTo>
                  <a:lnTo>
                    <a:pt x="98041" y="83313"/>
                  </a:lnTo>
                  <a:lnTo>
                    <a:pt x="98041" y="87004"/>
                  </a:lnTo>
                  <a:lnTo>
                    <a:pt x="94352" y="94385"/>
                  </a:lnTo>
                  <a:lnTo>
                    <a:pt x="90663" y="94385"/>
                  </a:lnTo>
                  <a:lnTo>
                    <a:pt x="86974" y="98075"/>
                  </a:lnTo>
                  <a:lnTo>
                    <a:pt x="86974" y="98075"/>
                  </a:lnTo>
                  <a:lnTo>
                    <a:pt x="86974" y="98075"/>
                  </a:lnTo>
                  <a:lnTo>
                    <a:pt x="86974" y="105456"/>
                  </a:lnTo>
                  <a:lnTo>
                    <a:pt x="79596" y="112837"/>
                  </a:lnTo>
                  <a:lnTo>
                    <a:pt x="79596" y="116528"/>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31" name="Freeform: Shape 30">
              <a:extLst>
                <a:ext uri="{FF2B5EF4-FFF2-40B4-BE49-F238E27FC236}">
                  <a16:creationId xmlns:a16="http://schemas.microsoft.com/office/drawing/2014/main" id="{81409FE0-831E-49A6-ABC9-05C91B3CFF06}"/>
                </a:ext>
              </a:extLst>
            </p:cNvPr>
            <p:cNvSpPr/>
            <p:nvPr/>
          </p:nvSpPr>
          <p:spPr>
            <a:xfrm>
              <a:off x="5467542" y="2194679"/>
              <a:ext cx="148966" cy="127685"/>
            </a:xfrm>
            <a:custGeom>
              <a:avLst/>
              <a:gdLst>
                <a:gd name="connsiteX0" fmla="*/ 64839 w 66675"/>
                <a:gd name="connsiteY0" fmla="*/ 5812 h 57150"/>
                <a:gd name="connsiteX1" fmla="*/ 64839 w 66675"/>
                <a:gd name="connsiteY1" fmla="*/ 5812 h 57150"/>
                <a:gd name="connsiteX2" fmla="*/ 13191 w 66675"/>
                <a:gd name="connsiteY2" fmla="*/ 50098 h 57150"/>
                <a:gd name="connsiteX3" fmla="*/ 9501 w 66675"/>
                <a:gd name="connsiteY3" fmla="*/ 53789 h 57150"/>
                <a:gd name="connsiteX4" fmla="*/ 5812 w 66675"/>
                <a:gd name="connsiteY4" fmla="*/ 53789 h 57150"/>
                <a:gd name="connsiteX5" fmla="*/ 5812 w 66675"/>
                <a:gd name="connsiteY5" fmla="*/ 50098 h 57150"/>
                <a:gd name="connsiteX6" fmla="*/ 13191 w 66675"/>
                <a:gd name="connsiteY6" fmla="*/ 50098 h 57150"/>
                <a:gd name="connsiteX7" fmla="*/ 64839 w 66675"/>
                <a:gd name="connsiteY7" fmla="*/ 581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57150">
                  <a:moveTo>
                    <a:pt x="64839" y="5812"/>
                  </a:moveTo>
                  <a:lnTo>
                    <a:pt x="64839" y="5812"/>
                  </a:lnTo>
                  <a:lnTo>
                    <a:pt x="13191" y="50098"/>
                  </a:lnTo>
                  <a:lnTo>
                    <a:pt x="9501" y="53789"/>
                  </a:lnTo>
                  <a:lnTo>
                    <a:pt x="5812" y="53789"/>
                  </a:lnTo>
                  <a:lnTo>
                    <a:pt x="5812" y="50098"/>
                  </a:lnTo>
                  <a:lnTo>
                    <a:pt x="13191" y="50098"/>
                  </a:lnTo>
                  <a:lnTo>
                    <a:pt x="64839" y="5812"/>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32" name="Freeform: Shape 31">
              <a:extLst>
                <a:ext uri="{FF2B5EF4-FFF2-40B4-BE49-F238E27FC236}">
                  <a16:creationId xmlns:a16="http://schemas.microsoft.com/office/drawing/2014/main" id="{A818B496-F6B0-472C-BE04-62895706257F}"/>
                </a:ext>
              </a:extLst>
            </p:cNvPr>
            <p:cNvSpPr/>
            <p:nvPr/>
          </p:nvSpPr>
          <p:spPr>
            <a:xfrm>
              <a:off x="6036262" y="4363234"/>
              <a:ext cx="744828" cy="1830151"/>
            </a:xfrm>
            <a:custGeom>
              <a:avLst/>
              <a:gdLst>
                <a:gd name="connsiteX0" fmla="*/ 153382 w 333375"/>
                <a:gd name="connsiteY0" fmla="*/ 5812 h 819150"/>
                <a:gd name="connsiteX1" fmla="*/ 149696 w 333375"/>
                <a:gd name="connsiteY1" fmla="*/ 9507 h 819150"/>
                <a:gd name="connsiteX2" fmla="*/ 153382 w 333375"/>
                <a:gd name="connsiteY2" fmla="*/ 13193 h 819150"/>
                <a:gd name="connsiteX3" fmla="*/ 153382 w 333375"/>
                <a:gd name="connsiteY3" fmla="*/ 16889 h 819150"/>
                <a:gd name="connsiteX4" fmla="*/ 153382 w 333375"/>
                <a:gd name="connsiteY4" fmla="*/ 20575 h 819150"/>
                <a:gd name="connsiteX5" fmla="*/ 149696 w 333375"/>
                <a:gd name="connsiteY5" fmla="*/ 20575 h 819150"/>
                <a:gd name="connsiteX6" fmla="*/ 153382 w 333375"/>
                <a:gd name="connsiteY6" fmla="*/ 24271 h 819150"/>
                <a:gd name="connsiteX7" fmla="*/ 157069 w 333375"/>
                <a:gd name="connsiteY7" fmla="*/ 24271 h 819150"/>
                <a:gd name="connsiteX8" fmla="*/ 157069 w 333375"/>
                <a:gd name="connsiteY8" fmla="*/ 27957 h 819150"/>
                <a:gd name="connsiteX9" fmla="*/ 157069 w 333375"/>
                <a:gd name="connsiteY9" fmla="*/ 31653 h 819150"/>
                <a:gd name="connsiteX10" fmla="*/ 160755 w 333375"/>
                <a:gd name="connsiteY10" fmla="*/ 39025 h 819150"/>
                <a:gd name="connsiteX11" fmla="*/ 160755 w 333375"/>
                <a:gd name="connsiteY11" fmla="*/ 46407 h 819150"/>
                <a:gd name="connsiteX12" fmla="*/ 164450 w 333375"/>
                <a:gd name="connsiteY12" fmla="*/ 50103 h 819150"/>
                <a:gd name="connsiteX13" fmla="*/ 171823 w 333375"/>
                <a:gd name="connsiteY13" fmla="*/ 50103 h 819150"/>
                <a:gd name="connsiteX14" fmla="*/ 179205 w 333375"/>
                <a:gd name="connsiteY14" fmla="*/ 53789 h 819150"/>
                <a:gd name="connsiteX15" fmla="*/ 186587 w 333375"/>
                <a:gd name="connsiteY15" fmla="*/ 53789 h 819150"/>
                <a:gd name="connsiteX16" fmla="*/ 190273 w 333375"/>
                <a:gd name="connsiteY16" fmla="*/ 57485 h 819150"/>
                <a:gd name="connsiteX17" fmla="*/ 193959 w 333375"/>
                <a:gd name="connsiteY17" fmla="*/ 57485 h 819150"/>
                <a:gd name="connsiteX18" fmla="*/ 197655 w 333375"/>
                <a:gd name="connsiteY18" fmla="*/ 68553 h 819150"/>
                <a:gd name="connsiteX19" fmla="*/ 197655 w 333375"/>
                <a:gd name="connsiteY19" fmla="*/ 75935 h 819150"/>
                <a:gd name="connsiteX20" fmla="*/ 197655 w 333375"/>
                <a:gd name="connsiteY20" fmla="*/ 79630 h 819150"/>
                <a:gd name="connsiteX21" fmla="*/ 201341 w 333375"/>
                <a:gd name="connsiteY21" fmla="*/ 79630 h 819150"/>
                <a:gd name="connsiteX22" fmla="*/ 201341 w 333375"/>
                <a:gd name="connsiteY22" fmla="*/ 87003 h 819150"/>
                <a:gd name="connsiteX23" fmla="*/ 201341 w 333375"/>
                <a:gd name="connsiteY23" fmla="*/ 90698 h 819150"/>
                <a:gd name="connsiteX24" fmla="*/ 201341 w 333375"/>
                <a:gd name="connsiteY24" fmla="*/ 94384 h 819150"/>
                <a:gd name="connsiteX25" fmla="*/ 201341 w 333375"/>
                <a:gd name="connsiteY25" fmla="*/ 105462 h 819150"/>
                <a:gd name="connsiteX26" fmla="*/ 205027 w 333375"/>
                <a:gd name="connsiteY26" fmla="*/ 109148 h 819150"/>
                <a:gd name="connsiteX27" fmla="*/ 205027 w 333375"/>
                <a:gd name="connsiteY27" fmla="*/ 112844 h 819150"/>
                <a:gd name="connsiteX28" fmla="*/ 216095 w 333375"/>
                <a:gd name="connsiteY28" fmla="*/ 116530 h 819150"/>
                <a:gd name="connsiteX29" fmla="*/ 219791 w 333375"/>
                <a:gd name="connsiteY29" fmla="*/ 120226 h 819150"/>
                <a:gd name="connsiteX30" fmla="*/ 223477 w 333375"/>
                <a:gd name="connsiteY30" fmla="*/ 123912 h 819150"/>
                <a:gd name="connsiteX31" fmla="*/ 227163 w 333375"/>
                <a:gd name="connsiteY31" fmla="*/ 127608 h 819150"/>
                <a:gd name="connsiteX32" fmla="*/ 227163 w 333375"/>
                <a:gd name="connsiteY32" fmla="*/ 131294 h 819150"/>
                <a:gd name="connsiteX33" fmla="*/ 230859 w 333375"/>
                <a:gd name="connsiteY33" fmla="*/ 134980 h 819150"/>
                <a:gd name="connsiteX34" fmla="*/ 230859 w 333375"/>
                <a:gd name="connsiteY34" fmla="*/ 146058 h 819150"/>
                <a:gd name="connsiteX35" fmla="*/ 230859 w 333375"/>
                <a:gd name="connsiteY35" fmla="*/ 149744 h 819150"/>
                <a:gd name="connsiteX36" fmla="*/ 234545 w 333375"/>
                <a:gd name="connsiteY36" fmla="*/ 153439 h 819150"/>
                <a:gd name="connsiteX37" fmla="*/ 238231 w 333375"/>
                <a:gd name="connsiteY37" fmla="*/ 160821 h 819150"/>
                <a:gd name="connsiteX38" fmla="*/ 238231 w 333375"/>
                <a:gd name="connsiteY38" fmla="*/ 164508 h 819150"/>
                <a:gd name="connsiteX39" fmla="*/ 238231 w 333375"/>
                <a:gd name="connsiteY39" fmla="*/ 168203 h 819150"/>
                <a:gd name="connsiteX40" fmla="*/ 238231 w 333375"/>
                <a:gd name="connsiteY40" fmla="*/ 171890 h 819150"/>
                <a:gd name="connsiteX41" fmla="*/ 238231 w 333375"/>
                <a:gd name="connsiteY41" fmla="*/ 175585 h 819150"/>
                <a:gd name="connsiteX42" fmla="*/ 241917 w 333375"/>
                <a:gd name="connsiteY42" fmla="*/ 179271 h 819150"/>
                <a:gd name="connsiteX43" fmla="*/ 238231 w 333375"/>
                <a:gd name="connsiteY43" fmla="*/ 179271 h 819150"/>
                <a:gd name="connsiteX44" fmla="*/ 234545 w 333375"/>
                <a:gd name="connsiteY44" fmla="*/ 179271 h 819150"/>
                <a:gd name="connsiteX45" fmla="*/ 234545 w 333375"/>
                <a:gd name="connsiteY45" fmla="*/ 182957 h 819150"/>
                <a:gd name="connsiteX46" fmla="*/ 227163 w 333375"/>
                <a:gd name="connsiteY46" fmla="*/ 175585 h 819150"/>
                <a:gd name="connsiteX47" fmla="*/ 223477 w 333375"/>
                <a:gd name="connsiteY47" fmla="*/ 171890 h 819150"/>
                <a:gd name="connsiteX48" fmla="*/ 219791 w 333375"/>
                <a:gd name="connsiteY48" fmla="*/ 171890 h 819150"/>
                <a:gd name="connsiteX49" fmla="*/ 219791 w 333375"/>
                <a:gd name="connsiteY49" fmla="*/ 168203 h 819150"/>
                <a:gd name="connsiteX50" fmla="*/ 212409 w 333375"/>
                <a:gd name="connsiteY50" fmla="*/ 171890 h 819150"/>
                <a:gd name="connsiteX51" fmla="*/ 205027 w 333375"/>
                <a:gd name="connsiteY51" fmla="*/ 175585 h 819150"/>
                <a:gd name="connsiteX52" fmla="*/ 193959 w 333375"/>
                <a:gd name="connsiteY52" fmla="*/ 179271 h 819150"/>
                <a:gd name="connsiteX53" fmla="*/ 186587 w 333375"/>
                <a:gd name="connsiteY53" fmla="*/ 182957 h 819150"/>
                <a:gd name="connsiteX54" fmla="*/ 179205 w 333375"/>
                <a:gd name="connsiteY54" fmla="*/ 182957 h 819150"/>
                <a:gd name="connsiteX55" fmla="*/ 171823 w 333375"/>
                <a:gd name="connsiteY55" fmla="*/ 182957 h 819150"/>
                <a:gd name="connsiteX56" fmla="*/ 164450 w 333375"/>
                <a:gd name="connsiteY56" fmla="*/ 179271 h 819150"/>
                <a:gd name="connsiteX57" fmla="*/ 153382 w 333375"/>
                <a:gd name="connsiteY57" fmla="*/ 175585 h 819150"/>
                <a:gd name="connsiteX58" fmla="*/ 138628 w 333375"/>
                <a:gd name="connsiteY58" fmla="*/ 171890 h 819150"/>
                <a:gd name="connsiteX59" fmla="*/ 142314 w 333375"/>
                <a:gd name="connsiteY59" fmla="*/ 205103 h 819150"/>
                <a:gd name="connsiteX60" fmla="*/ 146000 w 333375"/>
                <a:gd name="connsiteY60" fmla="*/ 216181 h 819150"/>
                <a:gd name="connsiteX61" fmla="*/ 146000 w 333375"/>
                <a:gd name="connsiteY61" fmla="*/ 223563 h 819150"/>
                <a:gd name="connsiteX62" fmla="*/ 149696 w 333375"/>
                <a:gd name="connsiteY62" fmla="*/ 230935 h 819150"/>
                <a:gd name="connsiteX63" fmla="*/ 157069 w 333375"/>
                <a:gd name="connsiteY63" fmla="*/ 264158 h 819150"/>
                <a:gd name="connsiteX64" fmla="*/ 157069 w 333375"/>
                <a:gd name="connsiteY64" fmla="*/ 267844 h 819150"/>
                <a:gd name="connsiteX65" fmla="*/ 171823 w 333375"/>
                <a:gd name="connsiteY65" fmla="*/ 293676 h 819150"/>
                <a:gd name="connsiteX66" fmla="*/ 179205 w 333375"/>
                <a:gd name="connsiteY66" fmla="*/ 308440 h 819150"/>
                <a:gd name="connsiteX67" fmla="*/ 186587 w 333375"/>
                <a:gd name="connsiteY67" fmla="*/ 319517 h 819150"/>
                <a:gd name="connsiteX68" fmla="*/ 179205 w 333375"/>
                <a:gd name="connsiteY68" fmla="*/ 323204 h 819150"/>
                <a:gd name="connsiteX69" fmla="*/ 168137 w 333375"/>
                <a:gd name="connsiteY69" fmla="*/ 334272 h 819150"/>
                <a:gd name="connsiteX70" fmla="*/ 160755 w 333375"/>
                <a:gd name="connsiteY70" fmla="*/ 341654 h 819150"/>
                <a:gd name="connsiteX71" fmla="*/ 157069 w 333375"/>
                <a:gd name="connsiteY71" fmla="*/ 341654 h 819150"/>
                <a:gd name="connsiteX72" fmla="*/ 153382 w 333375"/>
                <a:gd name="connsiteY72" fmla="*/ 345349 h 819150"/>
                <a:gd name="connsiteX73" fmla="*/ 149696 w 333375"/>
                <a:gd name="connsiteY73" fmla="*/ 345349 h 819150"/>
                <a:gd name="connsiteX74" fmla="*/ 138628 w 333375"/>
                <a:gd name="connsiteY74" fmla="*/ 349035 h 819150"/>
                <a:gd name="connsiteX75" fmla="*/ 109110 w 333375"/>
                <a:gd name="connsiteY75" fmla="*/ 356417 h 819150"/>
                <a:gd name="connsiteX76" fmla="*/ 105424 w 333375"/>
                <a:gd name="connsiteY76" fmla="*/ 360113 h 819150"/>
                <a:gd name="connsiteX77" fmla="*/ 101728 w 333375"/>
                <a:gd name="connsiteY77" fmla="*/ 360113 h 819150"/>
                <a:gd name="connsiteX78" fmla="*/ 94356 w 333375"/>
                <a:gd name="connsiteY78" fmla="*/ 363799 h 819150"/>
                <a:gd name="connsiteX79" fmla="*/ 75906 w 333375"/>
                <a:gd name="connsiteY79" fmla="*/ 367495 h 819150"/>
                <a:gd name="connsiteX80" fmla="*/ 72220 w 333375"/>
                <a:gd name="connsiteY80" fmla="*/ 367495 h 819150"/>
                <a:gd name="connsiteX81" fmla="*/ 57466 w 333375"/>
                <a:gd name="connsiteY81" fmla="*/ 374867 h 819150"/>
                <a:gd name="connsiteX82" fmla="*/ 46398 w 333375"/>
                <a:gd name="connsiteY82" fmla="*/ 385945 h 819150"/>
                <a:gd name="connsiteX83" fmla="*/ 42702 w 333375"/>
                <a:gd name="connsiteY83" fmla="*/ 393327 h 819150"/>
                <a:gd name="connsiteX84" fmla="*/ 35330 w 333375"/>
                <a:gd name="connsiteY84" fmla="*/ 408090 h 819150"/>
                <a:gd name="connsiteX85" fmla="*/ 31634 w 333375"/>
                <a:gd name="connsiteY85" fmla="*/ 426540 h 819150"/>
                <a:gd name="connsiteX86" fmla="*/ 31634 w 333375"/>
                <a:gd name="connsiteY86" fmla="*/ 441304 h 819150"/>
                <a:gd name="connsiteX87" fmla="*/ 20566 w 333375"/>
                <a:gd name="connsiteY87" fmla="*/ 444990 h 819150"/>
                <a:gd name="connsiteX88" fmla="*/ 16880 w 333375"/>
                <a:gd name="connsiteY88" fmla="*/ 444990 h 819150"/>
                <a:gd name="connsiteX89" fmla="*/ 5812 w 333375"/>
                <a:gd name="connsiteY89" fmla="*/ 448686 h 819150"/>
                <a:gd name="connsiteX90" fmla="*/ 13193 w 333375"/>
                <a:gd name="connsiteY90" fmla="*/ 452372 h 819150"/>
                <a:gd name="connsiteX91" fmla="*/ 42702 w 333375"/>
                <a:gd name="connsiteY91" fmla="*/ 463450 h 819150"/>
                <a:gd name="connsiteX92" fmla="*/ 46398 w 333375"/>
                <a:gd name="connsiteY92" fmla="*/ 467136 h 819150"/>
                <a:gd name="connsiteX93" fmla="*/ 46398 w 333375"/>
                <a:gd name="connsiteY93" fmla="*/ 470822 h 819150"/>
                <a:gd name="connsiteX94" fmla="*/ 50084 w 333375"/>
                <a:gd name="connsiteY94" fmla="*/ 478204 h 819150"/>
                <a:gd name="connsiteX95" fmla="*/ 53770 w 333375"/>
                <a:gd name="connsiteY95" fmla="*/ 474518 h 819150"/>
                <a:gd name="connsiteX96" fmla="*/ 57466 w 333375"/>
                <a:gd name="connsiteY96" fmla="*/ 478204 h 819150"/>
                <a:gd name="connsiteX97" fmla="*/ 61152 w 333375"/>
                <a:gd name="connsiteY97" fmla="*/ 478204 h 819150"/>
                <a:gd name="connsiteX98" fmla="*/ 64838 w 333375"/>
                <a:gd name="connsiteY98" fmla="*/ 478204 h 819150"/>
                <a:gd name="connsiteX99" fmla="*/ 72220 w 333375"/>
                <a:gd name="connsiteY99" fmla="*/ 478204 h 819150"/>
                <a:gd name="connsiteX100" fmla="*/ 75906 w 333375"/>
                <a:gd name="connsiteY100" fmla="*/ 478204 h 819150"/>
                <a:gd name="connsiteX101" fmla="*/ 79602 w 333375"/>
                <a:gd name="connsiteY101" fmla="*/ 478204 h 819150"/>
                <a:gd name="connsiteX102" fmla="*/ 86974 w 333375"/>
                <a:gd name="connsiteY102" fmla="*/ 478204 h 819150"/>
                <a:gd name="connsiteX103" fmla="*/ 90660 w 333375"/>
                <a:gd name="connsiteY103" fmla="*/ 474518 h 819150"/>
                <a:gd name="connsiteX104" fmla="*/ 94356 w 333375"/>
                <a:gd name="connsiteY104" fmla="*/ 474518 h 819150"/>
                <a:gd name="connsiteX105" fmla="*/ 98042 w 333375"/>
                <a:gd name="connsiteY105" fmla="*/ 478204 h 819150"/>
                <a:gd name="connsiteX106" fmla="*/ 105424 w 333375"/>
                <a:gd name="connsiteY106" fmla="*/ 478204 h 819150"/>
                <a:gd name="connsiteX107" fmla="*/ 109110 w 333375"/>
                <a:gd name="connsiteY107" fmla="*/ 481900 h 819150"/>
                <a:gd name="connsiteX108" fmla="*/ 109110 w 333375"/>
                <a:gd name="connsiteY108" fmla="*/ 485586 h 819150"/>
                <a:gd name="connsiteX109" fmla="*/ 112796 w 333375"/>
                <a:gd name="connsiteY109" fmla="*/ 485586 h 819150"/>
                <a:gd name="connsiteX110" fmla="*/ 109110 w 333375"/>
                <a:gd name="connsiteY110" fmla="*/ 489281 h 819150"/>
                <a:gd name="connsiteX111" fmla="*/ 105424 w 333375"/>
                <a:gd name="connsiteY111" fmla="*/ 489281 h 819150"/>
                <a:gd name="connsiteX112" fmla="*/ 105424 w 333375"/>
                <a:gd name="connsiteY112" fmla="*/ 492968 h 819150"/>
                <a:gd name="connsiteX113" fmla="*/ 109110 w 333375"/>
                <a:gd name="connsiteY113" fmla="*/ 492968 h 819150"/>
                <a:gd name="connsiteX114" fmla="*/ 109110 w 333375"/>
                <a:gd name="connsiteY114" fmla="*/ 496663 h 819150"/>
                <a:gd name="connsiteX115" fmla="*/ 109110 w 333375"/>
                <a:gd name="connsiteY115" fmla="*/ 500350 h 819150"/>
                <a:gd name="connsiteX116" fmla="*/ 109110 w 333375"/>
                <a:gd name="connsiteY116" fmla="*/ 504045 h 819150"/>
                <a:gd name="connsiteX117" fmla="*/ 112796 w 333375"/>
                <a:gd name="connsiteY117" fmla="*/ 504045 h 819150"/>
                <a:gd name="connsiteX118" fmla="*/ 112796 w 333375"/>
                <a:gd name="connsiteY118" fmla="*/ 500350 h 819150"/>
                <a:gd name="connsiteX119" fmla="*/ 116492 w 333375"/>
                <a:gd name="connsiteY119" fmla="*/ 500350 h 819150"/>
                <a:gd name="connsiteX120" fmla="*/ 120178 w 333375"/>
                <a:gd name="connsiteY120" fmla="*/ 500350 h 819150"/>
                <a:gd name="connsiteX121" fmla="*/ 120178 w 333375"/>
                <a:gd name="connsiteY121" fmla="*/ 496663 h 819150"/>
                <a:gd name="connsiteX122" fmla="*/ 123864 w 333375"/>
                <a:gd name="connsiteY122" fmla="*/ 496663 h 819150"/>
                <a:gd name="connsiteX123" fmla="*/ 127560 w 333375"/>
                <a:gd name="connsiteY123" fmla="*/ 496663 h 819150"/>
                <a:gd name="connsiteX124" fmla="*/ 127560 w 333375"/>
                <a:gd name="connsiteY124" fmla="*/ 492968 h 819150"/>
                <a:gd name="connsiteX125" fmla="*/ 134933 w 333375"/>
                <a:gd name="connsiteY125" fmla="*/ 489281 h 819150"/>
                <a:gd name="connsiteX126" fmla="*/ 134933 w 333375"/>
                <a:gd name="connsiteY126" fmla="*/ 492968 h 819150"/>
                <a:gd name="connsiteX127" fmla="*/ 138628 w 333375"/>
                <a:gd name="connsiteY127" fmla="*/ 492968 h 819150"/>
                <a:gd name="connsiteX128" fmla="*/ 138628 w 333375"/>
                <a:gd name="connsiteY128" fmla="*/ 500350 h 819150"/>
                <a:gd name="connsiteX129" fmla="*/ 149696 w 333375"/>
                <a:gd name="connsiteY129" fmla="*/ 507731 h 819150"/>
                <a:gd name="connsiteX130" fmla="*/ 146000 w 333375"/>
                <a:gd name="connsiteY130" fmla="*/ 511427 h 819150"/>
                <a:gd name="connsiteX131" fmla="*/ 142314 w 333375"/>
                <a:gd name="connsiteY131" fmla="*/ 515113 h 819150"/>
                <a:gd name="connsiteX132" fmla="*/ 142314 w 333375"/>
                <a:gd name="connsiteY132" fmla="*/ 518799 h 819150"/>
                <a:gd name="connsiteX133" fmla="*/ 134933 w 333375"/>
                <a:gd name="connsiteY133" fmla="*/ 522495 h 819150"/>
                <a:gd name="connsiteX134" fmla="*/ 131246 w 333375"/>
                <a:gd name="connsiteY134" fmla="*/ 522495 h 819150"/>
                <a:gd name="connsiteX135" fmla="*/ 131246 w 333375"/>
                <a:gd name="connsiteY135" fmla="*/ 526181 h 819150"/>
                <a:gd name="connsiteX136" fmla="*/ 127560 w 333375"/>
                <a:gd name="connsiteY136" fmla="*/ 529877 h 819150"/>
                <a:gd name="connsiteX137" fmla="*/ 123864 w 333375"/>
                <a:gd name="connsiteY137" fmla="*/ 533563 h 819150"/>
                <a:gd name="connsiteX138" fmla="*/ 127560 w 333375"/>
                <a:gd name="connsiteY138" fmla="*/ 537259 h 819150"/>
                <a:gd name="connsiteX139" fmla="*/ 134933 w 333375"/>
                <a:gd name="connsiteY139" fmla="*/ 537259 h 819150"/>
                <a:gd name="connsiteX140" fmla="*/ 138628 w 333375"/>
                <a:gd name="connsiteY140" fmla="*/ 540945 h 819150"/>
                <a:gd name="connsiteX141" fmla="*/ 138628 w 333375"/>
                <a:gd name="connsiteY141" fmla="*/ 544641 h 819150"/>
                <a:gd name="connsiteX142" fmla="*/ 134933 w 333375"/>
                <a:gd name="connsiteY142" fmla="*/ 548327 h 819150"/>
                <a:gd name="connsiteX143" fmla="*/ 134933 w 333375"/>
                <a:gd name="connsiteY143" fmla="*/ 552023 h 819150"/>
                <a:gd name="connsiteX144" fmla="*/ 131246 w 333375"/>
                <a:gd name="connsiteY144" fmla="*/ 552023 h 819150"/>
                <a:gd name="connsiteX145" fmla="*/ 127560 w 333375"/>
                <a:gd name="connsiteY145" fmla="*/ 548327 h 819150"/>
                <a:gd name="connsiteX146" fmla="*/ 123864 w 333375"/>
                <a:gd name="connsiteY146" fmla="*/ 548327 h 819150"/>
                <a:gd name="connsiteX147" fmla="*/ 120178 w 333375"/>
                <a:gd name="connsiteY147" fmla="*/ 548327 h 819150"/>
                <a:gd name="connsiteX148" fmla="*/ 120178 w 333375"/>
                <a:gd name="connsiteY148" fmla="*/ 552023 h 819150"/>
                <a:gd name="connsiteX149" fmla="*/ 120178 w 333375"/>
                <a:gd name="connsiteY149" fmla="*/ 555709 h 819150"/>
                <a:gd name="connsiteX150" fmla="*/ 123864 w 333375"/>
                <a:gd name="connsiteY150" fmla="*/ 559395 h 819150"/>
                <a:gd name="connsiteX151" fmla="*/ 123864 w 333375"/>
                <a:gd name="connsiteY151" fmla="*/ 563091 h 819150"/>
                <a:gd name="connsiteX152" fmla="*/ 120178 w 333375"/>
                <a:gd name="connsiteY152" fmla="*/ 563091 h 819150"/>
                <a:gd name="connsiteX153" fmla="*/ 120178 w 333375"/>
                <a:gd name="connsiteY153" fmla="*/ 566777 h 819150"/>
                <a:gd name="connsiteX154" fmla="*/ 123864 w 333375"/>
                <a:gd name="connsiteY154" fmla="*/ 574159 h 819150"/>
                <a:gd name="connsiteX155" fmla="*/ 120178 w 333375"/>
                <a:gd name="connsiteY155" fmla="*/ 574159 h 819150"/>
                <a:gd name="connsiteX156" fmla="*/ 120178 w 333375"/>
                <a:gd name="connsiteY156" fmla="*/ 577854 h 819150"/>
                <a:gd name="connsiteX157" fmla="*/ 116492 w 333375"/>
                <a:gd name="connsiteY157" fmla="*/ 577854 h 819150"/>
                <a:gd name="connsiteX158" fmla="*/ 109110 w 333375"/>
                <a:gd name="connsiteY158" fmla="*/ 574159 h 819150"/>
                <a:gd name="connsiteX159" fmla="*/ 105424 w 333375"/>
                <a:gd name="connsiteY159" fmla="*/ 585236 h 819150"/>
                <a:gd name="connsiteX160" fmla="*/ 105424 w 333375"/>
                <a:gd name="connsiteY160" fmla="*/ 592618 h 819150"/>
                <a:gd name="connsiteX161" fmla="*/ 101728 w 333375"/>
                <a:gd name="connsiteY161" fmla="*/ 596304 h 819150"/>
                <a:gd name="connsiteX162" fmla="*/ 101728 w 333375"/>
                <a:gd name="connsiteY162" fmla="*/ 600000 h 819150"/>
                <a:gd name="connsiteX163" fmla="*/ 105424 w 333375"/>
                <a:gd name="connsiteY163" fmla="*/ 600000 h 819150"/>
                <a:gd name="connsiteX164" fmla="*/ 109110 w 333375"/>
                <a:gd name="connsiteY164" fmla="*/ 603686 h 819150"/>
                <a:gd name="connsiteX165" fmla="*/ 109110 w 333375"/>
                <a:gd name="connsiteY165" fmla="*/ 607373 h 819150"/>
                <a:gd name="connsiteX166" fmla="*/ 105424 w 333375"/>
                <a:gd name="connsiteY166" fmla="*/ 614754 h 819150"/>
                <a:gd name="connsiteX167" fmla="*/ 105424 w 333375"/>
                <a:gd name="connsiteY167" fmla="*/ 618450 h 819150"/>
                <a:gd name="connsiteX168" fmla="*/ 105424 w 333375"/>
                <a:gd name="connsiteY168" fmla="*/ 622136 h 819150"/>
                <a:gd name="connsiteX169" fmla="*/ 105424 w 333375"/>
                <a:gd name="connsiteY169" fmla="*/ 625832 h 819150"/>
                <a:gd name="connsiteX170" fmla="*/ 101728 w 333375"/>
                <a:gd name="connsiteY170" fmla="*/ 629518 h 819150"/>
                <a:gd name="connsiteX171" fmla="*/ 98042 w 333375"/>
                <a:gd name="connsiteY171" fmla="*/ 633214 h 819150"/>
                <a:gd name="connsiteX172" fmla="*/ 94356 w 333375"/>
                <a:gd name="connsiteY172" fmla="*/ 640596 h 819150"/>
                <a:gd name="connsiteX173" fmla="*/ 90660 w 333375"/>
                <a:gd name="connsiteY173" fmla="*/ 640596 h 819150"/>
                <a:gd name="connsiteX174" fmla="*/ 86974 w 333375"/>
                <a:gd name="connsiteY174" fmla="*/ 647977 h 819150"/>
                <a:gd name="connsiteX175" fmla="*/ 83288 w 333375"/>
                <a:gd name="connsiteY175" fmla="*/ 655350 h 819150"/>
                <a:gd name="connsiteX176" fmla="*/ 83288 w 333375"/>
                <a:gd name="connsiteY176" fmla="*/ 659046 h 819150"/>
                <a:gd name="connsiteX177" fmla="*/ 86974 w 333375"/>
                <a:gd name="connsiteY177" fmla="*/ 659046 h 819150"/>
                <a:gd name="connsiteX178" fmla="*/ 90660 w 333375"/>
                <a:gd name="connsiteY178" fmla="*/ 659046 h 819150"/>
                <a:gd name="connsiteX179" fmla="*/ 94356 w 333375"/>
                <a:gd name="connsiteY179" fmla="*/ 655350 h 819150"/>
                <a:gd name="connsiteX180" fmla="*/ 98042 w 333375"/>
                <a:gd name="connsiteY180" fmla="*/ 655350 h 819150"/>
                <a:gd name="connsiteX181" fmla="*/ 101728 w 333375"/>
                <a:gd name="connsiteY181" fmla="*/ 659046 h 819150"/>
                <a:gd name="connsiteX182" fmla="*/ 101728 w 333375"/>
                <a:gd name="connsiteY182" fmla="*/ 662732 h 819150"/>
                <a:gd name="connsiteX183" fmla="*/ 94356 w 333375"/>
                <a:gd name="connsiteY183" fmla="*/ 666428 h 819150"/>
                <a:gd name="connsiteX184" fmla="*/ 94356 w 333375"/>
                <a:gd name="connsiteY184" fmla="*/ 670114 h 819150"/>
                <a:gd name="connsiteX185" fmla="*/ 94356 w 333375"/>
                <a:gd name="connsiteY185" fmla="*/ 673809 h 819150"/>
                <a:gd name="connsiteX186" fmla="*/ 86974 w 333375"/>
                <a:gd name="connsiteY186" fmla="*/ 681191 h 819150"/>
                <a:gd name="connsiteX187" fmla="*/ 86974 w 333375"/>
                <a:gd name="connsiteY187" fmla="*/ 684877 h 819150"/>
                <a:gd name="connsiteX188" fmla="*/ 83288 w 333375"/>
                <a:gd name="connsiteY188" fmla="*/ 688573 h 819150"/>
                <a:gd name="connsiteX189" fmla="*/ 86974 w 333375"/>
                <a:gd name="connsiteY189" fmla="*/ 692259 h 819150"/>
                <a:gd name="connsiteX190" fmla="*/ 83288 w 333375"/>
                <a:gd name="connsiteY190" fmla="*/ 695955 h 819150"/>
                <a:gd name="connsiteX191" fmla="*/ 79602 w 333375"/>
                <a:gd name="connsiteY191" fmla="*/ 695955 h 819150"/>
                <a:gd name="connsiteX192" fmla="*/ 75906 w 333375"/>
                <a:gd name="connsiteY192" fmla="*/ 695955 h 819150"/>
                <a:gd name="connsiteX193" fmla="*/ 72220 w 333375"/>
                <a:gd name="connsiteY193" fmla="*/ 695955 h 819150"/>
                <a:gd name="connsiteX194" fmla="*/ 68534 w 333375"/>
                <a:gd name="connsiteY194" fmla="*/ 699641 h 819150"/>
                <a:gd name="connsiteX195" fmla="*/ 68534 w 333375"/>
                <a:gd name="connsiteY195" fmla="*/ 703327 h 819150"/>
                <a:gd name="connsiteX196" fmla="*/ 68534 w 333375"/>
                <a:gd name="connsiteY196" fmla="*/ 707023 h 819150"/>
                <a:gd name="connsiteX197" fmla="*/ 61152 w 333375"/>
                <a:gd name="connsiteY197" fmla="*/ 714405 h 819150"/>
                <a:gd name="connsiteX198" fmla="*/ 61152 w 333375"/>
                <a:gd name="connsiteY198" fmla="*/ 718091 h 819150"/>
                <a:gd name="connsiteX199" fmla="*/ 57466 w 333375"/>
                <a:gd name="connsiteY199" fmla="*/ 718091 h 819150"/>
                <a:gd name="connsiteX200" fmla="*/ 53770 w 333375"/>
                <a:gd name="connsiteY200" fmla="*/ 721787 h 819150"/>
                <a:gd name="connsiteX201" fmla="*/ 50084 w 333375"/>
                <a:gd name="connsiteY201" fmla="*/ 721787 h 819150"/>
                <a:gd name="connsiteX202" fmla="*/ 50084 w 333375"/>
                <a:gd name="connsiteY202" fmla="*/ 725473 h 819150"/>
                <a:gd name="connsiteX203" fmla="*/ 46398 w 333375"/>
                <a:gd name="connsiteY203" fmla="*/ 725473 h 819150"/>
                <a:gd name="connsiteX204" fmla="*/ 42702 w 333375"/>
                <a:gd name="connsiteY204" fmla="*/ 725473 h 819150"/>
                <a:gd name="connsiteX205" fmla="*/ 46398 w 333375"/>
                <a:gd name="connsiteY205" fmla="*/ 729169 h 819150"/>
                <a:gd name="connsiteX206" fmla="*/ 42702 w 333375"/>
                <a:gd name="connsiteY206" fmla="*/ 732855 h 819150"/>
                <a:gd name="connsiteX207" fmla="*/ 42702 w 333375"/>
                <a:gd name="connsiteY207" fmla="*/ 736551 h 819150"/>
                <a:gd name="connsiteX208" fmla="*/ 42702 w 333375"/>
                <a:gd name="connsiteY208" fmla="*/ 740237 h 819150"/>
                <a:gd name="connsiteX209" fmla="*/ 42702 w 333375"/>
                <a:gd name="connsiteY209" fmla="*/ 743932 h 819150"/>
                <a:gd name="connsiteX210" fmla="*/ 42702 w 333375"/>
                <a:gd name="connsiteY210" fmla="*/ 747619 h 819150"/>
                <a:gd name="connsiteX211" fmla="*/ 42702 w 333375"/>
                <a:gd name="connsiteY211" fmla="*/ 751305 h 819150"/>
                <a:gd name="connsiteX212" fmla="*/ 42702 w 333375"/>
                <a:gd name="connsiteY212" fmla="*/ 755000 h 819150"/>
                <a:gd name="connsiteX213" fmla="*/ 46398 w 333375"/>
                <a:gd name="connsiteY213" fmla="*/ 755000 h 819150"/>
                <a:gd name="connsiteX214" fmla="*/ 46398 w 333375"/>
                <a:gd name="connsiteY214" fmla="*/ 758687 h 819150"/>
                <a:gd name="connsiteX215" fmla="*/ 46398 w 333375"/>
                <a:gd name="connsiteY215" fmla="*/ 762382 h 819150"/>
                <a:gd name="connsiteX216" fmla="*/ 50084 w 333375"/>
                <a:gd name="connsiteY216" fmla="*/ 762382 h 819150"/>
                <a:gd name="connsiteX217" fmla="*/ 50084 w 333375"/>
                <a:gd name="connsiteY217" fmla="*/ 766069 h 819150"/>
                <a:gd name="connsiteX218" fmla="*/ 53770 w 333375"/>
                <a:gd name="connsiteY218" fmla="*/ 769764 h 819150"/>
                <a:gd name="connsiteX219" fmla="*/ 57466 w 333375"/>
                <a:gd name="connsiteY219" fmla="*/ 769764 h 819150"/>
                <a:gd name="connsiteX220" fmla="*/ 61152 w 333375"/>
                <a:gd name="connsiteY220" fmla="*/ 769764 h 819150"/>
                <a:gd name="connsiteX221" fmla="*/ 61152 w 333375"/>
                <a:gd name="connsiteY221" fmla="*/ 773450 h 819150"/>
                <a:gd name="connsiteX222" fmla="*/ 68534 w 333375"/>
                <a:gd name="connsiteY222" fmla="*/ 773450 h 819150"/>
                <a:gd name="connsiteX223" fmla="*/ 72220 w 333375"/>
                <a:gd name="connsiteY223" fmla="*/ 777146 h 819150"/>
                <a:gd name="connsiteX224" fmla="*/ 72220 w 333375"/>
                <a:gd name="connsiteY224" fmla="*/ 780832 h 819150"/>
                <a:gd name="connsiteX225" fmla="*/ 68534 w 333375"/>
                <a:gd name="connsiteY225" fmla="*/ 784528 h 819150"/>
                <a:gd name="connsiteX226" fmla="*/ 72220 w 333375"/>
                <a:gd name="connsiteY226" fmla="*/ 795596 h 819150"/>
                <a:gd name="connsiteX227" fmla="*/ 72220 w 333375"/>
                <a:gd name="connsiteY227" fmla="*/ 802978 h 819150"/>
                <a:gd name="connsiteX228" fmla="*/ 64838 w 333375"/>
                <a:gd name="connsiteY228" fmla="*/ 814046 h 819150"/>
                <a:gd name="connsiteX229" fmla="*/ 64838 w 333375"/>
                <a:gd name="connsiteY229" fmla="*/ 817742 h 819150"/>
                <a:gd name="connsiteX230" fmla="*/ 68534 w 333375"/>
                <a:gd name="connsiteY230" fmla="*/ 817742 h 819150"/>
                <a:gd name="connsiteX231" fmla="*/ 72220 w 333375"/>
                <a:gd name="connsiteY231" fmla="*/ 817742 h 819150"/>
                <a:gd name="connsiteX232" fmla="*/ 75906 w 333375"/>
                <a:gd name="connsiteY232" fmla="*/ 814046 h 819150"/>
                <a:gd name="connsiteX233" fmla="*/ 79602 w 333375"/>
                <a:gd name="connsiteY233" fmla="*/ 814046 h 819150"/>
                <a:gd name="connsiteX234" fmla="*/ 83288 w 333375"/>
                <a:gd name="connsiteY234" fmla="*/ 810360 h 819150"/>
                <a:gd name="connsiteX235" fmla="*/ 83288 w 333375"/>
                <a:gd name="connsiteY235" fmla="*/ 814046 h 819150"/>
                <a:gd name="connsiteX236" fmla="*/ 86974 w 333375"/>
                <a:gd name="connsiteY236" fmla="*/ 817742 h 819150"/>
                <a:gd name="connsiteX237" fmla="*/ 90660 w 333375"/>
                <a:gd name="connsiteY237" fmla="*/ 817742 h 819150"/>
                <a:gd name="connsiteX238" fmla="*/ 94356 w 333375"/>
                <a:gd name="connsiteY238" fmla="*/ 814046 h 819150"/>
                <a:gd name="connsiteX239" fmla="*/ 94356 w 333375"/>
                <a:gd name="connsiteY239" fmla="*/ 810360 h 819150"/>
                <a:gd name="connsiteX240" fmla="*/ 98042 w 333375"/>
                <a:gd name="connsiteY240" fmla="*/ 806664 h 819150"/>
                <a:gd name="connsiteX241" fmla="*/ 105424 w 333375"/>
                <a:gd name="connsiteY241" fmla="*/ 795596 h 819150"/>
                <a:gd name="connsiteX242" fmla="*/ 112796 w 333375"/>
                <a:gd name="connsiteY242" fmla="*/ 795596 h 819150"/>
                <a:gd name="connsiteX243" fmla="*/ 112796 w 333375"/>
                <a:gd name="connsiteY243" fmla="*/ 802978 h 819150"/>
                <a:gd name="connsiteX244" fmla="*/ 116492 w 333375"/>
                <a:gd name="connsiteY244" fmla="*/ 810360 h 819150"/>
                <a:gd name="connsiteX245" fmla="*/ 120178 w 333375"/>
                <a:gd name="connsiteY245" fmla="*/ 806664 h 819150"/>
                <a:gd name="connsiteX246" fmla="*/ 127560 w 333375"/>
                <a:gd name="connsiteY246" fmla="*/ 817742 h 819150"/>
                <a:gd name="connsiteX247" fmla="*/ 131246 w 333375"/>
                <a:gd name="connsiteY247" fmla="*/ 817742 h 819150"/>
                <a:gd name="connsiteX248" fmla="*/ 134933 w 333375"/>
                <a:gd name="connsiteY248" fmla="*/ 814046 h 819150"/>
                <a:gd name="connsiteX249" fmla="*/ 138628 w 333375"/>
                <a:gd name="connsiteY249" fmla="*/ 817742 h 819150"/>
                <a:gd name="connsiteX250" fmla="*/ 142314 w 333375"/>
                <a:gd name="connsiteY250" fmla="*/ 814046 h 819150"/>
                <a:gd name="connsiteX251" fmla="*/ 146000 w 333375"/>
                <a:gd name="connsiteY251" fmla="*/ 810360 h 819150"/>
                <a:gd name="connsiteX252" fmla="*/ 146000 w 333375"/>
                <a:gd name="connsiteY252" fmla="*/ 814046 h 819150"/>
                <a:gd name="connsiteX253" fmla="*/ 146000 w 333375"/>
                <a:gd name="connsiteY253" fmla="*/ 821428 h 819150"/>
                <a:gd name="connsiteX254" fmla="*/ 149696 w 333375"/>
                <a:gd name="connsiteY254" fmla="*/ 817742 h 819150"/>
                <a:gd name="connsiteX255" fmla="*/ 153382 w 333375"/>
                <a:gd name="connsiteY255" fmla="*/ 814046 h 819150"/>
                <a:gd name="connsiteX256" fmla="*/ 153382 w 333375"/>
                <a:gd name="connsiteY256" fmla="*/ 810360 h 819150"/>
                <a:gd name="connsiteX257" fmla="*/ 157069 w 333375"/>
                <a:gd name="connsiteY257" fmla="*/ 810360 h 819150"/>
                <a:gd name="connsiteX258" fmla="*/ 160755 w 333375"/>
                <a:gd name="connsiteY258" fmla="*/ 810360 h 819150"/>
                <a:gd name="connsiteX259" fmla="*/ 168137 w 333375"/>
                <a:gd name="connsiteY259" fmla="*/ 806664 h 819150"/>
                <a:gd name="connsiteX260" fmla="*/ 168137 w 333375"/>
                <a:gd name="connsiteY260" fmla="*/ 810360 h 819150"/>
                <a:gd name="connsiteX261" fmla="*/ 168137 w 333375"/>
                <a:gd name="connsiteY261" fmla="*/ 817742 h 819150"/>
                <a:gd name="connsiteX262" fmla="*/ 175518 w 333375"/>
                <a:gd name="connsiteY262" fmla="*/ 821428 h 819150"/>
                <a:gd name="connsiteX263" fmla="*/ 175518 w 333375"/>
                <a:gd name="connsiteY263" fmla="*/ 817742 h 819150"/>
                <a:gd name="connsiteX264" fmla="*/ 179205 w 333375"/>
                <a:gd name="connsiteY264" fmla="*/ 817742 h 819150"/>
                <a:gd name="connsiteX265" fmla="*/ 182891 w 333375"/>
                <a:gd name="connsiteY265" fmla="*/ 817742 h 819150"/>
                <a:gd name="connsiteX266" fmla="*/ 182891 w 333375"/>
                <a:gd name="connsiteY266" fmla="*/ 821428 h 819150"/>
                <a:gd name="connsiteX267" fmla="*/ 190273 w 333375"/>
                <a:gd name="connsiteY267" fmla="*/ 817742 h 819150"/>
                <a:gd name="connsiteX268" fmla="*/ 193959 w 333375"/>
                <a:gd name="connsiteY268" fmla="*/ 814046 h 819150"/>
                <a:gd name="connsiteX269" fmla="*/ 197655 w 333375"/>
                <a:gd name="connsiteY269" fmla="*/ 814046 h 819150"/>
                <a:gd name="connsiteX270" fmla="*/ 201341 w 333375"/>
                <a:gd name="connsiteY270" fmla="*/ 814046 h 819150"/>
                <a:gd name="connsiteX271" fmla="*/ 205027 w 333375"/>
                <a:gd name="connsiteY271" fmla="*/ 814046 h 819150"/>
                <a:gd name="connsiteX272" fmla="*/ 208723 w 333375"/>
                <a:gd name="connsiteY272" fmla="*/ 814046 h 819150"/>
                <a:gd name="connsiteX273" fmla="*/ 212409 w 333375"/>
                <a:gd name="connsiteY273" fmla="*/ 817742 h 819150"/>
                <a:gd name="connsiteX274" fmla="*/ 219791 w 333375"/>
                <a:gd name="connsiteY274" fmla="*/ 821428 h 819150"/>
                <a:gd name="connsiteX275" fmla="*/ 223477 w 333375"/>
                <a:gd name="connsiteY275" fmla="*/ 821428 h 819150"/>
                <a:gd name="connsiteX276" fmla="*/ 223477 w 333375"/>
                <a:gd name="connsiteY276" fmla="*/ 817742 h 819150"/>
                <a:gd name="connsiteX277" fmla="*/ 230859 w 333375"/>
                <a:gd name="connsiteY277" fmla="*/ 817742 h 819150"/>
                <a:gd name="connsiteX278" fmla="*/ 234545 w 333375"/>
                <a:gd name="connsiteY278" fmla="*/ 817742 h 819150"/>
                <a:gd name="connsiteX279" fmla="*/ 234545 w 333375"/>
                <a:gd name="connsiteY279" fmla="*/ 810360 h 819150"/>
                <a:gd name="connsiteX280" fmla="*/ 238231 w 333375"/>
                <a:gd name="connsiteY280" fmla="*/ 802978 h 819150"/>
                <a:gd name="connsiteX281" fmla="*/ 227163 w 333375"/>
                <a:gd name="connsiteY281" fmla="*/ 795596 h 819150"/>
                <a:gd name="connsiteX282" fmla="*/ 223477 w 333375"/>
                <a:gd name="connsiteY282" fmla="*/ 795596 h 819150"/>
                <a:gd name="connsiteX283" fmla="*/ 219791 w 333375"/>
                <a:gd name="connsiteY283" fmla="*/ 791910 h 819150"/>
                <a:gd name="connsiteX284" fmla="*/ 219791 w 333375"/>
                <a:gd name="connsiteY284" fmla="*/ 788214 h 819150"/>
                <a:gd name="connsiteX285" fmla="*/ 216095 w 333375"/>
                <a:gd name="connsiteY285" fmla="*/ 788214 h 819150"/>
                <a:gd name="connsiteX286" fmla="*/ 212409 w 333375"/>
                <a:gd name="connsiteY286" fmla="*/ 784528 h 819150"/>
                <a:gd name="connsiteX287" fmla="*/ 212409 w 333375"/>
                <a:gd name="connsiteY287" fmla="*/ 780832 h 819150"/>
                <a:gd name="connsiteX288" fmla="*/ 212409 w 333375"/>
                <a:gd name="connsiteY288" fmla="*/ 777146 h 819150"/>
                <a:gd name="connsiteX289" fmla="*/ 216095 w 333375"/>
                <a:gd name="connsiteY289" fmla="*/ 773450 h 819150"/>
                <a:gd name="connsiteX290" fmla="*/ 219791 w 333375"/>
                <a:gd name="connsiteY290" fmla="*/ 777146 h 819150"/>
                <a:gd name="connsiteX291" fmla="*/ 227163 w 333375"/>
                <a:gd name="connsiteY291" fmla="*/ 780832 h 819150"/>
                <a:gd name="connsiteX292" fmla="*/ 230859 w 333375"/>
                <a:gd name="connsiteY292" fmla="*/ 773450 h 819150"/>
                <a:gd name="connsiteX293" fmla="*/ 234545 w 333375"/>
                <a:gd name="connsiteY293" fmla="*/ 769764 h 819150"/>
                <a:gd name="connsiteX294" fmla="*/ 234545 w 333375"/>
                <a:gd name="connsiteY294" fmla="*/ 766069 h 819150"/>
                <a:gd name="connsiteX295" fmla="*/ 238231 w 333375"/>
                <a:gd name="connsiteY295" fmla="*/ 766069 h 819150"/>
                <a:gd name="connsiteX296" fmla="*/ 234545 w 333375"/>
                <a:gd name="connsiteY296" fmla="*/ 762382 h 819150"/>
                <a:gd name="connsiteX297" fmla="*/ 234545 w 333375"/>
                <a:gd name="connsiteY297" fmla="*/ 758687 h 819150"/>
                <a:gd name="connsiteX298" fmla="*/ 230859 w 333375"/>
                <a:gd name="connsiteY298" fmla="*/ 755000 h 819150"/>
                <a:gd name="connsiteX299" fmla="*/ 230859 w 333375"/>
                <a:gd name="connsiteY299" fmla="*/ 751305 h 819150"/>
                <a:gd name="connsiteX300" fmla="*/ 230859 w 333375"/>
                <a:gd name="connsiteY300" fmla="*/ 747619 h 819150"/>
                <a:gd name="connsiteX301" fmla="*/ 234545 w 333375"/>
                <a:gd name="connsiteY301" fmla="*/ 743932 h 819150"/>
                <a:gd name="connsiteX302" fmla="*/ 241917 w 333375"/>
                <a:gd name="connsiteY302" fmla="*/ 743932 h 819150"/>
                <a:gd name="connsiteX303" fmla="*/ 245613 w 333375"/>
                <a:gd name="connsiteY303" fmla="*/ 740237 h 819150"/>
                <a:gd name="connsiteX304" fmla="*/ 249299 w 333375"/>
                <a:gd name="connsiteY304" fmla="*/ 740237 h 819150"/>
                <a:gd name="connsiteX305" fmla="*/ 249299 w 333375"/>
                <a:gd name="connsiteY305" fmla="*/ 736551 h 819150"/>
                <a:gd name="connsiteX306" fmla="*/ 252985 w 333375"/>
                <a:gd name="connsiteY306" fmla="*/ 736551 h 819150"/>
                <a:gd name="connsiteX307" fmla="*/ 252985 w 333375"/>
                <a:gd name="connsiteY307" fmla="*/ 740237 h 819150"/>
                <a:gd name="connsiteX308" fmla="*/ 260367 w 333375"/>
                <a:gd name="connsiteY308" fmla="*/ 743932 h 819150"/>
                <a:gd name="connsiteX309" fmla="*/ 260367 w 333375"/>
                <a:gd name="connsiteY309" fmla="*/ 736551 h 819150"/>
                <a:gd name="connsiteX310" fmla="*/ 260367 w 333375"/>
                <a:gd name="connsiteY310" fmla="*/ 732855 h 819150"/>
                <a:gd name="connsiteX311" fmla="*/ 264053 w 333375"/>
                <a:gd name="connsiteY311" fmla="*/ 732855 h 819150"/>
                <a:gd name="connsiteX312" fmla="*/ 264053 w 333375"/>
                <a:gd name="connsiteY312" fmla="*/ 729169 h 819150"/>
                <a:gd name="connsiteX313" fmla="*/ 267749 w 333375"/>
                <a:gd name="connsiteY313" fmla="*/ 725473 h 819150"/>
                <a:gd name="connsiteX314" fmla="*/ 267749 w 333375"/>
                <a:gd name="connsiteY314" fmla="*/ 718091 h 819150"/>
                <a:gd name="connsiteX315" fmla="*/ 264053 w 333375"/>
                <a:gd name="connsiteY315" fmla="*/ 714405 h 819150"/>
                <a:gd name="connsiteX316" fmla="*/ 264053 w 333375"/>
                <a:gd name="connsiteY316" fmla="*/ 718091 h 819150"/>
                <a:gd name="connsiteX317" fmla="*/ 260367 w 333375"/>
                <a:gd name="connsiteY317" fmla="*/ 710709 h 819150"/>
                <a:gd name="connsiteX318" fmla="*/ 260367 w 333375"/>
                <a:gd name="connsiteY318" fmla="*/ 707023 h 819150"/>
                <a:gd name="connsiteX319" fmla="*/ 260367 w 333375"/>
                <a:gd name="connsiteY319" fmla="*/ 703327 h 819150"/>
                <a:gd name="connsiteX320" fmla="*/ 264053 w 333375"/>
                <a:gd name="connsiteY320" fmla="*/ 699641 h 819150"/>
                <a:gd name="connsiteX321" fmla="*/ 264053 w 333375"/>
                <a:gd name="connsiteY321" fmla="*/ 695955 h 819150"/>
                <a:gd name="connsiteX322" fmla="*/ 267749 w 333375"/>
                <a:gd name="connsiteY322" fmla="*/ 692259 h 819150"/>
                <a:gd name="connsiteX323" fmla="*/ 267749 w 333375"/>
                <a:gd name="connsiteY323" fmla="*/ 688573 h 819150"/>
                <a:gd name="connsiteX324" fmla="*/ 264053 w 333375"/>
                <a:gd name="connsiteY324" fmla="*/ 684877 h 819150"/>
                <a:gd name="connsiteX325" fmla="*/ 260367 w 333375"/>
                <a:gd name="connsiteY325" fmla="*/ 684877 h 819150"/>
                <a:gd name="connsiteX326" fmla="*/ 256681 w 333375"/>
                <a:gd name="connsiteY326" fmla="*/ 684877 h 819150"/>
                <a:gd name="connsiteX327" fmla="*/ 249299 w 333375"/>
                <a:gd name="connsiteY327" fmla="*/ 684877 h 819150"/>
                <a:gd name="connsiteX328" fmla="*/ 249299 w 333375"/>
                <a:gd name="connsiteY328" fmla="*/ 681191 h 819150"/>
                <a:gd name="connsiteX329" fmla="*/ 249299 w 333375"/>
                <a:gd name="connsiteY329" fmla="*/ 677496 h 819150"/>
                <a:gd name="connsiteX330" fmla="*/ 245613 w 333375"/>
                <a:gd name="connsiteY330" fmla="*/ 681191 h 819150"/>
                <a:gd name="connsiteX331" fmla="*/ 241917 w 333375"/>
                <a:gd name="connsiteY331" fmla="*/ 677496 h 819150"/>
                <a:gd name="connsiteX332" fmla="*/ 230859 w 333375"/>
                <a:gd name="connsiteY332" fmla="*/ 673809 h 819150"/>
                <a:gd name="connsiteX333" fmla="*/ 230859 w 333375"/>
                <a:gd name="connsiteY333" fmla="*/ 666428 h 819150"/>
                <a:gd name="connsiteX334" fmla="*/ 230859 w 333375"/>
                <a:gd name="connsiteY334" fmla="*/ 662732 h 819150"/>
                <a:gd name="connsiteX335" fmla="*/ 223477 w 333375"/>
                <a:gd name="connsiteY335" fmla="*/ 659046 h 819150"/>
                <a:gd name="connsiteX336" fmla="*/ 227163 w 333375"/>
                <a:gd name="connsiteY336" fmla="*/ 655350 h 819150"/>
                <a:gd name="connsiteX337" fmla="*/ 230859 w 333375"/>
                <a:gd name="connsiteY337" fmla="*/ 655350 h 819150"/>
                <a:gd name="connsiteX338" fmla="*/ 230859 w 333375"/>
                <a:gd name="connsiteY338" fmla="*/ 651664 h 819150"/>
                <a:gd name="connsiteX339" fmla="*/ 234545 w 333375"/>
                <a:gd name="connsiteY339" fmla="*/ 636900 h 819150"/>
                <a:gd name="connsiteX340" fmla="*/ 230859 w 333375"/>
                <a:gd name="connsiteY340" fmla="*/ 636900 h 819150"/>
                <a:gd name="connsiteX341" fmla="*/ 216095 w 333375"/>
                <a:gd name="connsiteY341" fmla="*/ 636900 h 819150"/>
                <a:gd name="connsiteX342" fmla="*/ 212409 w 333375"/>
                <a:gd name="connsiteY342" fmla="*/ 636900 h 819150"/>
                <a:gd name="connsiteX343" fmla="*/ 208723 w 333375"/>
                <a:gd name="connsiteY343" fmla="*/ 640596 h 819150"/>
                <a:gd name="connsiteX344" fmla="*/ 205027 w 333375"/>
                <a:gd name="connsiteY344" fmla="*/ 640596 h 819150"/>
                <a:gd name="connsiteX345" fmla="*/ 201341 w 333375"/>
                <a:gd name="connsiteY345" fmla="*/ 636900 h 819150"/>
                <a:gd name="connsiteX346" fmla="*/ 201341 w 333375"/>
                <a:gd name="connsiteY346" fmla="*/ 633214 h 819150"/>
                <a:gd name="connsiteX347" fmla="*/ 197655 w 333375"/>
                <a:gd name="connsiteY347" fmla="*/ 633214 h 819150"/>
                <a:gd name="connsiteX348" fmla="*/ 190273 w 333375"/>
                <a:gd name="connsiteY348" fmla="*/ 636900 h 819150"/>
                <a:gd name="connsiteX349" fmla="*/ 186587 w 333375"/>
                <a:gd name="connsiteY349" fmla="*/ 636900 h 819150"/>
                <a:gd name="connsiteX350" fmla="*/ 182891 w 333375"/>
                <a:gd name="connsiteY350" fmla="*/ 640596 h 819150"/>
                <a:gd name="connsiteX351" fmla="*/ 179205 w 333375"/>
                <a:gd name="connsiteY351" fmla="*/ 640596 h 819150"/>
                <a:gd name="connsiteX352" fmla="*/ 175518 w 333375"/>
                <a:gd name="connsiteY352" fmla="*/ 644282 h 819150"/>
                <a:gd name="connsiteX353" fmla="*/ 171823 w 333375"/>
                <a:gd name="connsiteY353" fmla="*/ 644282 h 819150"/>
                <a:gd name="connsiteX354" fmla="*/ 168137 w 333375"/>
                <a:gd name="connsiteY354" fmla="*/ 640596 h 819150"/>
                <a:gd name="connsiteX355" fmla="*/ 175518 w 333375"/>
                <a:gd name="connsiteY355" fmla="*/ 633214 h 819150"/>
                <a:gd name="connsiteX356" fmla="*/ 175518 w 333375"/>
                <a:gd name="connsiteY356" fmla="*/ 622136 h 819150"/>
                <a:gd name="connsiteX357" fmla="*/ 171823 w 333375"/>
                <a:gd name="connsiteY357" fmla="*/ 622136 h 819150"/>
                <a:gd name="connsiteX358" fmla="*/ 168137 w 333375"/>
                <a:gd name="connsiteY358" fmla="*/ 618450 h 819150"/>
                <a:gd name="connsiteX359" fmla="*/ 168137 w 333375"/>
                <a:gd name="connsiteY359" fmla="*/ 614754 h 819150"/>
                <a:gd name="connsiteX360" fmla="*/ 164450 w 333375"/>
                <a:gd name="connsiteY360" fmla="*/ 614754 h 819150"/>
                <a:gd name="connsiteX361" fmla="*/ 164450 w 333375"/>
                <a:gd name="connsiteY361" fmla="*/ 611068 h 819150"/>
                <a:gd name="connsiteX362" fmla="*/ 160755 w 333375"/>
                <a:gd name="connsiteY362" fmla="*/ 611068 h 819150"/>
                <a:gd name="connsiteX363" fmla="*/ 160755 w 333375"/>
                <a:gd name="connsiteY363" fmla="*/ 607373 h 819150"/>
                <a:gd name="connsiteX364" fmla="*/ 160755 w 333375"/>
                <a:gd name="connsiteY364" fmla="*/ 603686 h 819150"/>
                <a:gd name="connsiteX365" fmla="*/ 160755 w 333375"/>
                <a:gd name="connsiteY365" fmla="*/ 600000 h 819150"/>
                <a:gd name="connsiteX366" fmla="*/ 160755 w 333375"/>
                <a:gd name="connsiteY366" fmla="*/ 592618 h 819150"/>
                <a:gd name="connsiteX367" fmla="*/ 157069 w 333375"/>
                <a:gd name="connsiteY367" fmla="*/ 588923 h 819150"/>
                <a:gd name="connsiteX368" fmla="*/ 153382 w 333375"/>
                <a:gd name="connsiteY368" fmla="*/ 581541 h 819150"/>
                <a:gd name="connsiteX369" fmla="*/ 157069 w 333375"/>
                <a:gd name="connsiteY369" fmla="*/ 581541 h 819150"/>
                <a:gd name="connsiteX370" fmla="*/ 164450 w 333375"/>
                <a:gd name="connsiteY370" fmla="*/ 581541 h 819150"/>
                <a:gd name="connsiteX371" fmla="*/ 168137 w 333375"/>
                <a:gd name="connsiteY371" fmla="*/ 581541 h 819150"/>
                <a:gd name="connsiteX372" fmla="*/ 168137 w 333375"/>
                <a:gd name="connsiteY372" fmla="*/ 577854 h 819150"/>
                <a:gd name="connsiteX373" fmla="*/ 175518 w 333375"/>
                <a:gd name="connsiteY373" fmla="*/ 574159 h 819150"/>
                <a:gd name="connsiteX374" fmla="*/ 179205 w 333375"/>
                <a:gd name="connsiteY374" fmla="*/ 570473 h 819150"/>
                <a:gd name="connsiteX375" fmla="*/ 179205 w 333375"/>
                <a:gd name="connsiteY375" fmla="*/ 574159 h 819150"/>
                <a:gd name="connsiteX376" fmla="*/ 186587 w 333375"/>
                <a:gd name="connsiteY376" fmla="*/ 585236 h 819150"/>
                <a:gd name="connsiteX377" fmla="*/ 190273 w 333375"/>
                <a:gd name="connsiteY377" fmla="*/ 592618 h 819150"/>
                <a:gd name="connsiteX378" fmla="*/ 190273 w 333375"/>
                <a:gd name="connsiteY378" fmla="*/ 596304 h 819150"/>
                <a:gd name="connsiteX379" fmla="*/ 193959 w 333375"/>
                <a:gd name="connsiteY379" fmla="*/ 592618 h 819150"/>
                <a:gd name="connsiteX380" fmla="*/ 197655 w 333375"/>
                <a:gd name="connsiteY380" fmla="*/ 592618 h 819150"/>
                <a:gd name="connsiteX381" fmla="*/ 197655 w 333375"/>
                <a:gd name="connsiteY381" fmla="*/ 596304 h 819150"/>
                <a:gd name="connsiteX382" fmla="*/ 201341 w 333375"/>
                <a:gd name="connsiteY382" fmla="*/ 596304 h 819150"/>
                <a:gd name="connsiteX383" fmla="*/ 201341 w 333375"/>
                <a:gd name="connsiteY383" fmla="*/ 592618 h 819150"/>
                <a:gd name="connsiteX384" fmla="*/ 205027 w 333375"/>
                <a:gd name="connsiteY384" fmla="*/ 588923 h 819150"/>
                <a:gd name="connsiteX385" fmla="*/ 205027 w 333375"/>
                <a:gd name="connsiteY385" fmla="*/ 585236 h 819150"/>
                <a:gd name="connsiteX386" fmla="*/ 208723 w 333375"/>
                <a:gd name="connsiteY386" fmla="*/ 581541 h 819150"/>
                <a:gd name="connsiteX387" fmla="*/ 208723 w 333375"/>
                <a:gd name="connsiteY387" fmla="*/ 577854 h 819150"/>
                <a:gd name="connsiteX388" fmla="*/ 208723 w 333375"/>
                <a:gd name="connsiteY388" fmla="*/ 574159 h 819150"/>
                <a:gd name="connsiteX389" fmla="*/ 212409 w 333375"/>
                <a:gd name="connsiteY389" fmla="*/ 570473 h 819150"/>
                <a:gd name="connsiteX390" fmla="*/ 212409 w 333375"/>
                <a:gd name="connsiteY390" fmla="*/ 566777 h 819150"/>
                <a:gd name="connsiteX391" fmla="*/ 216095 w 333375"/>
                <a:gd name="connsiteY391" fmla="*/ 563091 h 819150"/>
                <a:gd name="connsiteX392" fmla="*/ 216095 w 333375"/>
                <a:gd name="connsiteY392" fmla="*/ 559395 h 819150"/>
                <a:gd name="connsiteX393" fmla="*/ 219791 w 333375"/>
                <a:gd name="connsiteY393" fmla="*/ 555709 h 819150"/>
                <a:gd name="connsiteX394" fmla="*/ 227163 w 333375"/>
                <a:gd name="connsiteY394" fmla="*/ 552023 h 819150"/>
                <a:gd name="connsiteX395" fmla="*/ 230859 w 333375"/>
                <a:gd name="connsiteY395" fmla="*/ 548327 h 819150"/>
                <a:gd name="connsiteX396" fmla="*/ 238231 w 333375"/>
                <a:gd name="connsiteY396" fmla="*/ 544641 h 819150"/>
                <a:gd name="connsiteX397" fmla="*/ 241917 w 333375"/>
                <a:gd name="connsiteY397" fmla="*/ 544641 h 819150"/>
                <a:gd name="connsiteX398" fmla="*/ 245613 w 333375"/>
                <a:gd name="connsiteY398" fmla="*/ 540945 h 819150"/>
                <a:gd name="connsiteX399" fmla="*/ 249299 w 333375"/>
                <a:gd name="connsiteY399" fmla="*/ 537259 h 819150"/>
                <a:gd name="connsiteX400" fmla="*/ 249299 w 333375"/>
                <a:gd name="connsiteY400" fmla="*/ 533563 h 819150"/>
                <a:gd name="connsiteX401" fmla="*/ 252985 w 333375"/>
                <a:gd name="connsiteY401" fmla="*/ 529877 h 819150"/>
                <a:gd name="connsiteX402" fmla="*/ 256681 w 333375"/>
                <a:gd name="connsiteY402" fmla="*/ 529877 h 819150"/>
                <a:gd name="connsiteX403" fmla="*/ 260367 w 333375"/>
                <a:gd name="connsiteY403" fmla="*/ 529877 h 819150"/>
                <a:gd name="connsiteX404" fmla="*/ 264053 w 333375"/>
                <a:gd name="connsiteY404" fmla="*/ 526181 h 819150"/>
                <a:gd name="connsiteX405" fmla="*/ 264053 w 333375"/>
                <a:gd name="connsiteY405" fmla="*/ 522495 h 819150"/>
                <a:gd name="connsiteX406" fmla="*/ 264053 w 333375"/>
                <a:gd name="connsiteY406" fmla="*/ 518799 h 819150"/>
                <a:gd name="connsiteX407" fmla="*/ 267749 w 333375"/>
                <a:gd name="connsiteY407" fmla="*/ 515113 h 819150"/>
                <a:gd name="connsiteX408" fmla="*/ 271435 w 333375"/>
                <a:gd name="connsiteY408" fmla="*/ 515113 h 819150"/>
                <a:gd name="connsiteX409" fmla="*/ 275121 w 333375"/>
                <a:gd name="connsiteY409" fmla="*/ 515113 h 819150"/>
                <a:gd name="connsiteX410" fmla="*/ 278817 w 333375"/>
                <a:gd name="connsiteY410" fmla="*/ 511427 h 819150"/>
                <a:gd name="connsiteX411" fmla="*/ 282503 w 333375"/>
                <a:gd name="connsiteY411" fmla="*/ 511427 h 819150"/>
                <a:gd name="connsiteX412" fmla="*/ 282503 w 333375"/>
                <a:gd name="connsiteY412" fmla="*/ 507731 h 819150"/>
                <a:gd name="connsiteX413" fmla="*/ 289885 w 333375"/>
                <a:gd name="connsiteY413" fmla="*/ 507731 h 819150"/>
                <a:gd name="connsiteX414" fmla="*/ 293571 w 333375"/>
                <a:gd name="connsiteY414" fmla="*/ 504045 h 819150"/>
                <a:gd name="connsiteX415" fmla="*/ 297258 w 333375"/>
                <a:gd name="connsiteY415" fmla="*/ 504045 h 819150"/>
                <a:gd name="connsiteX416" fmla="*/ 304639 w 333375"/>
                <a:gd name="connsiteY416" fmla="*/ 504045 h 819150"/>
                <a:gd name="connsiteX417" fmla="*/ 300944 w 333375"/>
                <a:gd name="connsiteY417" fmla="*/ 500350 h 819150"/>
                <a:gd name="connsiteX418" fmla="*/ 304639 w 333375"/>
                <a:gd name="connsiteY418" fmla="*/ 500350 h 819150"/>
                <a:gd name="connsiteX419" fmla="*/ 308326 w 333375"/>
                <a:gd name="connsiteY419" fmla="*/ 496663 h 819150"/>
                <a:gd name="connsiteX420" fmla="*/ 293571 w 333375"/>
                <a:gd name="connsiteY420" fmla="*/ 485586 h 819150"/>
                <a:gd name="connsiteX421" fmla="*/ 289885 w 333375"/>
                <a:gd name="connsiteY421" fmla="*/ 485586 h 819150"/>
                <a:gd name="connsiteX422" fmla="*/ 312012 w 333375"/>
                <a:gd name="connsiteY422" fmla="*/ 474518 h 819150"/>
                <a:gd name="connsiteX423" fmla="*/ 304639 w 333375"/>
                <a:gd name="connsiteY423" fmla="*/ 467136 h 819150"/>
                <a:gd name="connsiteX424" fmla="*/ 282503 w 333375"/>
                <a:gd name="connsiteY424" fmla="*/ 478204 h 819150"/>
                <a:gd name="connsiteX425" fmla="*/ 278817 w 333375"/>
                <a:gd name="connsiteY425" fmla="*/ 481900 h 819150"/>
                <a:gd name="connsiteX426" fmla="*/ 275121 w 333375"/>
                <a:gd name="connsiteY426" fmla="*/ 485586 h 819150"/>
                <a:gd name="connsiteX427" fmla="*/ 271435 w 333375"/>
                <a:gd name="connsiteY427" fmla="*/ 485586 h 819150"/>
                <a:gd name="connsiteX428" fmla="*/ 267749 w 333375"/>
                <a:gd name="connsiteY428" fmla="*/ 485586 h 819150"/>
                <a:gd name="connsiteX429" fmla="*/ 260367 w 333375"/>
                <a:gd name="connsiteY429" fmla="*/ 485586 h 819150"/>
                <a:gd name="connsiteX430" fmla="*/ 260367 w 333375"/>
                <a:gd name="connsiteY430" fmla="*/ 481900 h 819150"/>
                <a:gd name="connsiteX431" fmla="*/ 256681 w 333375"/>
                <a:gd name="connsiteY431" fmla="*/ 478204 h 819150"/>
                <a:gd name="connsiteX432" fmla="*/ 256681 w 333375"/>
                <a:gd name="connsiteY432" fmla="*/ 452372 h 819150"/>
                <a:gd name="connsiteX433" fmla="*/ 252985 w 333375"/>
                <a:gd name="connsiteY433" fmla="*/ 448686 h 819150"/>
                <a:gd name="connsiteX434" fmla="*/ 256681 w 333375"/>
                <a:gd name="connsiteY434" fmla="*/ 444990 h 819150"/>
                <a:gd name="connsiteX435" fmla="*/ 264053 w 333375"/>
                <a:gd name="connsiteY435" fmla="*/ 444990 h 819150"/>
                <a:gd name="connsiteX436" fmla="*/ 256681 w 333375"/>
                <a:gd name="connsiteY436" fmla="*/ 430227 h 819150"/>
                <a:gd name="connsiteX437" fmla="*/ 264053 w 333375"/>
                <a:gd name="connsiteY437" fmla="*/ 426540 h 819150"/>
                <a:gd name="connsiteX438" fmla="*/ 267749 w 333375"/>
                <a:gd name="connsiteY438" fmla="*/ 419158 h 819150"/>
                <a:gd name="connsiteX439" fmla="*/ 282503 w 333375"/>
                <a:gd name="connsiteY439" fmla="*/ 404395 h 819150"/>
                <a:gd name="connsiteX440" fmla="*/ 282503 w 333375"/>
                <a:gd name="connsiteY440" fmla="*/ 400709 h 819150"/>
                <a:gd name="connsiteX441" fmla="*/ 286189 w 333375"/>
                <a:gd name="connsiteY441" fmla="*/ 397013 h 819150"/>
                <a:gd name="connsiteX442" fmla="*/ 293571 w 333375"/>
                <a:gd name="connsiteY442" fmla="*/ 385945 h 819150"/>
                <a:gd name="connsiteX443" fmla="*/ 297258 w 333375"/>
                <a:gd name="connsiteY443" fmla="*/ 378563 h 819150"/>
                <a:gd name="connsiteX444" fmla="*/ 297258 w 333375"/>
                <a:gd name="connsiteY444" fmla="*/ 374867 h 819150"/>
                <a:gd name="connsiteX445" fmla="*/ 300944 w 333375"/>
                <a:gd name="connsiteY445" fmla="*/ 371181 h 819150"/>
                <a:gd name="connsiteX446" fmla="*/ 300944 w 333375"/>
                <a:gd name="connsiteY446" fmla="*/ 367495 h 819150"/>
                <a:gd name="connsiteX447" fmla="*/ 300944 w 333375"/>
                <a:gd name="connsiteY447" fmla="*/ 363799 h 819150"/>
                <a:gd name="connsiteX448" fmla="*/ 304639 w 333375"/>
                <a:gd name="connsiteY448" fmla="*/ 360113 h 819150"/>
                <a:gd name="connsiteX449" fmla="*/ 304639 w 333375"/>
                <a:gd name="connsiteY449" fmla="*/ 356417 h 819150"/>
                <a:gd name="connsiteX450" fmla="*/ 308326 w 333375"/>
                <a:gd name="connsiteY450" fmla="*/ 356417 h 819150"/>
                <a:gd name="connsiteX451" fmla="*/ 312012 w 333375"/>
                <a:gd name="connsiteY451" fmla="*/ 356417 h 819150"/>
                <a:gd name="connsiteX452" fmla="*/ 315707 w 333375"/>
                <a:gd name="connsiteY452" fmla="*/ 356417 h 819150"/>
                <a:gd name="connsiteX453" fmla="*/ 315707 w 333375"/>
                <a:gd name="connsiteY453" fmla="*/ 352731 h 819150"/>
                <a:gd name="connsiteX454" fmla="*/ 334148 w 333375"/>
                <a:gd name="connsiteY454" fmla="*/ 334272 h 819150"/>
                <a:gd name="connsiteX455" fmla="*/ 330462 w 333375"/>
                <a:gd name="connsiteY455" fmla="*/ 323204 h 819150"/>
                <a:gd name="connsiteX456" fmla="*/ 326775 w 333375"/>
                <a:gd name="connsiteY456" fmla="*/ 315822 h 819150"/>
                <a:gd name="connsiteX457" fmla="*/ 326775 w 333375"/>
                <a:gd name="connsiteY457" fmla="*/ 312136 h 819150"/>
                <a:gd name="connsiteX458" fmla="*/ 330462 w 333375"/>
                <a:gd name="connsiteY458" fmla="*/ 308440 h 819150"/>
                <a:gd name="connsiteX459" fmla="*/ 334148 w 333375"/>
                <a:gd name="connsiteY459" fmla="*/ 304754 h 819150"/>
                <a:gd name="connsiteX460" fmla="*/ 323080 w 333375"/>
                <a:gd name="connsiteY460" fmla="*/ 304754 h 819150"/>
                <a:gd name="connsiteX461" fmla="*/ 323080 w 333375"/>
                <a:gd name="connsiteY461" fmla="*/ 301058 h 819150"/>
                <a:gd name="connsiteX462" fmla="*/ 326775 w 333375"/>
                <a:gd name="connsiteY462" fmla="*/ 278912 h 819150"/>
                <a:gd name="connsiteX463" fmla="*/ 326775 w 333375"/>
                <a:gd name="connsiteY463" fmla="*/ 267844 h 819150"/>
                <a:gd name="connsiteX464" fmla="*/ 330462 w 333375"/>
                <a:gd name="connsiteY464" fmla="*/ 267844 h 819150"/>
                <a:gd name="connsiteX465" fmla="*/ 326775 w 333375"/>
                <a:gd name="connsiteY465" fmla="*/ 260462 h 819150"/>
                <a:gd name="connsiteX466" fmla="*/ 330462 w 333375"/>
                <a:gd name="connsiteY466" fmla="*/ 256776 h 819150"/>
                <a:gd name="connsiteX467" fmla="*/ 330462 w 333375"/>
                <a:gd name="connsiteY467" fmla="*/ 245699 h 819150"/>
                <a:gd name="connsiteX468" fmla="*/ 326775 w 333375"/>
                <a:gd name="connsiteY468" fmla="*/ 238317 h 819150"/>
                <a:gd name="connsiteX469" fmla="*/ 323080 w 333375"/>
                <a:gd name="connsiteY469" fmla="*/ 230935 h 819150"/>
                <a:gd name="connsiteX470" fmla="*/ 326775 w 333375"/>
                <a:gd name="connsiteY470" fmla="*/ 223563 h 819150"/>
                <a:gd name="connsiteX471" fmla="*/ 323080 w 333375"/>
                <a:gd name="connsiteY471" fmla="*/ 219867 h 819150"/>
                <a:gd name="connsiteX472" fmla="*/ 323080 w 333375"/>
                <a:gd name="connsiteY472" fmla="*/ 212485 h 819150"/>
                <a:gd name="connsiteX473" fmla="*/ 323080 w 333375"/>
                <a:gd name="connsiteY473" fmla="*/ 208799 h 819150"/>
                <a:gd name="connsiteX474" fmla="*/ 319394 w 333375"/>
                <a:gd name="connsiteY474" fmla="*/ 201417 h 819150"/>
                <a:gd name="connsiteX475" fmla="*/ 312012 w 333375"/>
                <a:gd name="connsiteY475" fmla="*/ 197721 h 819150"/>
                <a:gd name="connsiteX476" fmla="*/ 304639 w 333375"/>
                <a:gd name="connsiteY476" fmla="*/ 194035 h 819150"/>
                <a:gd name="connsiteX477" fmla="*/ 297258 w 333375"/>
                <a:gd name="connsiteY477" fmla="*/ 171890 h 819150"/>
                <a:gd name="connsiteX478" fmla="*/ 289885 w 333375"/>
                <a:gd name="connsiteY478" fmla="*/ 168203 h 819150"/>
                <a:gd name="connsiteX479" fmla="*/ 286189 w 333375"/>
                <a:gd name="connsiteY479" fmla="*/ 164508 h 819150"/>
                <a:gd name="connsiteX480" fmla="*/ 282503 w 333375"/>
                <a:gd name="connsiteY480" fmla="*/ 160821 h 819150"/>
                <a:gd name="connsiteX481" fmla="*/ 278817 w 333375"/>
                <a:gd name="connsiteY481" fmla="*/ 153439 h 819150"/>
                <a:gd name="connsiteX482" fmla="*/ 278817 w 333375"/>
                <a:gd name="connsiteY482" fmla="*/ 149744 h 819150"/>
                <a:gd name="connsiteX483" fmla="*/ 275121 w 333375"/>
                <a:gd name="connsiteY483" fmla="*/ 149744 h 819150"/>
                <a:gd name="connsiteX484" fmla="*/ 264053 w 333375"/>
                <a:gd name="connsiteY484" fmla="*/ 142362 h 819150"/>
                <a:gd name="connsiteX485" fmla="*/ 264053 w 333375"/>
                <a:gd name="connsiteY485" fmla="*/ 134980 h 819150"/>
                <a:gd name="connsiteX486" fmla="*/ 264053 w 333375"/>
                <a:gd name="connsiteY486" fmla="*/ 127608 h 819150"/>
                <a:gd name="connsiteX487" fmla="*/ 267749 w 333375"/>
                <a:gd name="connsiteY487" fmla="*/ 127608 h 819150"/>
                <a:gd name="connsiteX488" fmla="*/ 267749 w 333375"/>
                <a:gd name="connsiteY488" fmla="*/ 123912 h 819150"/>
                <a:gd name="connsiteX489" fmla="*/ 271435 w 333375"/>
                <a:gd name="connsiteY489" fmla="*/ 112844 h 819150"/>
                <a:gd name="connsiteX490" fmla="*/ 271435 w 333375"/>
                <a:gd name="connsiteY490" fmla="*/ 109148 h 819150"/>
                <a:gd name="connsiteX491" fmla="*/ 275121 w 333375"/>
                <a:gd name="connsiteY491" fmla="*/ 105462 h 819150"/>
                <a:gd name="connsiteX492" fmla="*/ 275121 w 333375"/>
                <a:gd name="connsiteY492" fmla="*/ 101766 h 819150"/>
                <a:gd name="connsiteX493" fmla="*/ 267749 w 333375"/>
                <a:gd name="connsiteY493" fmla="*/ 98080 h 819150"/>
                <a:gd name="connsiteX494" fmla="*/ 264053 w 333375"/>
                <a:gd name="connsiteY494" fmla="*/ 98080 h 819150"/>
                <a:gd name="connsiteX495" fmla="*/ 260367 w 333375"/>
                <a:gd name="connsiteY495" fmla="*/ 98080 h 819150"/>
                <a:gd name="connsiteX496" fmla="*/ 260367 w 333375"/>
                <a:gd name="connsiteY496" fmla="*/ 94384 h 819150"/>
                <a:gd name="connsiteX497" fmla="*/ 256681 w 333375"/>
                <a:gd name="connsiteY497" fmla="*/ 94384 h 819150"/>
                <a:gd name="connsiteX498" fmla="*/ 252985 w 333375"/>
                <a:gd name="connsiteY498" fmla="*/ 94384 h 819150"/>
                <a:gd name="connsiteX499" fmla="*/ 234545 w 333375"/>
                <a:gd name="connsiteY499" fmla="*/ 87003 h 819150"/>
                <a:gd name="connsiteX500" fmla="*/ 230859 w 333375"/>
                <a:gd name="connsiteY500" fmla="*/ 83316 h 819150"/>
                <a:gd name="connsiteX501" fmla="*/ 230859 w 333375"/>
                <a:gd name="connsiteY501" fmla="*/ 79630 h 819150"/>
                <a:gd name="connsiteX502" fmla="*/ 230859 w 333375"/>
                <a:gd name="connsiteY502" fmla="*/ 75935 h 819150"/>
                <a:gd name="connsiteX503" fmla="*/ 234545 w 333375"/>
                <a:gd name="connsiteY503" fmla="*/ 72248 h 819150"/>
                <a:gd name="connsiteX504" fmla="*/ 230859 w 333375"/>
                <a:gd name="connsiteY504" fmla="*/ 68553 h 819150"/>
                <a:gd name="connsiteX505" fmla="*/ 230859 w 333375"/>
                <a:gd name="connsiteY505" fmla="*/ 64867 h 819150"/>
                <a:gd name="connsiteX506" fmla="*/ 230859 w 333375"/>
                <a:gd name="connsiteY506" fmla="*/ 57485 h 819150"/>
                <a:gd name="connsiteX507" fmla="*/ 234545 w 333375"/>
                <a:gd name="connsiteY507" fmla="*/ 57485 h 819150"/>
                <a:gd name="connsiteX508" fmla="*/ 238231 w 333375"/>
                <a:gd name="connsiteY508" fmla="*/ 57485 h 819150"/>
                <a:gd name="connsiteX509" fmla="*/ 238231 w 333375"/>
                <a:gd name="connsiteY509" fmla="*/ 53789 h 819150"/>
                <a:gd name="connsiteX510" fmla="*/ 234545 w 333375"/>
                <a:gd name="connsiteY510" fmla="*/ 53789 h 819150"/>
                <a:gd name="connsiteX511" fmla="*/ 234545 w 333375"/>
                <a:gd name="connsiteY511" fmla="*/ 50103 h 819150"/>
                <a:gd name="connsiteX512" fmla="*/ 234545 w 333375"/>
                <a:gd name="connsiteY512" fmla="*/ 46407 h 819150"/>
                <a:gd name="connsiteX513" fmla="*/ 230859 w 333375"/>
                <a:gd name="connsiteY513" fmla="*/ 46407 h 819150"/>
                <a:gd name="connsiteX514" fmla="*/ 219791 w 333375"/>
                <a:gd name="connsiteY514" fmla="*/ 39025 h 819150"/>
                <a:gd name="connsiteX515" fmla="*/ 216095 w 333375"/>
                <a:gd name="connsiteY515" fmla="*/ 35339 h 819150"/>
                <a:gd name="connsiteX516" fmla="*/ 208723 w 333375"/>
                <a:gd name="connsiteY516" fmla="*/ 35339 h 819150"/>
                <a:gd name="connsiteX517" fmla="*/ 205027 w 333375"/>
                <a:gd name="connsiteY517" fmla="*/ 35339 h 819150"/>
                <a:gd name="connsiteX518" fmla="*/ 193959 w 333375"/>
                <a:gd name="connsiteY518" fmla="*/ 35339 h 819150"/>
                <a:gd name="connsiteX519" fmla="*/ 193959 w 333375"/>
                <a:gd name="connsiteY519" fmla="*/ 31653 h 819150"/>
                <a:gd name="connsiteX520" fmla="*/ 190273 w 333375"/>
                <a:gd name="connsiteY520" fmla="*/ 35339 h 819150"/>
                <a:gd name="connsiteX521" fmla="*/ 186587 w 333375"/>
                <a:gd name="connsiteY521" fmla="*/ 35339 h 819150"/>
                <a:gd name="connsiteX522" fmla="*/ 182891 w 333375"/>
                <a:gd name="connsiteY522" fmla="*/ 31653 h 819150"/>
                <a:gd name="connsiteX523" fmla="*/ 182891 w 333375"/>
                <a:gd name="connsiteY523" fmla="*/ 27957 h 819150"/>
                <a:gd name="connsiteX524" fmla="*/ 179205 w 333375"/>
                <a:gd name="connsiteY524" fmla="*/ 27957 h 819150"/>
                <a:gd name="connsiteX525" fmla="*/ 175518 w 333375"/>
                <a:gd name="connsiteY525" fmla="*/ 24271 h 819150"/>
                <a:gd name="connsiteX526" fmla="*/ 175518 w 333375"/>
                <a:gd name="connsiteY526" fmla="*/ 20575 h 819150"/>
                <a:gd name="connsiteX527" fmla="*/ 171823 w 333375"/>
                <a:gd name="connsiteY527" fmla="*/ 16889 h 819150"/>
                <a:gd name="connsiteX528" fmla="*/ 171823 w 333375"/>
                <a:gd name="connsiteY528" fmla="*/ 13193 h 819150"/>
                <a:gd name="connsiteX529" fmla="*/ 168137 w 333375"/>
                <a:gd name="connsiteY529" fmla="*/ 9507 h 819150"/>
                <a:gd name="connsiteX530" fmla="*/ 164450 w 333375"/>
                <a:gd name="connsiteY530" fmla="*/ 5812 h 819150"/>
                <a:gd name="connsiteX531" fmla="*/ 160755 w 333375"/>
                <a:gd name="connsiteY531" fmla="*/ 5812 h 819150"/>
                <a:gd name="connsiteX532" fmla="*/ 153382 w 333375"/>
                <a:gd name="connsiteY532" fmla="*/ 5812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Lst>
              <a:rect l="l" t="t" r="r" b="b"/>
              <a:pathLst>
                <a:path w="333375" h="819150">
                  <a:moveTo>
                    <a:pt x="153382" y="5812"/>
                  </a:moveTo>
                  <a:lnTo>
                    <a:pt x="149696" y="9507"/>
                  </a:lnTo>
                  <a:lnTo>
                    <a:pt x="153382" y="13193"/>
                  </a:lnTo>
                  <a:lnTo>
                    <a:pt x="153382" y="16889"/>
                  </a:lnTo>
                  <a:lnTo>
                    <a:pt x="153382" y="20575"/>
                  </a:lnTo>
                  <a:lnTo>
                    <a:pt x="149696" y="20575"/>
                  </a:lnTo>
                  <a:lnTo>
                    <a:pt x="153382" y="24271"/>
                  </a:lnTo>
                  <a:lnTo>
                    <a:pt x="157069" y="24271"/>
                  </a:lnTo>
                  <a:lnTo>
                    <a:pt x="157069" y="27957"/>
                  </a:lnTo>
                  <a:lnTo>
                    <a:pt x="157069" y="31653"/>
                  </a:lnTo>
                  <a:lnTo>
                    <a:pt x="160755" y="39025"/>
                  </a:lnTo>
                  <a:lnTo>
                    <a:pt x="160755" y="46407"/>
                  </a:lnTo>
                  <a:lnTo>
                    <a:pt x="164450" y="50103"/>
                  </a:lnTo>
                  <a:lnTo>
                    <a:pt x="171823" y="50103"/>
                  </a:lnTo>
                  <a:lnTo>
                    <a:pt x="179205" y="53789"/>
                  </a:lnTo>
                  <a:lnTo>
                    <a:pt x="186587" y="53789"/>
                  </a:lnTo>
                  <a:lnTo>
                    <a:pt x="190273" y="57485"/>
                  </a:lnTo>
                  <a:lnTo>
                    <a:pt x="193959" y="57485"/>
                  </a:lnTo>
                  <a:lnTo>
                    <a:pt x="197655" y="68553"/>
                  </a:lnTo>
                  <a:lnTo>
                    <a:pt x="197655" y="75935"/>
                  </a:lnTo>
                  <a:lnTo>
                    <a:pt x="197655" y="79630"/>
                  </a:lnTo>
                  <a:lnTo>
                    <a:pt x="201341" y="79630"/>
                  </a:lnTo>
                  <a:lnTo>
                    <a:pt x="201341" y="87003"/>
                  </a:lnTo>
                  <a:lnTo>
                    <a:pt x="201341" y="90698"/>
                  </a:lnTo>
                  <a:lnTo>
                    <a:pt x="201341" y="94384"/>
                  </a:lnTo>
                  <a:lnTo>
                    <a:pt x="201341" y="105462"/>
                  </a:lnTo>
                  <a:lnTo>
                    <a:pt x="205027" y="109148"/>
                  </a:lnTo>
                  <a:lnTo>
                    <a:pt x="205027" y="112844"/>
                  </a:lnTo>
                  <a:lnTo>
                    <a:pt x="216095" y="116530"/>
                  </a:lnTo>
                  <a:lnTo>
                    <a:pt x="219791" y="120226"/>
                  </a:lnTo>
                  <a:lnTo>
                    <a:pt x="223477" y="123912"/>
                  </a:lnTo>
                  <a:lnTo>
                    <a:pt x="227163" y="127608"/>
                  </a:lnTo>
                  <a:lnTo>
                    <a:pt x="227163" y="131294"/>
                  </a:lnTo>
                  <a:lnTo>
                    <a:pt x="230859" y="134980"/>
                  </a:lnTo>
                  <a:lnTo>
                    <a:pt x="230859" y="146058"/>
                  </a:lnTo>
                  <a:lnTo>
                    <a:pt x="230859" y="149744"/>
                  </a:lnTo>
                  <a:lnTo>
                    <a:pt x="234545" y="153439"/>
                  </a:lnTo>
                  <a:lnTo>
                    <a:pt x="238231" y="160821"/>
                  </a:lnTo>
                  <a:lnTo>
                    <a:pt x="238231" y="164508"/>
                  </a:lnTo>
                  <a:lnTo>
                    <a:pt x="238231" y="168203"/>
                  </a:lnTo>
                  <a:lnTo>
                    <a:pt x="238231" y="171890"/>
                  </a:lnTo>
                  <a:lnTo>
                    <a:pt x="238231" y="175585"/>
                  </a:lnTo>
                  <a:lnTo>
                    <a:pt x="241917" y="179271"/>
                  </a:lnTo>
                  <a:lnTo>
                    <a:pt x="238231" y="179271"/>
                  </a:lnTo>
                  <a:lnTo>
                    <a:pt x="234545" y="179271"/>
                  </a:lnTo>
                  <a:lnTo>
                    <a:pt x="234545" y="182957"/>
                  </a:lnTo>
                  <a:lnTo>
                    <a:pt x="227163" y="175585"/>
                  </a:lnTo>
                  <a:lnTo>
                    <a:pt x="223477" y="171890"/>
                  </a:lnTo>
                  <a:lnTo>
                    <a:pt x="219791" y="171890"/>
                  </a:lnTo>
                  <a:lnTo>
                    <a:pt x="219791" y="168203"/>
                  </a:lnTo>
                  <a:lnTo>
                    <a:pt x="212409" y="171890"/>
                  </a:lnTo>
                  <a:lnTo>
                    <a:pt x="205027" y="175585"/>
                  </a:lnTo>
                  <a:lnTo>
                    <a:pt x="193959" y="179271"/>
                  </a:lnTo>
                  <a:lnTo>
                    <a:pt x="186587" y="182957"/>
                  </a:lnTo>
                  <a:lnTo>
                    <a:pt x="179205" y="182957"/>
                  </a:lnTo>
                  <a:lnTo>
                    <a:pt x="171823" y="182957"/>
                  </a:lnTo>
                  <a:lnTo>
                    <a:pt x="164450" y="179271"/>
                  </a:lnTo>
                  <a:lnTo>
                    <a:pt x="153382" y="175585"/>
                  </a:lnTo>
                  <a:lnTo>
                    <a:pt x="138628" y="171890"/>
                  </a:lnTo>
                  <a:lnTo>
                    <a:pt x="142314" y="205103"/>
                  </a:lnTo>
                  <a:lnTo>
                    <a:pt x="146000" y="216181"/>
                  </a:lnTo>
                  <a:lnTo>
                    <a:pt x="146000" y="223563"/>
                  </a:lnTo>
                  <a:lnTo>
                    <a:pt x="149696" y="230935"/>
                  </a:lnTo>
                  <a:lnTo>
                    <a:pt x="157069" y="264158"/>
                  </a:lnTo>
                  <a:lnTo>
                    <a:pt x="157069" y="267844"/>
                  </a:lnTo>
                  <a:lnTo>
                    <a:pt x="171823" y="293676"/>
                  </a:lnTo>
                  <a:lnTo>
                    <a:pt x="179205" y="308440"/>
                  </a:lnTo>
                  <a:lnTo>
                    <a:pt x="186587" y="319517"/>
                  </a:lnTo>
                  <a:lnTo>
                    <a:pt x="179205" y="323204"/>
                  </a:lnTo>
                  <a:lnTo>
                    <a:pt x="168137" y="334272"/>
                  </a:lnTo>
                  <a:lnTo>
                    <a:pt x="160755" y="341654"/>
                  </a:lnTo>
                  <a:lnTo>
                    <a:pt x="157069" y="341654"/>
                  </a:lnTo>
                  <a:lnTo>
                    <a:pt x="153382" y="345349"/>
                  </a:lnTo>
                  <a:lnTo>
                    <a:pt x="149696" y="345349"/>
                  </a:lnTo>
                  <a:lnTo>
                    <a:pt x="138628" y="349035"/>
                  </a:lnTo>
                  <a:lnTo>
                    <a:pt x="109110" y="356417"/>
                  </a:lnTo>
                  <a:lnTo>
                    <a:pt x="105424" y="360113"/>
                  </a:lnTo>
                  <a:lnTo>
                    <a:pt x="101728" y="360113"/>
                  </a:lnTo>
                  <a:lnTo>
                    <a:pt x="94356" y="363799"/>
                  </a:lnTo>
                  <a:lnTo>
                    <a:pt x="75906" y="367495"/>
                  </a:lnTo>
                  <a:lnTo>
                    <a:pt x="72220" y="367495"/>
                  </a:lnTo>
                  <a:lnTo>
                    <a:pt x="57466" y="374867"/>
                  </a:lnTo>
                  <a:lnTo>
                    <a:pt x="46398" y="385945"/>
                  </a:lnTo>
                  <a:lnTo>
                    <a:pt x="42702" y="393327"/>
                  </a:lnTo>
                  <a:lnTo>
                    <a:pt x="35330" y="408090"/>
                  </a:lnTo>
                  <a:lnTo>
                    <a:pt x="31634" y="426540"/>
                  </a:lnTo>
                  <a:lnTo>
                    <a:pt x="31634" y="441304"/>
                  </a:lnTo>
                  <a:lnTo>
                    <a:pt x="20566" y="444990"/>
                  </a:lnTo>
                  <a:lnTo>
                    <a:pt x="16880" y="444990"/>
                  </a:lnTo>
                  <a:lnTo>
                    <a:pt x="5812" y="448686"/>
                  </a:lnTo>
                  <a:lnTo>
                    <a:pt x="13193" y="452372"/>
                  </a:lnTo>
                  <a:lnTo>
                    <a:pt x="42702" y="463450"/>
                  </a:lnTo>
                  <a:lnTo>
                    <a:pt x="46398" y="467136"/>
                  </a:lnTo>
                  <a:lnTo>
                    <a:pt x="46398" y="470822"/>
                  </a:lnTo>
                  <a:lnTo>
                    <a:pt x="50084" y="478204"/>
                  </a:lnTo>
                  <a:lnTo>
                    <a:pt x="53770" y="474518"/>
                  </a:lnTo>
                  <a:lnTo>
                    <a:pt x="57466" y="478204"/>
                  </a:lnTo>
                  <a:lnTo>
                    <a:pt x="61152" y="478204"/>
                  </a:lnTo>
                  <a:lnTo>
                    <a:pt x="64838" y="478204"/>
                  </a:lnTo>
                  <a:lnTo>
                    <a:pt x="72220" y="478204"/>
                  </a:lnTo>
                  <a:lnTo>
                    <a:pt x="75906" y="478204"/>
                  </a:lnTo>
                  <a:lnTo>
                    <a:pt x="79602" y="478204"/>
                  </a:lnTo>
                  <a:lnTo>
                    <a:pt x="86974" y="478204"/>
                  </a:lnTo>
                  <a:lnTo>
                    <a:pt x="90660" y="474518"/>
                  </a:lnTo>
                  <a:lnTo>
                    <a:pt x="94356" y="474518"/>
                  </a:lnTo>
                  <a:lnTo>
                    <a:pt x="98042" y="478204"/>
                  </a:lnTo>
                  <a:lnTo>
                    <a:pt x="105424" y="478204"/>
                  </a:lnTo>
                  <a:lnTo>
                    <a:pt x="109110" y="481900"/>
                  </a:lnTo>
                  <a:lnTo>
                    <a:pt x="109110" y="485586"/>
                  </a:lnTo>
                  <a:lnTo>
                    <a:pt x="112796" y="485586"/>
                  </a:lnTo>
                  <a:lnTo>
                    <a:pt x="109110" y="489281"/>
                  </a:lnTo>
                  <a:lnTo>
                    <a:pt x="105424" y="489281"/>
                  </a:lnTo>
                  <a:lnTo>
                    <a:pt x="105424" y="492968"/>
                  </a:lnTo>
                  <a:lnTo>
                    <a:pt x="109110" y="492968"/>
                  </a:lnTo>
                  <a:lnTo>
                    <a:pt x="109110" y="496663"/>
                  </a:lnTo>
                  <a:lnTo>
                    <a:pt x="109110" y="500350"/>
                  </a:lnTo>
                  <a:lnTo>
                    <a:pt x="109110" y="504045"/>
                  </a:lnTo>
                  <a:lnTo>
                    <a:pt x="112796" y="504045"/>
                  </a:lnTo>
                  <a:lnTo>
                    <a:pt x="112796" y="500350"/>
                  </a:lnTo>
                  <a:lnTo>
                    <a:pt x="116492" y="500350"/>
                  </a:lnTo>
                  <a:lnTo>
                    <a:pt x="120178" y="500350"/>
                  </a:lnTo>
                  <a:lnTo>
                    <a:pt x="120178" y="496663"/>
                  </a:lnTo>
                  <a:lnTo>
                    <a:pt x="123864" y="496663"/>
                  </a:lnTo>
                  <a:lnTo>
                    <a:pt x="127560" y="496663"/>
                  </a:lnTo>
                  <a:lnTo>
                    <a:pt x="127560" y="492968"/>
                  </a:lnTo>
                  <a:lnTo>
                    <a:pt x="134933" y="489281"/>
                  </a:lnTo>
                  <a:lnTo>
                    <a:pt x="134933" y="492968"/>
                  </a:lnTo>
                  <a:lnTo>
                    <a:pt x="138628" y="492968"/>
                  </a:lnTo>
                  <a:lnTo>
                    <a:pt x="138628" y="500350"/>
                  </a:lnTo>
                  <a:lnTo>
                    <a:pt x="149696" y="507731"/>
                  </a:lnTo>
                  <a:lnTo>
                    <a:pt x="146000" y="511427"/>
                  </a:lnTo>
                  <a:lnTo>
                    <a:pt x="142314" y="515113"/>
                  </a:lnTo>
                  <a:lnTo>
                    <a:pt x="142314" y="518799"/>
                  </a:lnTo>
                  <a:lnTo>
                    <a:pt x="134933" y="522495"/>
                  </a:lnTo>
                  <a:lnTo>
                    <a:pt x="131246" y="522495"/>
                  </a:lnTo>
                  <a:lnTo>
                    <a:pt x="131246" y="526181"/>
                  </a:lnTo>
                  <a:lnTo>
                    <a:pt x="127560" y="529877"/>
                  </a:lnTo>
                  <a:lnTo>
                    <a:pt x="123864" y="533563"/>
                  </a:lnTo>
                  <a:lnTo>
                    <a:pt x="127560" y="537259"/>
                  </a:lnTo>
                  <a:lnTo>
                    <a:pt x="134933" y="537259"/>
                  </a:lnTo>
                  <a:lnTo>
                    <a:pt x="138628" y="540945"/>
                  </a:lnTo>
                  <a:lnTo>
                    <a:pt x="138628" y="544641"/>
                  </a:lnTo>
                  <a:lnTo>
                    <a:pt x="134933" y="548327"/>
                  </a:lnTo>
                  <a:lnTo>
                    <a:pt x="134933" y="552023"/>
                  </a:lnTo>
                  <a:lnTo>
                    <a:pt x="131246" y="552023"/>
                  </a:lnTo>
                  <a:lnTo>
                    <a:pt x="127560" y="548327"/>
                  </a:lnTo>
                  <a:lnTo>
                    <a:pt x="123864" y="548327"/>
                  </a:lnTo>
                  <a:lnTo>
                    <a:pt x="120178" y="548327"/>
                  </a:lnTo>
                  <a:lnTo>
                    <a:pt x="120178" y="552023"/>
                  </a:lnTo>
                  <a:lnTo>
                    <a:pt x="120178" y="555709"/>
                  </a:lnTo>
                  <a:lnTo>
                    <a:pt x="123864" y="559395"/>
                  </a:lnTo>
                  <a:lnTo>
                    <a:pt x="123864" y="563091"/>
                  </a:lnTo>
                  <a:lnTo>
                    <a:pt x="120178" y="563091"/>
                  </a:lnTo>
                  <a:lnTo>
                    <a:pt x="120178" y="566777"/>
                  </a:lnTo>
                  <a:lnTo>
                    <a:pt x="123864" y="574159"/>
                  </a:lnTo>
                  <a:lnTo>
                    <a:pt x="120178" y="574159"/>
                  </a:lnTo>
                  <a:lnTo>
                    <a:pt x="120178" y="577854"/>
                  </a:lnTo>
                  <a:lnTo>
                    <a:pt x="116492" y="577854"/>
                  </a:lnTo>
                  <a:lnTo>
                    <a:pt x="109110" y="574159"/>
                  </a:lnTo>
                  <a:lnTo>
                    <a:pt x="105424" y="585236"/>
                  </a:lnTo>
                  <a:lnTo>
                    <a:pt x="105424" y="592618"/>
                  </a:lnTo>
                  <a:lnTo>
                    <a:pt x="101728" y="596304"/>
                  </a:lnTo>
                  <a:lnTo>
                    <a:pt x="101728" y="600000"/>
                  </a:lnTo>
                  <a:lnTo>
                    <a:pt x="105424" y="600000"/>
                  </a:lnTo>
                  <a:lnTo>
                    <a:pt x="109110" y="603686"/>
                  </a:lnTo>
                  <a:lnTo>
                    <a:pt x="109110" y="607373"/>
                  </a:lnTo>
                  <a:lnTo>
                    <a:pt x="105424" y="614754"/>
                  </a:lnTo>
                  <a:lnTo>
                    <a:pt x="105424" y="618450"/>
                  </a:lnTo>
                  <a:lnTo>
                    <a:pt x="105424" y="622136"/>
                  </a:lnTo>
                  <a:lnTo>
                    <a:pt x="105424" y="625832"/>
                  </a:lnTo>
                  <a:lnTo>
                    <a:pt x="101728" y="629518"/>
                  </a:lnTo>
                  <a:lnTo>
                    <a:pt x="98042" y="633214"/>
                  </a:lnTo>
                  <a:lnTo>
                    <a:pt x="94356" y="640596"/>
                  </a:lnTo>
                  <a:lnTo>
                    <a:pt x="90660" y="640596"/>
                  </a:lnTo>
                  <a:lnTo>
                    <a:pt x="86974" y="647977"/>
                  </a:lnTo>
                  <a:lnTo>
                    <a:pt x="83288" y="655350"/>
                  </a:lnTo>
                  <a:lnTo>
                    <a:pt x="83288" y="659046"/>
                  </a:lnTo>
                  <a:lnTo>
                    <a:pt x="86974" y="659046"/>
                  </a:lnTo>
                  <a:lnTo>
                    <a:pt x="90660" y="659046"/>
                  </a:lnTo>
                  <a:lnTo>
                    <a:pt x="94356" y="655350"/>
                  </a:lnTo>
                  <a:lnTo>
                    <a:pt x="98042" y="655350"/>
                  </a:lnTo>
                  <a:lnTo>
                    <a:pt x="101728" y="659046"/>
                  </a:lnTo>
                  <a:lnTo>
                    <a:pt x="101728" y="662732"/>
                  </a:lnTo>
                  <a:lnTo>
                    <a:pt x="94356" y="666428"/>
                  </a:lnTo>
                  <a:lnTo>
                    <a:pt x="94356" y="670114"/>
                  </a:lnTo>
                  <a:lnTo>
                    <a:pt x="94356" y="673809"/>
                  </a:lnTo>
                  <a:lnTo>
                    <a:pt x="86974" y="681191"/>
                  </a:lnTo>
                  <a:lnTo>
                    <a:pt x="86974" y="684877"/>
                  </a:lnTo>
                  <a:lnTo>
                    <a:pt x="83288" y="688573"/>
                  </a:lnTo>
                  <a:lnTo>
                    <a:pt x="86974" y="692259"/>
                  </a:lnTo>
                  <a:lnTo>
                    <a:pt x="83288" y="695955"/>
                  </a:lnTo>
                  <a:lnTo>
                    <a:pt x="79602" y="695955"/>
                  </a:lnTo>
                  <a:lnTo>
                    <a:pt x="75906" y="695955"/>
                  </a:lnTo>
                  <a:lnTo>
                    <a:pt x="72220" y="695955"/>
                  </a:lnTo>
                  <a:lnTo>
                    <a:pt x="68534" y="699641"/>
                  </a:lnTo>
                  <a:lnTo>
                    <a:pt x="68534" y="703327"/>
                  </a:lnTo>
                  <a:lnTo>
                    <a:pt x="68534" y="707023"/>
                  </a:lnTo>
                  <a:lnTo>
                    <a:pt x="61152" y="714405"/>
                  </a:lnTo>
                  <a:lnTo>
                    <a:pt x="61152" y="718091"/>
                  </a:lnTo>
                  <a:lnTo>
                    <a:pt x="57466" y="718091"/>
                  </a:lnTo>
                  <a:lnTo>
                    <a:pt x="53770" y="721787"/>
                  </a:lnTo>
                  <a:lnTo>
                    <a:pt x="50084" y="721787"/>
                  </a:lnTo>
                  <a:lnTo>
                    <a:pt x="50084" y="725473"/>
                  </a:lnTo>
                  <a:lnTo>
                    <a:pt x="46398" y="725473"/>
                  </a:lnTo>
                  <a:lnTo>
                    <a:pt x="42702" y="725473"/>
                  </a:lnTo>
                  <a:lnTo>
                    <a:pt x="46398" y="729169"/>
                  </a:lnTo>
                  <a:lnTo>
                    <a:pt x="42702" y="732855"/>
                  </a:lnTo>
                  <a:lnTo>
                    <a:pt x="42702" y="736551"/>
                  </a:lnTo>
                  <a:lnTo>
                    <a:pt x="42702" y="740237"/>
                  </a:lnTo>
                  <a:lnTo>
                    <a:pt x="42702" y="743932"/>
                  </a:lnTo>
                  <a:lnTo>
                    <a:pt x="42702" y="747619"/>
                  </a:lnTo>
                  <a:lnTo>
                    <a:pt x="42702" y="751305"/>
                  </a:lnTo>
                  <a:lnTo>
                    <a:pt x="42702" y="755000"/>
                  </a:lnTo>
                  <a:lnTo>
                    <a:pt x="46398" y="755000"/>
                  </a:lnTo>
                  <a:lnTo>
                    <a:pt x="46398" y="758687"/>
                  </a:lnTo>
                  <a:lnTo>
                    <a:pt x="46398" y="762382"/>
                  </a:lnTo>
                  <a:lnTo>
                    <a:pt x="50084" y="762382"/>
                  </a:lnTo>
                  <a:lnTo>
                    <a:pt x="50084" y="766069"/>
                  </a:lnTo>
                  <a:lnTo>
                    <a:pt x="53770" y="769764"/>
                  </a:lnTo>
                  <a:lnTo>
                    <a:pt x="57466" y="769764"/>
                  </a:lnTo>
                  <a:lnTo>
                    <a:pt x="61152" y="769764"/>
                  </a:lnTo>
                  <a:lnTo>
                    <a:pt x="61152" y="773450"/>
                  </a:lnTo>
                  <a:lnTo>
                    <a:pt x="68534" y="773450"/>
                  </a:lnTo>
                  <a:lnTo>
                    <a:pt x="72220" y="777146"/>
                  </a:lnTo>
                  <a:lnTo>
                    <a:pt x="72220" y="780832"/>
                  </a:lnTo>
                  <a:lnTo>
                    <a:pt x="68534" y="784528"/>
                  </a:lnTo>
                  <a:lnTo>
                    <a:pt x="72220" y="795596"/>
                  </a:lnTo>
                  <a:lnTo>
                    <a:pt x="72220" y="802978"/>
                  </a:lnTo>
                  <a:lnTo>
                    <a:pt x="64838" y="814046"/>
                  </a:lnTo>
                  <a:lnTo>
                    <a:pt x="64838" y="817742"/>
                  </a:lnTo>
                  <a:lnTo>
                    <a:pt x="68534" y="817742"/>
                  </a:lnTo>
                  <a:lnTo>
                    <a:pt x="72220" y="817742"/>
                  </a:lnTo>
                  <a:lnTo>
                    <a:pt x="75906" y="814046"/>
                  </a:lnTo>
                  <a:lnTo>
                    <a:pt x="79602" y="814046"/>
                  </a:lnTo>
                  <a:lnTo>
                    <a:pt x="83288" y="810360"/>
                  </a:lnTo>
                  <a:lnTo>
                    <a:pt x="83288" y="814046"/>
                  </a:lnTo>
                  <a:lnTo>
                    <a:pt x="86974" y="817742"/>
                  </a:lnTo>
                  <a:lnTo>
                    <a:pt x="90660" y="817742"/>
                  </a:lnTo>
                  <a:lnTo>
                    <a:pt x="94356" y="814046"/>
                  </a:lnTo>
                  <a:lnTo>
                    <a:pt x="94356" y="810360"/>
                  </a:lnTo>
                  <a:lnTo>
                    <a:pt x="98042" y="806664"/>
                  </a:lnTo>
                  <a:lnTo>
                    <a:pt x="105424" y="795596"/>
                  </a:lnTo>
                  <a:lnTo>
                    <a:pt x="112796" y="795596"/>
                  </a:lnTo>
                  <a:lnTo>
                    <a:pt x="112796" y="802978"/>
                  </a:lnTo>
                  <a:lnTo>
                    <a:pt x="116492" y="810360"/>
                  </a:lnTo>
                  <a:lnTo>
                    <a:pt x="120178" y="806664"/>
                  </a:lnTo>
                  <a:lnTo>
                    <a:pt x="127560" y="817742"/>
                  </a:lnTo>
                  <a:lnTo>
                    <a:pt x="131246" y="817742"/>
                  </a:lnTo>
                  <a:lnTo>
                    <a:pt x="134933" y="814046"/>
                  </a:lnTo>
                  <a:lnTo>
                    <a:pt x="138628" y="817742"/>
                  </a:lnTo>
                  <a:lnTo>
                    <a:pt x="142314" y="814046"/>
                  </a:lnTo>
                  <a:lnTo>
                    <a:pt x="146000" y="810360"/>
                  </a:lnTo>
                  <a:lnTo>
                    <a:pt x="146000" y="814046"/>
                  </a:lnTo>
                  <a:lnTo>
                    <a:pt x="146000" y="821428"/>
                  </a:lnTo>
                  <a:lnTo>
                    <a:pt x="149696" y="817742"/>
                  </a:lnTo>
                  <a:lnTo>
                    <a:pt x="153382" y="814046"/>
                  </a:lnTo>
                  <a:lnTo>
                    <a:pt x="153382" y="810360"/>
                  </a:lnTo>
                  <a:lnTo>
                    <a:pt x="157069" y="810360"/>
                  </a:lnTo>
                  <a:lnTo>
                    <a:pt x="160755" y="810360"/>
                  </a:lnTo>
                  <a:lnTo>
                    <a:pt x="168137" y="806664"/>
                  </a:lnTo>
                  <a:lnTo>
                    <a:pt x="168137" y="810360"/>
                  </a:lnTo>
                  <a:lnTo>
                    <a:pt x="168137" y="817742"/>
                  </a:lnTo>
                  <a:lnTo>
                    <a:pt x="175518" y="821428"/>
                  </a:lnTo>
                  <a:lnTo>
                    <a:pt x="175518" y="817742"/>
                  </a:lnTo>
                  <a:lnTo>
                    <a:pt x="179205" y="817742"/>
                  </a:lnTo>
                  <a:lnTo>
                    <a:pt x="182891" y="817742"/>
                  </a:lnTo>
                  <a:lnTo>
                    <a:pt x="182891" y="821428"/>
                  </a:lnTo>
                  <a:lnTo>
                    <a:pt x="190273" y="817742"/>
                  </a:lnTo>
                  <a:lnTo>
                    <a:pt x="193959" y="814046"/>
                  </a:lnTo>
                  <a:lnTo>
                    <a:pt x="197655" y="814046"/>
                  </a:lnTo>
                  <a:lnTo>
                    <a:pt x="201341" y="814046"/>
                  </a:lnTo>
                  <a:lnTo>
                    <a:pt x="205027" y="814046"/>
                  </a:lnTo>
                  <a:lnTo>
                    <a:pt x="208723" y="814046"/>
                  </a:lnTo>
                  <a:lnTo>
                    <a:pt x="212409" y="817742"/>
                  </a:lnTo>
                  <a:lnTo>
                    <a:pt x="219791" y="821428"/>
                  </a:lnTo>
                  <a:lnTo>
                    <a:pt x="223477" y="821428"/>
                  </a:lnTo>
                  <a:lnTo>
                    <a:pt x="223477" y="817742"/>
                  </a:lnTo>
                  <a:lnTo>
                    <a:pt x="230859" y="817742"/>
                  </a:lnTo>
                  <a:lnTo>
                    <a:pt x="234545" y="817742"/>
                  </a:lnTo>
                  <a:lnTo>
                    <a:pt x="234545" y="810360"/>
                  </a:lnTo>
                  <a:lnTo>
                    <a:pt x="238231" y="802978"/>
                  </a:lnTo>
                  <a:lnTo>
                    <a:pt x="227163" y="795596"/>
                  </a:lnTo>
                  <a:lnTo>
                    <a:pt x="223477" y="795596"/>
                  </a:lnTo>
                  <a:lnTo>
                    <a:pt x="219791" y="791910"/>
                  </a:lnTo>
                  <a:lnTo>
                    <a:pt x="219791" y="788214"/>
                  </a:lnTo>
                  <a:lnTo>
                    <a:pt x="216095" y="788214"/>
                  </a:lnTo>
                  <a:lnTo>
                    <a:pt x="212409" y="784528"/>
                  </a:lnTo>
                  <a:lnTo>
                    <a:pt x="212409" y="780832"/>
                  </a:lnTo>
                  <a:lnTo>
                    <a:pt x="212409" y="777146"/>
                  </a:lnTo>
                  <a:lnTo>
                    <a:pt x="216095" y="773450"/>
                  </a:lnTo>
                  <a:lnTo>
                    <a:pt x="219791" y="777146"/>
                  </a:lnTo>
                  <a:lnTo>
                    <a:pt x="227163" y="780832"/>
                  </a:lnTo>
                  <a:lnTo>
                    <a:pt x="230859" y="773450"/>
                  </a:lnTo>
                  <a:lnTo>
                    <a:pt x="234545" y="769764"/>
                  </a:lnTo>
                  <a:lnTo>
                    <a:pt x="234545" y="766069"/>
                  </a:lnTo>
                  <a:lnTo>
                    <a:pt x="238231" y="766069"/>
                  </a:lnTo>
                  <a:lnTo>
                    <a:pt x="234545" y="762382"/>
                  </a:lnTo>
                  <a:lnTo>
                    <a:pt x="234545" y="758687"/>
                  </a:lnTo>
                  <a:lnTo>
                    <a:pt x="230859" y="755000"/>
                  </a:lnTo>
                  <a:lnTo>
                    <a:pt x="230859" y="751305"/>
                  </a:lnTo>
                  <a:lnTo>
                    <a:pt x="230859" y="747619"/>
                  </a:lnTo>
                  <a:lnTo>
                    <a:pt x="234545" y="743932"/>
                  </a:lnTo>
                  <a:lnTo>
                    <a:pt x="241917" y="743932"/>
                  </a:lnTo>
                  <a:lnTo>
                    <a:pt x="245613" y="740237"/>
                  </a:lnTo>
                  <a:lnTo>
                    <a:pt x="249299" y="740237"/>
                  </a:lnTo>
                  <a:lnTo>
                    <a:pt x="249299" y="736551"/>
                  </a:lnTo>
                  <a:lnTo>
                    <a:pt x="252985" y="736551"/>
                  </a:lnTo>
                  <a:lnTo>
                    <a:pt x="252985" y="740237"/>
                  </a:lnTo>
                  <a:lnTo>
                    <a:pt x="260367" y="743932"/>
                  </a:lnTo>
                  <a:lnTo>
                    <a:pt x="260367" y="736551"/>
                  </a:lnTo>
                  <a:lnTo>
                    <a:pt x="260367" y="732855"/>
                  </a:lnTo>
                  <a:lnTo>
                    <a:pt x="264053" y="732855"/>
                  </a:lnTo>
                  <a:lnTo>
                    <a:pt x="264053" y="729169"/>
                  </a:lnTo>
                  <a:lnTo>
                    <a:pt x="267749" y="725473"/>
                  </a:lnTo>
                  <a:lnTo>
                    <a:pt x="267749" y="718091"/>
                  </a:lnTo>
                  <a:lnTo>
                    <a:pt x="264053" y="714405"/>
                  </a:lnTo>
                  <a:lnTo>
                    <a:pt x="264053" y="718091"/>
                  </a:lnTo>
                  <a:lnTo>
                    <a:pt x="260367" y="710709"/>
                  </a:lnTo>
                  <a:lnTo>
                    <a:pt x="260367" y="707023"/>
                  </a:lnTo>
                  <a:lnTo>
                    <a:pt x="260367" y="703327"/>
                  </a:lnTo>
                  <a:lnTo>
                    <a:pt x="264053" y="699641"/>
                  </a:lnTo>
                  <a:lnTo>
                    <a:pt x="264053" y="695955"/>
                  </a:lnTo>
                  <a:lnTo>
                    <a:pt x="267749" y="692259"/>
                  </a:lnTo>
                  <a:lnTo>
                    <a:pt x="267749" y="688573"/>
                  </a:lnTo>
                  <a:lnTo>
                    <a:pt x="264053" y="684877"/>
                  </a:lnTo>
                  <a:lnTo>
                    <a:pt x="260367" y="684877"/>
                  </a:lnTo>
                  <a:lnTo>
                    <a:pt x="256681" y="684877"/>
                  </a:lnTo>
                  <a:lnTo>
                    <a:pt x="249299" y="684877"/>
                  </a:lnTo>
                  <a:lnTo>
                    <a:pt x="249299" y="681191"/>
                  </a:lnTo>
                  <a:lnTo>
                    <a:pt x="249299" y="677496"/>
                  </a:lnTo>
                  <a:lnTo>
                    <a:pt x="245613" y="681191"/>
                  </a:lnTo>
                  <a:lnTo>
                    <a:pt x="241917" y="677496"/>
                  </a:lnTo>
                  <a:lnTo>
                    <a:pt x="230859" y="673809"/>
                  </a:lnTo>
                  <a:lnTo>
                    <a:pt x="230859" y="666428"/>
                  </a:lnTo>
                  <a:lnTo>
                    <a:pt x="230859" y="662732"/>
                  </a:lnTo>
                  <a:lnTo>
                    <a:pt x="223477" y="659046"/>
                  </a:lnTo>
                  <a:lnTo>
                    <a:pt x="227163" y="655350"/>
                  </a:lnTo>
                  <a:lnTo>
                    <a:pt x="230859" y="655350"/>
                  </a:lnTo>
                  <a:lnTo>
                    <a:pt x="230859" y="651664"/>
                  </a:lnTo>
                  <a:lnTo>
                    <a:pt x="234545" y="636900"/>
                  </a:lnTo>
                  <a:lnTo>
                    <a:pt x="230859" y="636900"/>
                  </a:lnTo>
                  <a:lnTo>
                    <a:pt x="216095" y="636900"/>
                  </a:lnTo>
                  <a:lnTo>
                    <a:pt x="212409" y="636900"/>
                  </a:lnTo>
                  <a:lnTo>
                    <a:pt x="208723" y="640596"/>
                  </a:lnTo>
                  <a:lnTo>
                    <a:pt x="205027" y="640596"/>
                  </a:lnTo>
                  <a:lnTo>
                    <a:pt x="201341" y="636900"/>
                  </a:lnTo>
                  <a:lnTo>
                    <a:pt x="201341" y="633214"/>
                  </a:lnTo>
                  <a:lnTo>
                    <a:pt x="197655" y="633214"/>
                  </a:lnTo>
                  <a:lnTo>
                    <a:pt x="190273" y="636900"/>
                  </a:lnTo>
                  <a:lnTo>
                    <a:pt x="186587" y="636900"/>
                  </a:lnTo>
                  <a:lnTo>
                    <a:pt x="182891" y="640596"/>
                  </a:lnTo>
                  <a:lnTo>
                    <a:pt x="179205" y="640596"/>
                  </a:lnTo>
                  <a:lnTo>
                    <a:pt x="175518" y="644282"/>
                  </a:lnTo>
                  <a:lnTo>
                    <a:pt x="171823" y="644282"/>
                  </a:lnTo>
                  <a:lnTo>
                    <a:pt x="168137" y="640596"/>
                  </a:lnTo>
                  <a:lnTo>
                    <a:pt x="175518" y="633214"/>
                  </a:lnTo>
                  <a:lnTo>
                    <a:pt x="175518" y="622136"/>
                  </a:lnTo>
                  <a:lnTo>
                    <a:pt x="171823" y="622136"/>
                  </a:lnTo>
                  <a:lnTo>
                    <a:pt x="168137" y="618450"/>
                  </a:lnTo>
                  <a:lnTo>
                    <a:pt x="168137" y="614754"/>
                  </a:lnTo>
                  <a:lnTo>
                    <a:pt x="164450" y="614754"/>
                  </a:lnTo>
                  <a:lnTo>
                    <a:pt x="164450" y="611068"/>
                  </a:lnTo>
                  <a:lnTo>
                    <a:pt x="160755" y="611068"/>
                  </a:lnTo>
                  <a:lnTo>
                    <a:pt x="160755" y="607373"/>
                  </a:lnTo>
                  <a:lnTo>
                    <a:pt x="160755" y="603686"/>
                  </a:lnTo>
                  <a:lnTo>
                    <a:pt x="160755" y="600000"/>
                  </a:lnTo>
                  <a:lnTo>
                    <a:pt x="160755" y="592618"/>
                  </a:lnTo>
                  <a:lnTo>
                    <a:pt x="157069" y="588923"/>
                  </a:lnTo>
                  <a:lnTo>
                    <a:pt x="153382" y="581541"/>
                  </a:lnTo>
                  <a:lnTo>
                    <a:pt x="157069" y="581541"/>
                  </a:lnTo>
                  <a:lnTo>
                    <a:pt x="164450" y="581541"/>
                  </a:lnTo>
                  <a:lnTo>
                    <a:pt x="168137" y="581541"/>
                  </a:lnTo>
                  <a:lnTo>
                    <a:pt x="168137" y="577854"/>
                  </a:lnTo>
                  <a:lnTo>
                    <a:pt x="175518" y="574159"/>
                  </a:lnTo>
                  <a:lnTo>
                    <a:pt x="179205" y="570473"/>
                  </a:lnTo>
                  <a:lnTo>
                    <a:pt x="179205" y="574159"/>
                  </a:lnTo>
                  <a:lnTo>
                    <a:pt x="186587" y="585236"/>
                  </a:lnTo>
                  <a:lnTo>
                    <a:pt x="190273" y="592618"/>
                  </a:lnTo>
                  <a:lnTo>
                    <a:pt x="190273" y="596304"/>
                  </a:lnTo>
                  <a:lnTo>
                    <a:pt x="193959" y="592618"/>
                  </a:lnTo>
                  <a:lnTo>
                    <a:pt x="197655" y="592618"/>
                  </a:lnTo>
                  <a:lnTo>
                    <a:pt x="197655" y="596304"/>
                  </a:lnTo>
                  <a:lnTo>
                    <a:pt x="201341" y="596304"/>
                  </a:lnTo>
                  <a:lnTo>
                    <a:pt x="201341" y="592618"/>
                  </a:lnTo>
                  <a:lnTo>
                    <a:pt x="205027" y="588923"/>
                  </a:lnTo>
                  <a:lnTo>
                    <a:pt x="205027" y="585236"/>
                  </a:lnTo>
                  <a:lnTo>
                    <a:pt x="208723" y="581541"/>
                  </a:lnTo>
                  <a:lnTo>
                    <a:pt x="208723" y="577854"/>
                  </a:lnTo>
                  <a:lnTo>
                    <a:pt x="208723" y="574159"/>
                  </a:lnTo>
                  <a:lnTo>
                    <a:pt x="212409" y="570473"/>
                  </a:lnTo>
                  <a:lnTo>
                    <a:pt x="212409" y="566777"/>
                  </a:lnTo>
                  <a:lnTo>
                    <a:pt x="216095" y="563091"/>
                  </a:lnTo>
                  <a:lnTo>
                    <a:pt x="216095" y="559395"/>
                  </a:lnTo>
                  <a:lnTo>
                    <a:pt x="219791" y="555709"/>
                  </a:lnTo>
                  <a:lnTo>
                    <a:pt x="227163" y="552023"/>
                  </a:lnTo>
                  <a:lnTo>
                    <a:pt x="230859" y="548327"/>
                  </a:lnTo>
                  <a:lnTo>
                    <a:pt x="238231" y="544641"/>
                  </a:lnTo>
                  <a:lnTo>
                    <a:pt x="241917" y="544641"/>
                  </a:lnTo>
                  <a:lnTo>
                    <a:pt x="245613" y="540945"/>
                  </a:lnTo>
                  <a:lnTo>
                    <a:pt x="249299" y="537259"/>
                  </a:lnTo>
                  <a:lnTo>
                    <a:pt x="249299" y="533563"/>
                  </a:lnTo>
                  <a:lnTo>
                    <a:pt x="252985" y="529877"/>
                  </a:lnTo>
                  <a:lnTo>
                    <a:pt x="256681" y="529877"/>
                  </a:lnTo>
                  <a:lnTo>
                    <a:pt x="260367" y="529877"/>
                  </a:lnTo>
                  <a:lnTo>
                    <a:pt x="264053" y="526181"/>
                  </a:lnTo>
                  <a:lnTo>
                    <a:pt x="264053" y="522495"/>
                  </a:lnTo>
                  <a:lnTo>
                    <a:pt x="264053" y="518799"/>
                  </a:lnTo>
                  <a:lnTo>
                    <a:pt x="267749" y="515113"/>
                  </a:lnTo>
                  <a:lnTo>
                    <a:pt x="271435" y="515113"/>
                  </a:lnTo>
                  <a:lnTo>
                    <a:pt x="275121" y="515113"/>
                  </a:lnTo>
                  <a:lnTo>
                    <a:pt x="278817" y="511427"/>
                  </a:lnTo>
                  <a:lnTo>
                    <a:pt x="282503" y="511427"/>
                  </a:lnTo>
                  <a:lnTo>
                    <a:pt x="282503" y="507731"/>
                  </a:lnTo>
                  <a:lnTo>
                    <a:pt x="289885" y="507731"/>
                  </a:lnTo>
                  <a:lnTo>
                    <a:pt x="293571" y="504045"/>
                  </a:lnTo>
                  <a:lnTo>
                    <a:pt x="297258" y="504045"/>
                  </a:lnTo>
                  <a:lnTo>
                    <a:pt x="304639" y="504045"/>
                  </a:lnTo>
                  <a:lnTo>
                    <a:pt x="300944" y="500350"/>
                  </a:lnTo>
                  <a:lnTo>
                    <a:pt x="304639" y="500350"/>
                  </a:lnTo>
                  <a:lnTo>
                    <a:pt x="308326" y="496663"/>
                  </a:lnTo>
                  <a:lnTo>
                    <a:pt x="293571" y="485586"/>
                  </a:lnTo>
                  <a:lnTo>
                    <a:pt x="289885" y="485586"/>
                  </a:lnTo>
                  <a:lnTo>
                    <a:pt x="312012" y="474518"/>
                  </a:lnTo>
                  <a:lnTo>
                    <a:pt x="304639" y="467136"/>
                  </a:lnTo>
                  <a:lnTo>
                    <a:pt x="282503" y="478204"/>
                  </a:lnTo>
                  <a:lnTo>
                    <a:pt x="278817" y="481900"/>
                  </a:lnTo>
                  <a:lnTo>
                    <a:pt x="275121" y="485586"/>
                  </a:lnTo>
                  <a:lnTo>
                    <a:pt x="271435" y="485586"/>
                  </a:lnTo>
                  <a:lnTo>
                    <a:pt x="267749" y="485586"/>
                  </a:lnTo>
                  <a:lnTo>
                    <a:pt x="260367" y="485586"/>
                  </a:lnTo>
                  <a:lnTo>
                    <a:pt x="260367" y="481900"/>
                  </a:lnTo>
                  <a:lnTo>
                    <a:pt x="256681" y="478204"/>
                  </a:lnTo>
                  <a:lnTo>
                    <a:pt x="256681" y="452372"/>
                  </a:lnTo>
                  <a:lnTo>
                    <a:pt x="252985" y="448686"/>
                  </a:lnTo>
                  <a:lnTo>
                    <a:pt x="256681" y="444990"/>
                  </a:lnTo>
                  <a:lnTo>
                    <a:pt x="264053" y="444990"/>
                  </a:lnTo>
                  <a:lnTo>
                    <a:pt x="256681" y="430227"/>
                  </a:lnTo>
                  <a:lnTo>
                    <a:pt x="264053" y="426540"/>
                  </a:lnTo>
                  <a:lnTo>
                    <a:pt x="267749" y="419158"/>
                  </a:lnTo>
                  <a:lnTo>
                    <a:pt x="282503" y="404395"/>
                  </a:lnTo>
                  <a:lnTo>
                    <a:pt x="282503" y="400709"/>
                  </a:lnTo>
                  <a:lnTo>
                    <a:pt x="286189" y="397013"/>
                  </a:lnTo>
                  <a:lnTo>
                    <a:pt x="293571" y="385945"/>
                  </a:lnTo>
                  <a:lnTo>
                    <a:pt x="297258" y="378563"/>
                  </a:lnTo>
                  <a:lnTo>
                    <a:pt x="297258" y="374867"/>
                  </a:lnTo>
                  <a:lnTo>
                    <a:pt x="300944" y="371181"/>
                  </a:lnTo>
                  <a:lnTo>
                    <a:pt x="300944" y="367495"/>
                  </a:lnTo>
                  <a:lnTo>
                    <a:pt x="300944" y="363799"/>
                  </a:lnTo>
                  <a:lnTo>
                    <a:pt x="304639" y="360113"/>
                  </a:lnTo>
                  <a:lnTo>
                    <a:pt x="304639" y="356417"/>
                  </a:lnTo>
                  <a:lnTo>
                    <a:pt x="308326" y="356417"/>
                  </a:lnTo>
                  <a:lnTo>
                    <a:pt x="312012" y="356417"/>
                  </a:lnTo>
                  <a:lnTo>
                    <a:pt x="315707" y="356417"/>
                  </a:lnTo>
                  <a:lnTo>
                    <a:pt x="315707" y="352731"/>
                  </a:lnTo>
                  <a:lnTo>
                    <a:pt x="334148" y="334272"/>
                  </a:lnTo>
                  <a:lnTo>
                    <a:pt x="330462" y="323204"/>
                  </a:lnTo>
                  <a:lnTo>
                    <a:pt x="326775" y="315822"/>
                  </a:lnTo>
                  <a:lnTo>
                    <a:pt x="326775" y="312136"/>
                  </a:lnTo>
                  <a:lnTo>
                    <a:pt x="330462" y="308440"/>
                  </a:lnTo>
                  <a:lnTo>
                    <a:pt x="334148" y="304754"/>
                  </a:lnTo>
                  <a:lnTo>
                    <a:pt x="323080" y="304754"/>
                  </a:lnTo>
                  <a:lnTo>
                    <a:pt x="323080" y="301058"/>
                  </a:lnTo>
                  <a:lnTo>
                    <a:pt x="326775" y="278912"/>
                  </a:lnTo>
                  <a:lnTo>
                    <a:pt x="326775" y="267844"/>
                  </a:lnTo>
                  <a:lnTo>
                    <a:pt x="330462" y="267844"/>
                  </a:lnTo>
                  <a:lnTo>
                    <a:pt x="326775" y="260462"/>
                  </a:lnTo>
                  <a:lnTo>
                    <a:pt x="330462" y="256776"/>
                  </a:lnTo>
                  <a:lnTo>
                    <a:pt x="330462" y="245699"/>
                  </a:lnTo>
                  <a:lnTo>
                    <a:pt x="326775" y="238317"/>
                  </a:lnTo>
                  <a:lnTo>
                    <a:pt x="323080" y="230935"/>
                  </a:lnTo>
                  <a:lnTo>
                    <a:pt x="326775" y="223563"/>
                  </a:lnTo>
                  <a:lnTo>
                    <a:pt x="323080" y="219867"/>
                  </a:lnTo>
                  <a:lnTo>
                    <a:pt x="323080" y="212485"/>
                  </a:lnTo>
                  <a:lnTo>
                    <a:pt x="323080" y="208799"/>
                  </a:lnTo>
                  <a:lnTo>
                    <a:pt x="319394" y="201417"/>
                  </a:lnTo>
                  <a:lnTo>
                    <a:pt x="312012" y="197721"/>
                  </a:lnTo>
                  <a:lnTo>
                    <a:pt x="304639" y="194035"/>
                  </a:lnTo>
                  <a:lnTo>
                    <a:pt x="297258" y="171890"/>
                  </a:lnTo>
                  <a:lnTo>
                    <a:pt x="289885" y="168203"/>
                  </a:lnTo>
                  <a:lnTo>
                    <a:pt x="286189" y="164508"/>
                  </a:lnTo>
                  <a:lnTo>
                    <a:pt x="282503" y="160821"/>
                  </a:lnTo>
                  <a:lnTo>
                    <a:pt x="278817" y="153439"/>
                  </a:lnTo>
                  <a:lnTo>
                    <a:pt x="278817" y="149744"/>
                  </a:lnTo>
                  <a:lnTo>
                    <a:pt x="275121" y="149744"/>
                  </a:lnTo>
                  <a:lnTo>
                    <a:pt x="264053" y="142362"/>
                  </a:lnTo>
                  <a:lnTo>
                    <a:pt x="264053" y="134980"/>
                  </a:lnTo>
                  <a:lnTo>
                    <a:pt x="264053" y="127608"/>
                  </a:lnTo>
                  <a:lnTo>
                    <a:pt x="267749" y="127608"/>
                  </a:lnTo>
                  <a:lnTo>
                    <a:pt x="267749" y="123912"/>
                  </a:lnTo>
                  <a:lnTo>
                    <a:pt x="271435" y="112844"/>
                  </a:lnTo>
                  <a:lnTo>
                    <a:pt x="271435" y="109148"/>
                  </a:lnTo>
                  <a:lnTo>
                    <a:pt x="275121" y="105462"/>
                  </a:lnTo>
                  <a:lnTo>
                    <a:pt x="275121" y="101766"/>
                  </a:lnTo>
                  <a:lnTo>
                    <a:pt x="267749" y="98080"/>
                  </a:lnTo>
                  <a:lnTo>
                    <a:pt x="264053" y="98080"/>
                  </a:lnTo>
                  <a:lnTo>
                    <a:pt x="260367" y="98080"/>
                  </a:lnTo>
                  <a:lnTo>
                    <a:pt x="260367" y="94384"/>
                  </a:lnTo>
                  <a:lnTo>
                    <a:pt x="256681" y="94384"/>
                  </a:lnTo>
                  <a:lnTo>
                    <a:pt x="252985" y="94384"/>
                  </a:lnTo>
                  <a:lnTo>
                    <a:pt x="234545" y="87003"/>
                  </a:lnTo>
                  <a:lnTo>
                    <a:pt x="230859" y="83316"/>
                  </a:lnTo>
                  <a:lnTo>
                    <a:pt x="230859" y="79630"/>
                  </a:lnTo>
                  <a:lnTo>
                    <a:pt x="230859" y="75935"/>
                  </a:lnTo>
                  <a:lnTo>
                    <a:pt x="234545" y="72248"/>
                  </a:lnTo>
                  <a:lnTo>
                    <a:pt x="230859" y="68553"/>
                  </a:lnTo>
                  <a:lnTo>
                    <a:pt x="230859" y="64867"/>
                  </a:lnTo>
                  <a:lnTo>
                    <a:pt x="230859" y="57485"/>
                  </a:lnTo>
                  <a:lnTo>
                    <a:pt x="234545" y="57485"/>
                  </a:lnTo>
                  <a:lnTo>
                    <a:pt x="238231" y="57485"/>
                  </a:lnTo>
                  <a:lnTo>
                    <a:pt x="238231" y="53789"/>
                  </a:lnTo>
                  <a:lnTo>
                    <a:pt x="234545" y="53789"/>
                  </a:lnTo>
                  <a:lnTo>
                    <a:pt x="234545" y="50103"/>
                  </a:lnTo>
                  <a:lnTo>
                    <a:pt x="234545" y="46407"/>
                  </a:lnTo>
                  <a:lnTo>
                    <a:pt x="230859" y="46407"/>
                  </a:lnTo>
                  <a:lnTo>
                    <a:pt x="219791" y="39025"/>
                  </a:lnTo>
                  <a:lnTo>
                    <a:pt x="216095" y="35339"/>
                  </a:lnTo>
                  <a:lnTo>
                    <a:pt x="208723" y="35339"/>
                  </a:lnTo>
                  <a:lnTo>
                    <a:pt x="205027" y="35339"/>
                  </a:lnTo>
                  <a:lnTo>
                    <a:pt x="193959" y="35339"/>
                  </a:lnTo>
                  <a:lnTo>
                    <a:pt x="193959" y="31653"/>
                  </a:lnTo>
                  <a:lnTo>
                    <a:pt x="190273" y="35339"/>
                  </a:lnTo>
                  <a:lnTo>
                    <a:pt x="186587" y="35339"/>
                  </a:lnTo>
                  <a:lnTo>
                    <a:pt x="182891" y="31653"/>
                  </a:lnTo>
                  <a:lnTo>
                    <a:pt x="182891" y="27957"/>
                  </a:lnTo>
                  <a:lnTo>
                    <a:pt x="179205" y="27957"/>
                  </a:lnTo>
                  <a:lnTo>
                    <a:pt x="175518" y="24271"/>
                  </a:lnTo>
                  <a:lnTo>
                    <a:pt x="175518" y="20575"/>
                  </a:lnTo>
                  <a:lnTo>
                    <a:pt x="171823" y="16889"/>
                  </a:lnTo>
                  <a:lnTo>
                    <a:pt x="171823" y="13193"/>
                  </a:lnTo>
                  <a:lnTo>
                    <a:pt x="168137" y="9507"/>
                  </a:lnTo>
                  <a:lnTo>
                    <a:pt x="164450" y="5812"/>
                  </a:lnTo>
                  <a:lnTo>
                    <a:pt x="160755" y="5812"/>
                  </a:lnTo>
                  <a:lnTo>
                    <a:pt x="153382" y="5812"/>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33" name="Freeform: Shape 32">
              <a:extLst>
                <a:ext uri="{FF2B5EF4-FFF2-40B4-BE49-F238E27FC236}">
                  <a16:creationId xmlns:a16="http://schemas.microsoft.com/office/drawing/2014/main" id="{CCD3F4E2-466F-4CA1-A8BB-2B9F54B41C9B}"/>
                </a:ext>
              </a:extLst>
            </p:cNvPr>
            <p:cNvSpPr/>
            <p:nvPr/>
          </p:nvSpPr>
          <p:spPr>
            <a:xfrm>
              <a:off x="5541727" y="2887300"/>
              <a:ext cx="808670" cy="659707"/>
            </a:xfrm>
            <a:custGeom>
              <a:avLst/>
              <a:gdLst>
                <a:gd name="connsiteX0" fmla="*/ 256678 w 361950"/>
                <a:gd name="connsiteY0" fmla="*/ 5812 h 295275"/>
                <a:gd name="connsiteX1" fmla="*/ 252982 w 361950"/>
                <a:gd name="connsiteY1" fmla="*/ 9502 h 295275"/>
                <a:gd name="connsiteX2" fmla="*/ 227160 w 361950"/>
                <a:gd name="connsiteY2" fmla="*/ 16882 h 295275"/>
                <a:gd name="connsiteX3" fmla="*/ 223474 w 361950"/>
                <a:gd name="connsiteY3" fmla="*/ 16882 h 295275"/>
                <a:gd name="connsiteX4" fmla="*/ 219788 w 361950"/>
                <a:gd name="connsiteY4" fmla="*/ 20573 h 295275"/>
                <a:gd name="connsiteX5" fmla="*/ 190270 w 361950"/>
                <a:gd name="connsiteY5" fmla="*/ 46407 h 295275"/>
                <a:gd name="connsiteX6" fmla="*/ 190270 w 361950"/>
                <a:gd name="connsiteY6" fmla="*/ 50098 h 295275"/>
                <a:gd name="connsiteX7" fmla="*/ 186584 w 361950"/>
                <a:gd name="connsiteY7" fmla="*/ 50098 h 295275"/>
                <a:gd name="connsiteX8" fmla="*/ 171820 w 361950"/>
                <a:gd name="connsiteY8" fmla="*/ 50098 h 295275"/>
                <a:gd name="connsiteX9" fmla="*/ 168134 w 361950"/>
                <a:gd name="connsiteY9" fmla="*/ 50098 h 295275"/>
                <a:gd name="connsiteX10" fmla="*/ 168134 w 361950"/>
                <a:gd name="connsiteY10" fmla="*/ 53788 h 295275"/>
                <a:gd name="connsiteX11" fmla="*/ 164448 w 361950"/>
                <a:gd name="connsiteY11" fmla="*/ 64860 h 295275"/>
                <a:gd name="connsiteX12" fmla="*/ 164448 w 361950"/>
                <a:gd name="connsiteY12" fmla="*/ 61170 h 295275"/>
                <a:gd name="connsiteX13" fmla="*/ 160761 w 361950"/>
                <a:gd name="connsiteY13" fmla="*/ 68551 h 295275"/>
                <a:gd name="connsiteX14" fmla="*/ 160761 w 361950"/>
                <a:gd name="connsiteY14" fmla="*/ 72242 h 295275"/>
                <a:gd name="connsiteX15" fmla="*/ 160761 w 361950"/>
                <a:gd name="connsiteY15" fmla="*/ 75932 h 295275"/>
                <a:gd name="connsiteX16" fmla="*/ 160761 w 361950"/>
                <a:gd name="connsiteY16" fmla="*/ 79623 h 295275"/>
                <a:gd name="connsiteX17" fmla="*/ 160761 w 361950"/>
                <a:gd name="connsiteY17" fmla="*/ 83313 h 295275"/>
                <a:gd name="connsiteX18" fmla="*/ 153380 w 361950"/>
                <a:gd name="connsiteY18" fmla="*/ 87004 h 295275"/>
                <a:gd name="connsiteX19" fmla="*/ 149693 w 361950"/>
                <a:gd name="connsiteY19" fmla="*/ 87004 h 295275"/>
                <a:gd name="connsiteX20" fmla="*/ 145998 w 361950"/>
                <a:gd name="connsiteY20" fmla="*/ 90695 h 295275"/>
                <a:gd name="connsiteX21" fmla="*/ 142312 w 361950"/>
                <a:gd name="connsiteY21" fmla="*/ 98075 h 295275"/>
                <a:gd name="connsiteX22" fmla="*/ 138625 w 361950"/>
                <a:gd name="connsiteY22" fmla="*/ 98075 h 295275"/>
                <a:gd name="connsiteX23" fmla="*/ 134930 w 361950"/>
                <a:gd name="connsiteY23" fmla="*/ 98075 h 295275"/>
                <a:gd name="connsiteX24" fmla="*/ 134930 w 361950"/>
                <a:gd name="connsiteY24" fmla="*/ 101765 h 295275"/>
                <a:gd name="connsiteX25" fmla="*/ 72217 w 361950"/>
                <a:gd name="connsiteY25" fmla="*/ 142362 h 295275"/>
                <a:gd name="connsiteX26" fmla="*/ 61149 w 361950"/>
                <a:gd name="connsiteY26" fmla="*/ 149743 h 295275"/>
                <a:gd name="connsiteX27" fmla="*/ 61149 w 361950"/>
                <a:gd name="connsiteY27" fmla="*/ 153434 h 295275"/>
                <a:gd name="connsiteX28" fmla="*/ 57460 w 361950"/>
                <a:gd name="connsiteY28" fmla="*/ 153434 h 295275"/>
                <a:gd name="connsiteX29" fmla="*/ 57460 w 361950"/>
                <a:gd name="connsiteY29" fmla="*/ 157125 h 295275"/>
                <a:gd name="connsiteX30" fmla="*/ 53771 w 361950"/>
                <a:gd name="connsiteY30" fmla="*/ 157125 h 295275"/>
                <a:gd name="connsiteX31" fmla="*/ 51580 w 361950"/>
                <a:gd name="connsiteY31" fmla="*/ 157125 h 295275"/>
                <a:gd name="connsiteX32" fmla="*/ 27947 w 361950"/>
                <a:gd name="connsiteY32" fmla="*/ 171887 h 295275"/>
                <a:gd name="connsiteX33" fmla="*/ 24257 w 361950"/>
                <a:gd name="connsiteY33" fmla="*/ 175578 h 295275"/>
                <a:gd name="connsiteX34" fmla="*/ 9501 w 361950"/>
                <a:gd name="connsiteY34" fmla="*/ 186648 h 295275"/>
                <a:gd name="connsiteX35" fmla="*/ 5812 w 361950"/>
                <a:gd name="connsiteY35" fmla="*/ 186648 h 295275"/>
                <a:gd name="connsiteX36" fmla="*/ 5812 w 361950"/>
                <a:gd name="connsiteY36" fmla="*/ 190339 h 295275"/>
                <a:gd name="connsiteX37" fmla="*/ 13190 w 361950"/>
                <a:gd name="connsiteY37" fmla="*/ 197723 h 295275"/>
                <a:gd name="connsiteX38" fmla="*/ 13190 w 361950"/>
                <a:gd name="connsiteY38" fmla="*/ 205105 h 295275"/>
                <a:gd name="connsiteX39" fmla="*/ 13190 w 361950"/>
                <a:gd name="connsiteY39" fmla="*/ 216173 h 295275"/>
                <a:gd name="connsiteX40" fmla="*/ 9501 w 361950"/>
                <a:gd name="connsiteY40" fmla="*/ 219869 h 295275"/>
                <a:gd name="connsiteX41" fmla="*/ 13190 w 361950"/>
                <a:gd name="connsiteY41" fmla="*/ 219869 h 295275"/>
                <a:gd name="connsiteX42" fmla="*/ 16879 w 361950"/>
                <a:gd name="connsiteY42" fmla="*/ 227241 h 295275"/>
                <a:gd name="connsiteX43" fmla="*/ 13190 w 361950"/>
                <a:gd name="connsiteY43" fmla="*/ 227241 h 295275"/>
                <a:gd name="connsiteX44" fmla="*/ 16879 w 361950"/>
                <a:gd name="connsiteY44" fmla="*/ 230937 h 295275"/>
                <a:gd name="connsiteX45" fmla="*/ 20568 w 361950"/>
                <a:gd name="connsiteY45" fmla="*/ 227241 h 295275"/>
                <a:gd name="connsiteX46" fmla="*/ 24257 w 361950"/>
                <a:gd name="connsiteY46" fmla="*/ 227241 h 295275"/>
                <a:gd name="connsiteX47" fmla="*/ 39014 w 361950"/>
                <a:gd name="connsiteY47" fmla="*/ 223555 h 295275"/>
                <a:gd name="connsiteX48" fmla="*/ 42703 w 361950"/>
                <a:gd name="connsiteY48" fmla="*/ 223555 h 295275"/>
                <a:gd name="connsiteX49" fmla="*/ 46392 w 361950"/>
                <a:gd name="connsiteY49" fmla="*/ 223555 h 295275"/>
                <a:gd name="connsiteX50" fmla="*/ 50082 w 361950"/>
                <a:gd name="connsiteY50" fmla="*/ 227241 h 295275"/>
                <a:gd name="connsiteX51" fmla="*/ 53771 w 361950"/>
                <a:gd name="connsiteY51" fmla="*/ 227241 h 295275"/>
                <a:gd name="connsiteX52" fmla="*/ 57460 w 361950"/>
                <a:gd name="connsiteY52" fmla="*/ 227241 h 295275"/>
                <a:gd name="connsiteX53" fmla="*/ 64838 w 361950"/>
                <a:gd name="connsiteY53" fmla="*/ 227241 h 295275"/>
                <a:gd name="connsiteX54" fmla="*/ 75903 w 361950"/>
                <a:gd name="connsiteY54" fmla="*/ 230937 h 295275"/>
                <a:gd name="connsiteX55" fmla="*/ 83285 w 361950"/>
                <a:gd name="connsiteY55" fmla="*/ 238319 h 295275"/>
                <a:gd name="connsiteX56" fmla="*/ 94353 w 361950"/>
                <a:gd name="connsiteY56" fmla="*/ 242005 h 295275"/>
                <a:gd name="connsiteX57" fmla="*/ 101725 w 361950"/>
                <a:gd name="connsiteY57" fmla="*/ 249387 h 295275"/>
                <a:gd name="connsiteX58" fmla="*/ 134930 w 361950"/>
                <a:gd name="connsiteY58" fmla="*/ 278914 h 295275"/>
                <a:gd name="connsiteX59" fmla="*/ 138625 w 361950"/>
                <a:gd name="connsiteY59" fmla="*/ 286296 h 295275"/>
                <a:gd name="connsiteX60" fmla="*/ 142312 w 361950"/>
                <a:gd name="connsiteY60" fmla="*/ 286296 h 295275"/>
                <a:gd name="connsiteX61" fmla="*/ 149693 w 361950"/>
                <a:gd name="connsiteY61" fmla="*/ 289982 h 295275"/>
                <a:gd name="connsiteX62" fmla="*/ 157066 w 361950"/>
                <a:gd name="connsiteY62" fmla="*/ 286296 h 295275"/>
                <a:gd name="connsiteX63" fmla="*/ 175516 w 361950"/>
                <a:gd name="connsiteY63" fmla="*/ 278914 h 295275"/>
                <a:gd name="connsiteX64" fmla="*/ 179202 w 361950"/>
                <a:gd name="connsiteY64" fmla="*/ 278914 h 295275"/>
                <a:gd name="connsiteX65" fmla="*/ 186584 w 361950"/>
                <a:gd name="connsiteY65" fmla="*/ 278914 h 295275"/>
                <a:gd name="connsiteX66" fmla="*/ 190270 w 361950"/>
                <a:gd name="connsiteY66" fmla="*/ 275219 h 295275"/>
                <a:gd name="connsiteX67" fmla="*/ 201338 w 361950"/>
                <a:gd name="connsiteY67" fmla="*/ 271532 h 295275"/>
                <a:gd name="connsiteX68" fmla="*/ 205024 w 361950"/>
                <a:gd name="connsiteY68" fmla="*/ 271532 h 295275"/>
                <a:gd name="connsiteX69" fmla="*/ 208720 w 361950"/>
                <a:gd name="connsiteY69" fmla="*/ 256769 h 295275"/>
                <a:gd name="connsiteX70" fmla="*/ 212406 w 361950"/>
                <a:gd name="connsiteY70" fmla="*/ 253082 h 295275"/>
                <a:gd name="connsiteX71" fmla="*/ 212406 w 361950"/>
                <a:gd name="connsiteY71" fmla="*/ 242005 h 295275"/>
                <a:gd name="connsiteX72" fmla="*/ 216092 w 361950"/>
                <a:gd name="connsiteY72" fmla="*/ 242005 h 295275"/>
                <a:gd name="connsiteX73" fmla="*/ 216092 w 361950"/>
                <a:gd name="connsiteY73" fmla="*/ 234623 h 295275"/>
                <a:gd name="connsiteX74" fmla="*/ 216092 w 361950"/>
                <a:gd name="connsiteY74" fmla="*/ 230937 h 295275"/>
                <a:gd name="connsiteX75" fmla="*/ 216092 w 361950"/>
                <a:gd name="connsiteY75" fmla="*/ 227241 h 295275"/>
                <a:gd name="connsiteX76" fmla="*/ 216092 w 361950"/>
                <a:gd name="connsiteY76" fmla="*/ 223555 h 295275"/>
                <a:gd name="connsiteX77" fmla="*/ 212406 w 361950"/>
                <a:gd name="connsiteY77" fmla="*/ 223555 h 295275"/>
                <a:gd name="connsiteX78" fmla="*/ 212406 w 361950"/>
                <a:gd name="connsiteY78" fmla="*/ 219869 h 295275"/>
                <a:gd name="connsiteX79" fmla="*/ 208720 w 361950"/>
                <a:gd name="connsiteY79" fmla="*/ 212487 h 295275"/>
                <a:gd name="connsiteX80" fmla="*/ 212406 w 361950"/>
                <a:gd name="connsiteY80" fmla="*/ 208791 h 295275"/>
                <a:gd name="connsiteX81" fmla="*/ 223474 w 361950"/>
                <a:gd name="connsiteY81" fmla="*/ 197723 h 295275"/>
                <a:gd name="connsiteX82" fmla="*/ 230856 w 361950"/>
                <a:gd name="connsiteY82" fmla="*/ 201409 h 295275"/>
                <a:gd name="connsiteX83" fmla="*/ 241914 w 361950"/>
                <a:gd name="connsiteY83" fmla="*/ 197723 h 295275"/>
                <a:gd name="connsiteX84" fmla="*/ 245610 w 361950"/>
                <a:gd name="connsiteY84" fmla="*/ 197723 h 295275"/>
                <a:gd name="connsiteX85" fmla="*/ 249296 w 361950"/>
                <a:gd name="connsiteY85" fmla="*/ 194027 h 295275"/>
                <a:gd name="connsiteX86" fmla="*/ 245610 w 361950"/>
                <a:gd name="connsiteY86" fmla="*/ 194027 h 295275"/>
                <a:gd name="connsiteX87" fmla="*/ 249296 w 361950"/>
                <a:gd name="connsiteY87" fmla="*/ 190339 h 295275"/>
                <a:gd name="connsiteX88" fmla="*/ 252982 w 361950"/>
                <a:gd name="connsiteY88" fmla="*/ 186648 h 295275"/>
                <a:gd name="connsiteX89" fmla="*/ 256678 w 361950"/>
                <a:gd name="connsiteY89" fmla="*/ 182958 h 295275"/>
                <a:gd name="connsiteX90" fmla="*/ 267746 w 361950"/>
                <a:gd name="connsiteY90" fmla="*/ 171887 h 295275"/>
                <a:gd name="connsiteX91" fmla="*/ 297255 w 361950"/>
                <a:gd name="connsiteY91" fmla="*/ 157125 h 295275"/>
                <a:gd name="connsiteX92" fmla="*/ 300950 w 361950"/>
                <a:gd name="connsiteY92" fmla="*/ 157125 h 295275"/>
                <a:gd name="connsiteX93" fmla="*/ 304637 w 361950"/>
                <a:gd name="connsiteY93" fmla="*/ 157125 h 295275"/>
                <a:gd name="connsiteX94" fmla="*/ 308323 w 361950"/>
                <a:gd name="connsiteY94" fmla="*/ 160815 h 295275"/>
                <a:gd name="connsiteX95" fmla="*/ 312009 w 361950"/>
                <a:gd name="connsiteY95" fmla="*/ 160815 h 295275"/>
                <a:gd name="connsiteX96" fmla="*/ 326773 w 361950"/>
                <a:gd name="connsiteY96" fmla="*/ 149743 h 295275"/>
                <a:gd name="connsiteX97" fmla="*/ 330459 w 361950"/>
                <a:gd name="connsiteY97" fmla="*/ 142362 h 295275"/>
                <a:gd name="connsiteX98" fmla="*/ 337841 w 361950"/>
                <a:gd name="connsiteY98" fmla="*/ 134981 h 295275"/>
                <a:gd name="connsiteX99" fmla="*/ 341527 w 361950"/>
                <a:gd name="connsiteY99" fmla="*/ 127600 h 295275"/>
                <a:gd name="connsiteX100" fmla="*/ 345213 w 361950"/>
                <a:gd name="connsiteY100" fmla="*/ 123909 h 295275"/>
                <a:gd name="connsiteX101" fmla="*/ 348909 w 361950"/>
                <a:gd name="connsiteY101" fmla="*/ 116528 h 295275"/>
                <a:gd name="connsiteX102" fmla="*/ 359977 w 361950"/>
                <a:gd name="connsiteY102" fmla="*/ 94385 h 295275"/>
                <a:gd name="connsiteX103" fmla="*/ 363663 w 361950"/>
                <a:gd name="connsiteY103" fmla="*/ 87004 h 295275"/>
                <a:gd name="connsiteX104" fmla="*/ 363663 w 361950"/>
                <a:gd name="connsiteY104" fmla="*/ 83313 h 295275"/>
                <a:gd name="connsiteX105" fmla="*/ 363663 w 361950"/>
                <a:gd name="connsiteY105" fmla="*/ 75932 h 295275"/>
                <a:gd name="connsiteX106" fmla="*/ 363663 w 361950"/>
                <a:gd name="connsiteY106" fmla="*/ 57479 h 295275"/>
                <a:gd name="connsiteX107" fmla="*/ 359977 w 361950"/>
                <a:gd name="connsiteY107" fmla="*/ 50098 h 295275"/>
                <a:gd name="connsiteX108" fmla="*/ 341527 w 361950"/>
                <a:gd name="connsiteY108" fmla="*/ 31645 h 295275"/>
                <a:gd name="connsiteX109" fmla="*/ 341527 w 361950"/>
                <a:gd name="connsiteY109" fmla="*/ 27954 h 295275"/>
                <a:gd name="connsiteX110" fmla="*/ 337841 w 361950"/>
                <a:gd name="connsiteY110" fmla="*/ 27954 h 295275"/>
                <a:gd name="connsiteX111" fmla="*/ 319391 w 361950"/>
                <a:gd name="connsiteY111" fmla="*/ 27954 h 295275"/>
                <a:gd name="connsiteX112" fmla="*/ 315705 w 361950"/>
                <a:gd name="connsiteY112" fmla="*/ 27954 h 295275"/>
                <a:gd name="connsiteX113" fmla="*/ 300950 w 361950"/>
                <a:gd name="connsiteY113" fmla="*/ 24264 h 295275"/>
                <a:gd name="connsiteX114" fmla="*/ 267746 w 361950"/>
                <a:gd name="connsiteY114" fmla="*/ 13193 h 295275"/>
                <a:gd name="connsiteX115" fmla="*/ 264051 w 361950"/>
                <a:gd name="connsiteY115" fmla="*/ 13193 h 295275"/>
                <a:gd name="connsiteX116" fmla="*/ 260364 w 361950"/>
                <a:gd name="connsiteY116" fmla="*/ 5812 h 295275"/>
                <a:gd name="connsiteX117" fmla="*/ 256678 w 361950"/>
                <a:gd name="connsiteY117" fmla="*/ 5812 h 295275"/>
                <a:gd name="connsiteX118" fmla="*/ 51580 w 361950"/>
                <a:gd name="connsiteY118" fmla="*/ 157125 h 295275"/>
                <a:gd name="connsiteX119" fmla="*/ 57460 w 361950"/>
                <a:gd name="connsiteY119" fmla="*/ 153434 h 295275"/>
                <a:gd name="connsiteX120" fmla="*/ 50082 w 361950"/>
                <a:gd name="connsiteY120" fmla="*/ 157125 h 295275"/>
                <a:gd name="connsiteX121" fmla="*/ 51580 w 361950"/>
                <a:gd name="connsiteY121" fmla="*/ 157125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361950" h="295275">
                  <a:moveTo>
                    <a:pt x="256678" y="5812"/>
                  </a:moveTo>
                  <a:lnTo>
                    <a:pt x="252982" y="9502"/>
                  </a:lnTo>
                  <a:lnTo>
                    <a:pt x="227160" y="16882"/>
                  </a:lnTo>
                  <a:lnTo>
                    <a:pt x="223474" y="16882"/>
                  </a:lnTo>
                  <a:lnTo>
                    <a:pt x="219788" y="20573"/>
                  </a:lnTo>
                  <a:lnTo>
                    <a:pt x="190270" y="46407"/>
                  </a:lnTo>
                  <a:lnTo>
                    <a:pt x="190270" y="50098"/>
                  </a:lnTo>
                  <a:lnTo>
                    <a:pt x="186584" y="50098"/>
                  </a:lnTo>
                  <a:lnTo>
                    <a:pt x="171820" y="50098"/>
                  </a:lnTo>
                  <a:lnTo>
                    <a:pt x="168134" y="50098"/>
                  </a:lnTo>
                  <a:lnTo>
                    <a:pt x="168134" y="53788"/>
                  </a:lnTo>
                  <a:lnTo>
                    <a:pt x="164448" y="64860"/>
                  </a:lnTo>
                  <a:lnTo>
                    <a:pt x="164448" y="61170"/>
                  </a:lnTo>
                  <a:lnTo>
                    <a:pt x="160761" y="68551"/>
                  </a:lnTo>
                  <a:lnTo>
                    <a:pt x="160761" y="72242"/>
                  </a:lnTo>
                  <a:lnTo>
                    <a:pt x="160761" y="75932"/>
                  </a:lnTo>
                  <a:lnTo>
                    <a:pt x="160761" y="79623"/>
                  </a:lnTo>
                  <a:lnTo>
                    <a:pt x="160761" y="83313"/>
                  </a:lnTo>
                  <a:lnTo>
                    <a:pt x="153380" y="87004"/>
                  </a:lnTo>
                  <a:lnTo>
                    <a:pt x="149693" y="87004"/>
                  </a:lnTo>
                  <a:lnTo>
                    <a:pt x="145998" y="90695"/>
                  </a:lnTo>
                  <a:lnTo>
                    <a:pt x="142312" y="98075"/>
                  </a:lnTo>
                  <a:lnTo>
                    <a:pt x="138625" y="98075"/>
                  </a:lnTo>
                  <a:lnTo>
                    <a:pt x="134930" y="98075"/>
                  </a:lnTo>
                  <a:lnTo>
                    <a:pt x="134930" y="101765"/>
                  </a:lnTo>
                  <a:lnTo>
                    <a:pt x="72217" y="142362"/>
                  </a:lnTo>
                  <a:lnTo>
                    <a:pt x="61149" y="149743"/>
                  </a:lnTo>
                  <a:lnTo>
                    <a:pt x="61149" y="153434"/>
                  </a:lnTo>
                  <a:lnTo>
                    <a:pt x="57460" y="153434"/>
                  </a:lnTo>
                  <a:lnTo>
                    <a:pt x="57460" y="157125"/>
                  </a:lnTo>
                  <a:lnTo>
                    <a:pt x="53771" y="157125"/>
                  </a:lnTo>
                  <a:lnTo>
                    <a:pt x="51580" y="157125"/>
                  </a:lnTo>
                  <a:lnTo>
                    <a:pt x="27947" y="171887"/>
                  </a:lnTo>
                  <a:lnTo>
                    <a:pt x="24257" y="175578"/>
                  </a:lnTo>
                  <a:lnTo>
                    <a:pt x="9501" y="186648"/>
                  </a:lnTo>
                  <a:lnTo>
                    <a:pt x="5812" y="186648"/>
                  </a:lnTo>
                  <a:lnTo>
                    <a:pt x="5812" y="190339"/>
                  </a:lnTo>
                  <a:lnTo>
                    <a:pt x="13190" y="197723"/>
                  </a:lnTo>
                  <a:lnTo>
                    <a:pt x="13190" y="205105"/>
                  </a:lnTo>
                  <a:lnTo>
                    <a:pt x="13190" y="216173"/>
                  </a:lnTo>
                  <a:lnTo>
                    <a:pt x="9501" y="219869"/>
                  </a:lnTo>
                  <a:lnTo>
                    <a:pt x="13190" y="219869"/>
                  </a:lnTo>
                  <a:lnTo>
                    <a:pt x="16879" y="227241"/>
                  </a:lnTo>
                  <a:lnTo>
                    <a:pt x="13190" y="227241"/>
                  </a:lnTo>
                  <a:lnTo>
                    <a:pt x="16879" y="230937"/>
                  </a:lnTo>
                  <a:lnTo>
                    <a:pt x="20568" y="227241"/>
                  </a:lnTo>
                  <a:lnTo>
                    <a:pt x="24257" y="227241"/>
                  </a:lnTo>
                  <a:lnTo>
                    <a:pt x="39014" y="223555"/>
                  </a:lnTo>
                  <a:lnTo>
                    <a:pt x="42703" y="223555"/>
                  </a:lnTo>
                  <a:lnTo>
                    <a:pt x="46392" y="223555"/>
                  </a:lnTo>
                  <a:lnTo>
                    <a:pt x="50082" y="227241"/>
                  </a:lnTo>
                  <a:lnTo>
                    <a:pt x="53771" y="227241"/>
                  </a:lnTo>
                  <a:lnTo>
                    <a:pt x="57460" y="227241"/>
                  </a:lnTo>
                  <a:lnTo>
                    <a:pt x="64838" y="227241"/>
                  </a:lnTo>
                  <a:lnTo>
                    <a:pt x="75903" y="230937"/>
                  </a:lnTo>
                  <a:lnTo>
                    <a:pt x="83285" y="238319"/>
                  </a:lnTo>
                  <a:lnTo>
                    <a:pt x="94353" y="242005"/>
                  </a:lnTo>
                  <a:lnTo>
                    <a:pt x="101725" y="249387"/>
                  </a:lnTo>
                  <a:lnTo>
                    <a:pt x="134930" y="278914"/>
                  </a:lnTo>
                  <a:lnTo>
                    <a:pt x="138625" y="286296"/>
                  </a:lnTo>
                  <a:lnTo>
                    <a:pt x="142312" y="286296"/>
                  </a:lnTo>
                  <a:lnTo>
                    <a:pt x="149693" y="289982"/>
                  </a:lnTo>
                  <a:lnTo>
                    <a:pt x="157066" y="286296"/>
                  </a:lnTo>
                  <a:lnTo>
                    <a:pt x="175516" y="278914"/>
                  </a:lnTo>
                  <a:lnTo>
                    <a:pt x="179202" y="278914"/>
                  </a:lnTo>
                  <a:lnTo>
                    <a:pt x="186584" y="278914"/>
                  </a:lnTo>
                  <a:lnTo>
                    <a:pt x="190270" y="275219"/>
                  </a:lnTo>
                  <a:lnTo>
                    <a:pt x="201338" y="271532"/>
                  </a:lnTo>
                  <a:lnTo>
                    <a:pt x="205024" y="271532"/>
                  </a:lnTo>
                  <a:lnTo>
                    <a:pt x="208720" y="256769"/>
                  </a:lnTo>
                  <a:lnTo>
                    <a:pt x="212406" y="253082"/>
                  </a:lnTo>
                  <a:lnTo>
                    <a:pt x="212406" y="242005"/>
                  </a:lnTo>
                  <a:lnTo>
                    <a:pt x="216092" y="242005"/>
                  </a:lnTo>
                  <a:lnTo>
                    <a:pt x="216092" y="234623"/>
                  </a:lnTo>
                  <a:lnTo>
                    <a:pt x="216092" y="230937"/>
                  </a:lnTo>
                  <a:lnTo>
                    <a:pt x="216092" y="227241"/>
                  </a:lnTo>
                  <a:lnTo>
                    <a:pt x="216092" y="223555"/>
                  </a:lnTo>
                  <a:lnTo>
                    <a:pt x="212406" y="223555"/>
                  </a:lnTo>
                  <a:lnTo>
                    <a:pt x="212406" y="219869"/>
                  </a:lnTo>
                  <a:lnTo>
                    <a:pt x="208720" y="212487"/>
                  </a:lnTo>
                  <a:lnTo>
                    <a:pt x="212406" y="208791"/>
                  </a:lnTo>
                  <a:lnTo>
                    <a:pt x="223474" y="197723"/>
                  </a:lnTo>
                  <a:lnTo>
                    <a:pt x="230856" y="201409"/>
                  </a:lnTo>
                  <a:lnTo>
                    <a:pt x="241914" y="197723"/>
                  </a:lnTo>
                  <a:lnTo>
                    <a:pt x="245610" y="197723"/>
                  </a:lnTo>
                  <a:lnTo>
                    <a:pt x="249296" y="194027"/>
                  </a:lnTo>
                  <a:lnTo>
                    <a:pt x="245610" y="194027"/>
                  </a:lnTo>
                  <a:lnTo>
                    <a:pt x="249296" y="190339"/>
                  </a:lnTo>
                  <a:lnTo>
                    <a:pt x="252982" y="186648"/>
                  </a:lnTo>
                  <a:lnTo>
                    <a:pt x="256678" y="182958"/>
                  </a:lnTo>
                  <a:lnTo>
                    <a:pt x="267746" y="171887"/>
                  </a:lnTo>
                  <a:lnTo>
                    <a:pt x="297255" y="157125"/>
                  </a:lnTo>
                  <a:lnTo>
                    <a:pt x="300950" y="157125"/>
                  </a:lnTo>
                  <a:lnTo>
                    <a:pt x="304637" y="157125"/>
                  </a:lnTo>
                  <a:lnTo>
                    <a:pt x="308323" y="160815"/>
                  </a:lnTo>
                  <a:lnTo>
                    <a:pt x="312009" y="160815"/>
                  </a:lnTo>
                  <a:lnTo>
                    <a:pt x="326773" y="149743"/>
                  </a:lnTo>
                  <a:lnTo>
                    <a:pt x="330459" y="142362"/>
                  </a:lnTo>
                  <a:lnTo>
                    <a:pt x="337841" y="134981"/>
                  </a:lnTo>
                  <a:lnTo>
                    <a:pt x="341527" y="127600"/>
                  </a:lnTo>
                  <a:lnTo>
                    <a:pt x="345213" y="123909"/>
                  </a:lnTo>
                  <a:lnTo>
                    <a:pt x="348909" y="116528"/>
                  </a:lnTo>
                  <a:lnTo>
                    <a:pt x="359977" y="94385"/>
                  </a:lnTo>
                  <a:lnTo>
                    <a:pt x="363663" y="87004"/>
                  </a:lnTo>
                  <a:lnTo>
                    <a:pt x="363663" y="83313"/>
                  </a:lnTo>
                  <a:lnTo>
                    <a:pt x="363663" y="75932"/>
                  </a:lnTo>
                  <a:lnTo>
                    <a:pt x="363663" y="57479"/>
                  </a:lnTo>
                  <a:lnTo>
                    <a:pt x="359977" y="50098"/>
                  </a:lnTo>
                  <a:lnTo>
                    <a:pt x="341527" y="31645"/>
                  </a:lnTo>
                  <a:lnTo>
                    <a:pt x="341527" y="27954"/>
                  </a:lnTo>
                  <a:lnTo>
                    <a:pt x="337841" y="27954"/>
                  </a:lnTo>
                  <a:lnTo>
                    <a:pt x="319391" y="27954"/>
                  </a:lnTo>
                  <a:lnTo>
                    <a:pt x="315705" y="27954"/>
                  </a:lnTo>
                  <a:lnTo>
                    <a:pt x="300950" y="24264"/>
                  </a:lnTo>
                  <a:lnTo>
                    <a:pt x="267746" y="13193"/>
                  </a:lnTo>
                  <a:lnTo>
                    <a:pt x="264051" y="13193"/>
                  </a:lnTo>
                  <a:lnTo>
                    <a:pt x="260364" y="5812"/>
                  </a:lnTo>
                  <a:lnTo>
                    <a:pt x="256678" y="5812"/>
                  </a:lnTo>
                  <a:close/>
                  <a:moveTo>
                    <a:pt x="51580" y="157125"/>
                  </a:moveTo>
                  <a:lnTo>
                    <a:pt x="57460" y="153434"/>
                  </a:lnTo>
                  <a:lnTo>
                    <a:pt x="50082" y="157125"/>
                  </a:lnTo>
                  <a:lnTo>
                    <a:pt x="51580" y="157125"/>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34" name="Freeform: Shape 33">
              <a:extLst>
                <a:ext uri="{FF2B5EF4-FFF2-40B4-BE49-F238E27FC236}">
                  <a16:creationId xmlns:a16="http://schemas.microsoft.com/office/drawing/2014/main" id="{45707014-49A9-4124-944B-C1DA56EC71CE}"/>
                </a:ext>
              </a:extLst>
            </p:cNvPr>
            <p:cNvSpPr/>
            <p:nvPr/>
          </p:nvSpPr>
          <p:spPr>
            <a:xfrm>
              <a:off x="6052755" y="2466779"/>
              <a:ext cx="468179" cy="425617"/>
            </a:xfrm>
            <a:custGeom>
              <a:avLst/>
              <a:gdLst>
                <a:gd name="connsiteX0" fmla="*/ 68524 w 209550"/>
                <a:gd name="connsiteY0" fmla="*/ 5812 h 190500"/>
                <a:gd name="connsiteX1" fmla="*/ 72220 w 209550"/>
                <a:gd name="connsiteY1" fmla="*/ 13193 h 190500"/>
                <a:gd name="connsiteX2" fmla="*/ 64838 w 209550"/>
                <a:gd name="connsiteY2" fmla="*/ 9503 h 190500"/>
                <a:gd name="connsiteX3" fmla="*/ 64838 w 209550"/>
                <a:gd name="connsiteY3" fmla="*/ 13193 h 190500"/>
                <a:gd name="connsiteX4" fmla="*/ 61152 w 209550"/>
                <a:gd name="connsiteY4" fmla="*/ 13193 h 190500"/>
                <a:gd name="connsiteX5" fmla="*/ 42702 w 209550"/>
                <a:gd name="connsiteY5" fmla="*/ 16883 h 190500"/>
                <a:gd name="connsiteX6" fmla="*/ 39016 w 209550"/>
                <a:gd name="connsiteY6" fmla="*/ 16883 h 190500"/>
                <a:gd name="connsiteX7" fmla="*/ 39016 w 209550"/>
                <a:gd name="connsiteY7" fmla="*/ 20574 h 190500"/>
                <a:gd name="connsiteX8" fmla="*/ 27948 w 209550"/>
                <a:gd name="connsiteY8" fmla="*/ 39027 h 190500"/>
                <a:gd name="connsiteX9" fmla="*/ 9498 w 209550"/>
                <a:gd name="connsiteY9" fmla="*/ 68552 h 190500"/>
                <a:gd name="connsiteX10" fmla="*/ 9498 w 209550"/>
                <a:gd name="connsiteY10" fmla="*/ 72242 h 190500"/>
                <a:gd name="connsiteX11" fmla="*/ 5812 w 209550"/>
                <a:gd name="connsiteY11" fmla="*/ 83314 h 190500"/>
                <a:gd name="connsiteX12" fmla="*/ 5812 w 209550"/>
                <a:gd name="connsiteY12" fmla="*/ 120219 h 190500"/>
                <a:gd name="connsiteX13" fmla="*/ 5812 w 209550"/>
                <a:gd name="connsiteY13" fmla="*/ 138672 h 190500"/>
                <a:gd name="connsiteX14" fmla="*/ 5812 w 209550"/>
                <a:gd name="connsiteY14" fmla="*/ 146054 h 190500"/>
                <a:gd name="connsiteX15" fmla="*/ 5812 w 209550"/>
                <a:gd name="connsiteY15" fmla="*/ 149744 h 190500"/>
                <a:gd name="connsiteX16" fmla="*/ 5812 w 209550"/>
                <a:gd name="connsiteY16" fmla="*/ 153435 h 190500"/>
                <a:gd name="connsiteX17" fmla="*/ 9498 w 209550"/>
                <a:gd name="connsiteY17" fmla="*/ 153435 h 190500"/>
                <a:gd name="connsiteX18" fmla="*/ 13184 w 209550"/>
                <a:gd name="connsiteY18" fmla="*/ 157125 h 190500"/>
                <a:gd name="connsiteX19" fmla="*/ 16880 w 209550"/>
                <a:gd name="connsiteY19" fmla="*/ 160816 h 190500"/>
                <a:gd name="connsiteX20" fmla="*/ 24252 w 209550"/>
                <a:gd name="connsiteY20" fmla="*/ 171888 h 190500"/>
                <a:gd name="connsiteX21" fmla="*/ 35320 w 209550"/>
                <a:gd name="connsiteY21" fmla="*/ 186649 h 190500"/>
                <a:gd name="connsiteX22" fmla="*/ 39016 w 209550"/>
                <a:gd name="connsiteY22" fmla="*/ 190340 h 190500"/>
                <a:gd name="connsiteX23" fmla="*/ 42702 w 209550"/>
                <a:gd name="connsiteY23" fmla="*/ 190340 h 190500"/>
                <a:gd name="connsiteX24" fmla="*/ 79592 w 209550"/>
                <a:gd name="connsiteY24" fmla="*/ 190340 h 190500"/>
                <a:gd name="connsiteX25" fmla="*/ 83278 w 209550"/>
                <a:gd name="connsiteY25" fmla="*/ 190340 h 190500"/>
                <a:gd name="connsiteX26" fmla="*/ 94346 w 209550"/>
                <a:gd name="connsiteY26" fmla="*/ 190340 h 190500"/>
                <a:gd name="connsiteX27" fmla="*/ 123864 w 209550"/>
                <a:gd name="connsiteY27" fmla="*/ 190340 h 190500"/>
                <a:gd name="connsiteX28" fmla="*/ 127551 w 209550"/>
                <a:gd name="connsiteY28" fmla="*/ 190340 h 190500"/>
                <a:gd name="connsiteX29" fmla="*/ 157069 w 209550"/>
                <a:gd name="connsiteY29" fmla="*/ 182959 h 190500"/>
                <a:gd name="connsiteX30" fmla="*/ 160755 w 209550"/>
                <a:gd name="connsiteY30" fmla="*/ 186649 h 190500"/>
                <a:gd name="connsiteX31" fmla="*/ 164441 w 209550"/>
                <a:gd name="connsiteY31" fmla="*/ 190340 h 190500"/>
                <a:gd name="connsiteX32" fmla="*/ 171823 w 209550"/>
                <a:gd name="connsiteY32" fmla="*/ 186649 h 190500"/>
                <a:gd name="connsiteX33" fmla="*/ 175509 w 209550"/>
                <a:gd name="connsiteY33" fmla="*/ 186649 h 190500"/>
                <a:gd name="connsiteX34" fmla="*/ 182891 w 209550"/>
                <a:gd name="connsiteY34" fmla="*/ 182959 h 190500"/>
                <a:gd name="connsiteX35" fmla="*/ 182891 w 209550"/>
                <a:gd name="connsiteY35" fmla="*/ 179269 h 190500"/>
                <a:gd name="connsiteX36" fmla="*/ 193959 w 209550"/>
                <a:gd name="connsiteY36" fmla="*/ 175578 h 190500"/>
                <a:gd name="connsiteX37" fmla="*/ 197645 w 209550"/>
                <a:gd name="connsiteY37" fmla="*/ 175578 h 190500"/>
                <a:gd name="connsiteX38" fmla="*/ 208713 w 209550"/>
                <a:gd name="connsiteY38" fmla="*/ 168197 h 190500"/>
                <a:gd name="connsiteX39" fmla="*/ 212409 w 209550"/>
                <a:gd name="connsiteY39" fmla="*/ 164507 h 190500"/>
                <a:gd name="connsiteX40" fmla="*/ 208713 w 209550"/>
                <a:gd name="connsiteY40" fmla="*/ 157125 h 190500"/>
                <a:gd name="connsiteX41" fmla="*/ 201341 w 209550"/>
                <a:gd name="connsiteY41" fmla="*/ 157125 h 190500"/>
                <a:gd name="connsiteX42" fmla="*/ 197645 w 209550"/>
                <a:gd name="connsiteY42" fmla="*/ 153435 h 190500"/>
                <a:gd name="connsiteX43" fmla="*/ 193959 w 209550"/>
                <a:gd name="connsiteY43" fmla="*/ 149744 h 190500"/>
                <a:gd name="connsiteX44" fmla="*/ 186577 w 209550"/>
                <a:gd name="connsiteY44" fmla="*/ 146054 h 190500"/>
                <a:gd name="connsiteX45" fmla="*/ 182891 w 209550"/>
                <a:gd name="connsiteY45" fmla="*/ 146054 h 190500"/>
                <a:gd name="connsiteX46" fmla="*/ 175509 w 209550"/>
                <a:gd name="connsiteY46" fmla="*/ 142363 h 190500"/>
                <a:gd name="connsiteX47" fmla="*/ 175509 w 209550"/>
                <a:gd name="connsiteY47" fmla="*/ 146054 h 190500"/>
                <a:gd name="connsiteX48" fmla="*/ 171823 w 209550"/>
                <a:gd name="connsiteY48" fmla="*/ 146054 h 190500"/>
                <a:gd name="connsiteX49" fmla="*/ 171823 w 209550"/>
                <a:gd name="connsiteY49" fmla="*/ 142363 h 190500"/>
                <a:gd name="connsiteX50" fmla="*/ 171823 w 209550"/>
                <a:gd name="connsiteY50" fmla="*/ 138672 h 190500"/>
                <a:gd name="connsiteX51" fmla="*/ 175509 w 209550"/>
                <a:gd name="connsiteY51" fmla="*/ 134982 h 190500"/>
                <a:gd name="connsiteX52" fmla="*/ 179205 w 209550"/>
                <a:gd name="connsiteY52" fmla="*/ 131291 h 190500"/>
                <a:gd name="connsiteX53" fmla="*/ 186577 w 209550"/>
                <a:gd name="connsiteY53" fmla="*/ 127600 h 190500"/>
                <a:gd name="connsiteX54" fmla="*/ 186577 w 209550"/>
                <a:gd name="connsiteY54" fmla="*/ 123910 h 190500"/>
                <a:gd name="connsiteX55" fmla="*/ 186577 w 209550"/>
                <a:gd name="connsiteY55" fmla="*/ 120219 h 190500"/>
                <a:gd name="connsiteX56" fmla="*/ 182891 w 209550"/>
                <a:gd name="connsiteY56" fmla="*/ 116529 h 190500"/>
                <a:gd name="connsiteX57" fmla="*/ 182891 w 209550"/>
                <a:gd name="connsiteY57" fmla="*/ 112838 h 190500"/>
                <a:gd name="connsiteX58" fmla="*/ 179205 w 209550"/>
                <a:gd name="connsiteY58" fmla="*/ 109147 h 190500"/>
                <a:gd name="connsiteX59" fmla="*/ 175509 w 209550"/>
                <a:gd name="connsiteY59" fmla="*/ 109147 h 190500"/>
                <a:gd name="connsiteX60" fmla="*/ 175509 w 209550"/>
                <a:gd name="connsiteY60" fmla="*/ 105457 h 190500"/>
                <a:gd name="connsiteX61" fmla="*/ 168137 w 209550"/>
                <a:gd name="connsiteY61" fmla="*/ 90695 h 190500"/>
                <a:gd name="connsiteX62" fmla="*/ 164441 w 209550"/>
                <a:gd name="connsiteY62" fmla="*/ 79623 h 190500"/>
                <a:gd name="connsiteX63" fmla="*/ 157069 w 209550"/>
                <a:gd name="connsiteY63" fmla="*/ 72242 h 190500"/>
                <a:gd name="connsiteX64" fmla="*/ 153373 w 209550"/>
                <a:gd name="connsiteY64" fmla="*/ 72242 h 190500"/>
                <a:gd name="connsiteX65" fmla="*/ 149687 w 209550"/>
                <a:gd name="connsiteY65" fmla="*/ 68552 h 190500"/>
                <a:gd name="connsiteX66" fmla="*/ 146001 w 209550"/>
                <a:gd name="connsiteY66" fmla="*/ 61171 h 190500"/>
                <a:gd name="connsiteX67" fmla="*/ 134932 w 209550"/>
                <a:gd name="connsiteY67" fmla="*/ 57480 h 190500"/>
                <a:gd name="connsiteX68" fmla="*/ 131246 w 209550"/>
                <a:gd name="connsiteY68" fmla="*/ 53789 h 190500"/>
                <a:gd name="connsiteX69" fmla="*/ 123864 w 209550"/>
                <a:gd name="connsiteY69" fmla="*/ 53789 h 190500"/>
                <a:gd name="connsiteX70" fmla="*/ 116483 w 209550"/>
                <a:gd name="connsiteY70" fmla="*/ 53789 h 190500"/>
                <a:gd name="connsiteX71" fmla="*/ 116483 w 209550"/>
                <a:gd name="connsiteY71" fmla="*/ 50099 h 190500"/>
                <a:gd name="connsiteX72" fmla="*/ 112796 w 209550"/>
                <a:gd name="connsiteY72" fmla="*/ 46408 h 190500"/>
                <a:gd name="connsiteX73" fmla="*/ 109110 w 209550"/>
                <a:gd name="connsiteY73" fmla="*/ 42717 h 190500"/>
                <a:gd name="connsiteX74" fmla="*/ 105414 w 209550"/>
                <a:gd name="connsiteY74" fmla="*/ 35336 h 190500"/>
                <a:gd name="connsiteX75" fmla="*/ 101728 w 209550"/>
                <a:gd name="connsiteY75" fmla="*/ 39027 h 190500"/>
                <a:gd name="connsiteX76" fmla="*/ 101728 w 209550"/>
                <a:gd name="connsiteY76" fmla="*/ 35336 h 190500"/>
                <a:gd name="connsiteX77" fmla="*/ 98042 w 209550"/>
                <a:gd name="connsiteY77" fmla="*/ 27955 h 190500"/>
                <a:gd name="connsiteX78" fmla="*/ 83278 w 209550"/>
                <a:gd name="connsiteY78" fmla="*/ 9503 h 190500"/>
                <a:gd name="connsiteX79" fmla="*/ 79592 w 209550"/>
                <a:gd name="connsiteY79" fmla="*/ 9503 h 190500"/>
                <a:gd name="connsiteX80" fmla="*/ 68524 w 209550"/>
                <a:gd name="connsiteY80" fmla="*/ 5812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209550" h="190500">
                  <a:moveTo>
                    <a:pt x="68524" y="5812"/>
                  </a:moveTo>
                  <a:lnTo>
                    <a:pt x="72220" y="13193"/>
                  </a:lnTo>
                  <a:lnTo>
                    <a:pt x="64838" y="9503"/>
                  </a:lnTo>
                  <a:lnTo>
                    <a:pt x="64838" y="13193"/>
                  </a:lnTo>
                  <a:lnTo>
                    <a:pt x="61152" y="13193"/>
                  </a:lnTo>
                  <a:lnTo>
                    <a:pt x="42702" y="16883"/>
                  </a:lnTo>
                  <a:lnTo>
                    <a:pt x="39016" y="16883"/>
                  </a:lnTo>
                  <a:lnTo>
                    <a:pt x="39016" y="20574"/>
                  </a:lnTo>
                  <a:lnTo>
                    <a:pt x="27948" y="39027"/>
                  </a:lnTo>
                  <a:lnTo>
                    <a:pt x="9498" y="68552"/>
                  </a:lnTo>
                  <a:lnTo>
                    <a:pt x="9498" y="72242"/>
                  </a:lnTo>
                  <a:lnTo>
                    <a:pt x="5812" y="83314"/>
                  </a:lnTo>
                  <a:lnTo>
                    <a:pt x="5812" y="120219"/>
                  </a:lnTo>
                  <a:lnTo>
                    <a:pt x="5812" y="138672"/>
                  </a:lnTo>
                  <a:lnTo>
                    <a:pt x="5812" y="146054"/>
                  </a:lnTo>
                  <a:lnTo>
                    <a:pt x="5812" y="149744"/>
                  </a:lnTo>
                  <a:lnTo>
                    <a:pt x="5812" y="153435"/>
                  </a:lnTo>
                  <a:lnTo>
                    <a:pt x="9498" y="153435"/>
                  </a:lnTo>
                  <a:lnTo>
                    <a:pt x="13184" y="157125"/>
                  </a:lnTo>
                  <a:lnTo>
                    <a:pt x="16880" y="160816"/>
                  </a:lnTo>
                  <a:lnTo>
                    <a:pt x="24252" y="171888"/>
                  </a:lnTo>
                  <a:lnTo>
                    <a:pt x="35320" y="186649"/>
                  </a:lnTo>
                  <a:lnTo>
                    <a:pt x="39016" y="190340"/>
                  </a:lnTo>
                  <a:lnTo>
                    <a:pt x="42702" y="190340"/>
                  </a:lnTo>
                  <a:lnTo>
                    <a:pt x="79592" y="190340"/>
                  </a:lnTo>
                  <a:lnTo>
                    <a:pt x="83278" y="190340"/>
                  </a:lnTo>
                  <a:lnTo>
                    <a:pt x="94346" y="190340"/>
                  </a:lnTo>
                  <a:lnTo>
                    <a:pt x="123864" y="190340"/>
                  </a:lnTo>
                  <a:lnTo>
                    <a:pt x="127551" y="190340"/>
                  </a:lnTo>
                  <a:lnTo>
                    <a:pt x="157069" y="182959"/>
                  </a:lnTo>
                  <a:lnTo>
                    <a:pt x="160755" y="186649"/>
                  </a:lnTo>
                  <a:lnTo>
                    <a:pt x="164441" y="190340"/>
                  </a:lnTo>
                  <a:lnTo>
                    <a:pt x="171823" y="186649"/>
                  </a:lnTo>
                  <a:lnTo>
                    <a:pt x="175509" y="186649"/>
                  </a:lnTo>
                  <a:lnTo>
                    <a:pt x="182891" y="182959"/>
                  </a:lnTo>
                  <a:lnTo>
                    <a:pt x="182891" y="179269"/>
                  </a:lnTo>
                  <a:lnTo>
                    <a:pt x="193959" y="175578"/>
                  </a:lnTo>
                  <a:lnTo>
                    <a:pt x="197645" y="175578"/>
                  </a:lnTo>
                  <a:lnTo>
                    <a:pt x="208713" y="168197"/>
                  </a:lnTo>
                  <a:lnTo>
                    <a:pt x="212409" y="164507"/>
                  </a:lnTo>
                  <a:lnTo>
                    <a:pt x="208713" y="157125"/>
                  </a:lnTo>
                  <a:lnTo>
                    <a:pt x="201341" y="157125"/>
                  </a:lnTo>
                  <a:lnTo>
                    <a:pt x="197645" y="153435"/>
                  </a:lnTo>
                  <a:lnTo>
                    <a:pt x="193959" y="149744"/>
                  </a:lnTo>
                  <a:lnTo>
                    <a:pt x="186577" y="146054"/>
                  </a:lnTo>
                  <a:lnTo>
                    <a:pt x="182891" y="146054"/>
                  </a:lnTo>
                  <a:lnTo>
                    <a:pt x="175509" y="142363"/>
                  </a:lnTo>
                  <a:lnTo>
                    <a:pt x="175509" y="146054"/>
                  </a:lnTo>
                  <a:lnTo>
                    <a:pt x="171823" y="146054"/>
                  </a:lnTo>
                  <a:lnTo>
                    <a:pt x="171823" y="142363"/>
                  </a:lnTo>
                  <a:lnTo>
                    <a:pt x="171823" y="138672"/>
                  </a:lnTo>
                  <a:lnTo>
                    <a:pt x="175509" y="134982"/>
                  </a:lnTo>
                  <a:lnTo>
                    <a:pt x="179205" y="131291"/>
                  </a:lnTo>
                  <a:lnTo>
                    <a:pt x="186577" y="127600"/>
                  </a:lnTo>
                  <a:lnTo>
                    <a:pt x="186577" y="123910"/>
                  </a:lnTo>
                  <a:lnTo>
                    <a:pt x="186577" y="120219"/>
                  </a:lnTo>
                  <a:lnTo>
                    <a:pt x="182891" y="116529"/>
                  </a:lnTo>
                  <a:lnTo>
                    <a:pt x="182891" y="112838"/>
                  </a:lnTo>
                  <a:lnTo>
                    <a:pt x="179205" y="109147"/>
                  </a:lnTo>
                  <a:lnTo>
                    <a:pt x="175509" y="109147"/>
                  </a:lnTo>
                  <a:lnTo>
                    <a:pt x="175509" y="105457"/>
                  </a:lnTo>
                  <a:lnTo>
                    <a:pt x="168137" y="90695"/>
                  </a:lnTo>
                  <a:lnTo>
                    <a:pt x="164441" y="79623"/>
                  </a:lnTo>
                  <a:lnTo>
                    <a:pt x="157069" y="72242"/>
                  </a:lnTo>
                  <a:lnTo>
                    <a:pt x="153373" y="72242"/>
                  </a:lnTo>
                  <a:lnTo>
                    <a:pt x="149687" y="68552"/>
                  </a:lnTo>
                  <a:lnTo>
                    <a:pt x="146001" y="61171"/>
                  </a:lnTo>
                  <a:lnTo>
                    <a:pt x="134932" y="57480"/>
                  </a:lnTo>
                  <a:lnTo>
                    <a:pt x="131246" y="53789"/>
                  </a:lnTo>
                  <a:lnTo>
                    <a:pt x="123864" y="53789"/>
                  </a:lnTo>
                  <a:lnTo>
                    <a:pt x="116483" y="53789"/>
                  </a:lnTo>
                  <a:lnTo>
                    <a:pt x="116483" y="50099"/>
                  </a:lnTo>
                  <a:lnTo>
                    <a:pt x="112796" y="46408"/>
                  </a:lnTo>
                  <a:lnTo>
                    <a:pt x="109110" y="42717"/>
                  </a:lnTo>
                  <a:lnTo>
                    <a:pt x="105414" y="35336"/>
                  </a:lnTo>
                  <a:lnTo>
                    <a:pt x="101728" y="39027"/>
                  </a:lnTo>
                  <a:lnTo>
                    <a:pt x="101728" y="35336"/>
                  </a:lnTo>
                  <a:lnTo>
                    <a:pt x="98042" y="27955"/>
                  </a:lnTo>
                  <a:lnTo>
                    <a:pt x="83278" y="9503"/>
                  </a:lnTo>
                  <a:lnTo>
                    <a:pt x="79592" y="9503"/>
                  </a:lnTo>
                  <a:lnTo>
                    <a:pt x="68524" y="5812"/>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35" name="Freeform: Shape 34">
              <a:extLst>
                <a:ext uri="{FF2B5EF4-FFF2-40B4-BE49-F238E27FC236}">
                  <a16:creationId xmlns:a16="http://schemas.microsoft.com/office/drawing/2014/main" id="{54C98980-7689-4502-8E0B-94F9DBCA7C5D}"/>
                </a:ext>
              </a:extLst>
            </p:cNvPr>
            <p:cNvSpPr/>
            <p:nvPr/>
          </p:nvSpPr>
          <p:spPr>
            <a:xfrm>
              <a:off x="6201125" y="2895544"/>
              <a:ext cx="42562" cy="42562"/>
            </a:xfrm>
            <a:custGeom>
              <a:avLst/>
              <a:gdLst>
                <a:gd name="connsiteX0" fmla="*/ 9498 w 19050"/>
                <a:gd name="connsiteY0" fmla="*/ 5812 h 19050"/>
                <a:gd name="connsiteX1" fmla="*/ 13184 w 19050"/>
                <a:gd name="connsiteY1" fmla="*/ 5812 h 19050"/>
                <a:gd name="connsiteX2" fmla="*/ 16870 w 19050"/>
                <a:gd name="connsiteY2" fmla="*/ 5812 h 19050"/>
                <a:gd name="connsiteX3" fmla="*/ 16870 w 19050"/>
                <a:gd name="connsiteY3" fmla="*/ 5812 h 19050"/>
                <a:gd name="connsiteX4" fmla="*/ 20566 w 19050"/>
                <a:gd name="connsiteY4" fmla="*/ 9503 h 19050"/>
                <a:gd name="connsiteX5" fmla="*/ 16870 w 19050"/>
                <a:gd name="connsiteY5" fmla="*/ 13193 h 19050"/>
                <a:gd name="connsiteX6" fmla="*/ 16870 w 19050"/>
                <a:gd name="connsiteY6" fmla="*/ 13193 h 19050"/>
                <a:gd name="connsiteX7" fmla="*/ 13184 w 19050"/>
                <a:gd name="connsiteY7" fmla="*/ 13193 h 19050"/>
                <a:gd name="connsiteX8" fmla="*/ 13184 w 19050"/>
                <a:gd name="connsiteY8" fmla="*/ 13193 h 19050"/>
                <a:gd name="connsiteX9" fmla="*/ 13184 w 19050"/>
                <a:gd name="connsiteY9" fmla="*/ 13193 h 19050"/>
                <a:gd name="connsiteX10" fmla="*/ 13184 w 19050"/>
                <a:gd name="connsiteY10" fmla="*/ 16883 h 19050"/>
                <a:gd name="connsiteX11" fmla="*/ 13184 w 19050"/>
                <a:gd name="connsiteY11" fmla="*/ 16883 h 19050"/>
                <a:gd name="connsiteX12" fmla="*/ 13184 w 19050"/>
                <a:gd name="connsiteY12" fmla="*/ 16883 h 19050"/>
                <a:gd name="connsiteX13" fmla="*/ 9498 w 19050"/>
                <a:gd name="connsiteY13" fmla="*/ 13193 h 19050"/>
                <a:gd name="connsiteX14" fmla="*/ 9498 w 19050"/>
                <a:gd name="connsiteY14" fmla="*/ 13193 h 19050"/>
                <a:gd name="connsiteX15" fmla="*/ 9498 w 19050"/>
                <a:gd name="connsiteY15" fmla="*/ 9503 h 19050"/>
                <a:gd name="connsiteX16" fmla="*/ 5812 w 19050"/>
                <a:gd name="connsiteY16" fmla="*/ 9503 h 19050"/>
                <a:gd name="connsiteX17" fmla="*/ 5812 w 19050"/>
                <a:gd name="connsiteY17" fmla="*/ 5812 h 19050"/>
                <a:gd name="connsiteX18" fmla="*/ 9498 w 19050"/>
                <a:gd name="connsiteY18" fmla="*/ 5812 h 19050"/>
                <a:gd name="connsiteX19" fmla="*/ 9498 w 19050"/>
                <a:gd name="connsiteY19"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050" h="19050">
                  <a:moveTo>
                    <a:pt x="9498" y="5812"/>
                  </a:moveTo>
                  <a:lnTo>
                    <a:pt x="13184" y="5812"/>
                  </a:lnTo>
                  <a:lnTo>
                    <a:pt x="16870" y="5812"/>
                  </a:lnTo>
                  <a:lnTo>
                    <a:pt x="16870" y="5812"/>
                  </a:lnTo>
                  <a:lnTo>
                    <a:pt x="20566" y="9503"/>
                  </a:lnTo>
                  <a:lnTo>
                    <a:pt x="16870" y="13193"/>
                  </a:lnTo>
                  <a:lnTo>
                    <a:pt x="16870" y="13193"/>
                  </a:lnTo>
                  <a:lnTo>
                    <a:pt x="13184" y="13193"/>
                  </a:lnTo>
                  <a:lnTo>
                    <a:pt x="13184" y="13193"/>
                  </a:lnTo>
                  <a:lnTo>
                    <a:pt x="13184" y="13193"/>
                  </a:lnTo>
                  <a:lnTo>
                    <a:pt x="13184" y="16883"/>
                  </a:lnTo>
                  <a:lnTo>
                    <a:pt x="13184" y="16883"/>
                  </a:lnTo>
                  <a:lnTo>
                    <a:pt x="13184" y="16883"/>
                  </a:lnTo>
                  <a:lnTo>
                    <a:pt x="9498" y="13193"/>
                  </a:lnTo>
                  <a:lnTo>
                    <a:pt x="9498" y="13193"/>
                  </a:lnTo>
                  <a:lnTo>
                    <a:pt x="9498" y="9503"/>
                  </a:lnTo>
                  <a:lnTo>
                    <a:pt x="5812" y="9503"/>
                  </a:lnTo>
                  <a:lnTo>
                    <a:pt x="5812" y="5812"/>
                  </a:lnTo>
                  <a:lnTo>
                    <a:pt x="9498" y="5812"/>
                  </a:lnTo>
                  <a:lnTo>
                    <a:pt x="9498" y="5812"/>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36" name="Freeform: Shape 35">
              <a:extLst>
                <a:ext uri="{FF2B5EF4-FFF2-40B4-BE49-F238E27FC236}">
                  <a16:creationId xmlns:a16="http://schemas.microsoft.com/office/drawing/2014/main" id="{BCB8A2D9-5BF9-4FCB-8DA9-14A3D72BED3C}"/>
                </a:ext>
              </a:extLst>
            </p:cNvPr>
            <p:cNvSpPr/>
            <p:nvPr/>
          </p:nvSpPr>
          <p:spPr>
            <a:xfrm>
              <a:off x="5714815" y="2738879"/>
              <a:ext cx="212808" cy="319213"/>
            </a:xfrm>
            <a:custGeom>
              <a:avLst/>
              <a:gdLst>
                <a:gd name="connsiteX0" fmla="*/ 9498 w 95250"/>
                <a:gd name="connsiteY0" fmla="*/ 5812 h 142875"/>
                <a:gd name="connsiteX1" fmla="*/ 9498 w 95250"/>
                <a:gd name="connsiteY1" fmla="*/ 5812 h 142875"/>
                <a:gd name="connsiteX2" fmla="*/ 16880 w 95250"/>
                <a:gd name="connsiteY2" fmla="*/ 5812 h 142875"/>
                <a:gd name="connsiteX3" fmla="*/ 42702 w 95250"/>
                <a:gd name="connsiteY3" fmla="*/ 16883 h 142875"/>
                <a:gd name="connsiteX4" fmla="*/ 46388 w 95250"/>
                <a:gd name="connsiteY4" fmla="*/ 20574 h 142875"/>
                <a:gd name="connsiteX5" fmla="*/ 64838 w 95250"/>
                <a:gd name="connsiteY5" fmla="*/ 39027 h 142875"/>
                <a:gd name="connsiteX6" fmla="*/ 72220 w 95250"/>
                <a:gd name="connsiteY6" fmla="*/ 50099 h 142875"/>
                <a:gd name="connsiteX7" fmla="*/ 72220 w 95250"/>
                <a:gd name="connsiteY7" fmla="*/ 53789 h 142875"/>
                <a:gd name="connsiteX8" fmla="*/ 90660 w 95250"/>
                <a:gd name="connsiteY8" fmla="*/ 83314 h 142875"/>
                <a:gd name="connsiteX9" fmla="*/ 98042 w 95250"/>
                <a:gd name="connsiteY9" fmla="*/ 101766 h 142875"/>
                <a:gd name="connsiteX10" fmla="*/ 98042 w 95250"/>
                <a:gd name="connsiteY10" fmla="*/ 105457 h 142875"/>
                <a:gd name="connsiteX11" fmla="*/ 94346 w 95250"/>
                <a:gd name="connsiteY11" fmla="*/ 105457 h 142875"/>
                <a:gd name="connsiteX12" fmla="*/ 90660 w 95250"/>
                <a:gd name="connsiteY12" fmla="*/ 109148 h 142875"/>
                <a:gd name="connsiteX13" fmla="*/ 83288 w 95250"/>
                <a:gd name="connsiteY13" fmla="*/ 112838 h 142875"/>
                <a:gd name="connsiteX14" fmla="*/ 79592 w 95250"/>
                <a:gd name="connsiteY14" fmla="*/ 127601 h 142875"/>
                <a:gd name="connsiteX15" fmla="*/ 75906 w 95250"/>
                <a:gd name="connsiteY15" fmla="*/ 134982 h 142875"/>
                <a:gd name="connsiteX16" fmla="*/ 79592 w 95250"/>
                <a:gd name="connsiteY16" fmla="*/ 134982 h 142875"/>
                <a:gd name="connsiteX17" fmla="*/ 79592 w 95250"/>
                <a:gd name="connsiteY17" fmla="*/ 134982 h 142875"/>
                <a:gd name="connsiteX18" fmla="*/ 75906 w 95250"/>
                <a:gd name="connsiteY18" fmla="*/ 142363 h 142875"/>
                <a:gd name="connsiteX19" fmla="*/ 75906 w 95250"/>
                <a:gd name="connsiteY19" fmla="*/ 134982 h 142875"/>
                <a:gd name="connsiteX20" fmla="*/ 75906 w 95250"/>
                <a:gd name="connsiteY20" fmla="*/ 134982 h 142875"/>
                <a:gd name="connsiteX21" fmla="*/ 79592 w 95250"/>
                <a:gd name="connsiteY21" fmla="*/ 127601 h 142875"/>
                <a:gd name="connsiteX22" fmla="*/ 83288 w 95250"/>
                <a:gd name="connsiteY22" fmla="*/ 112838 h 142875"/>
                <a:gd name="connsiteX23" fmla="*/ 86974 w 95250"/>
                <a:gd name="connsiteY23" fmla="*/ 109148 h 142875"/>
                <a:gd name="connsiteX24" fmla="*/ 94346 w 95250"/>
                <a:gd name="connsiteY24" fmla="*/ 105457 h 142875"/>
                <a:gd name="connsiteX25" fmla="*/ 98042 w 95250"/>
                <a:gd name="connsiteY25" fmla="*/ 105457 h 142875"/>
                <a:gd name="connsiteX26" fmla="*/ 98042 w 95250"/>
                <a:gd name="connsiteY26" fmla="*/ 101766 h 142875"/>
                <a:gd name="connsiteX27" fmla="*/ 90660 w 95250"/>
                <a:gd name="connsiteY27" fmla="*/ 83314 h 142875"/>
                <a:gd name="connsiteX28" fmla="*/ 64838 w 95250"/>
                <a:gd name="connsiteY28" fmla="*/ 39027 h 142875"/>
                <a:gd name="connsiteX29" fmla="*/ 46388 w 95250"/>
                <a:gd name="connsiteY29" fmla="*/ 20574 h 142875"/>
                <a:gd name="connsiteX30" fmla="*/ 42702 w 95250"/>
                <a:gd name="connsiteY30" fmla="*/ 16883 h 142875"/>
                <a:gd name="connsiteX31" fmla="*/ 20566 w 95250"/>
                <a:gd name="connsiteY31" fmla="*/ 5812 h 142875"/>
                <a:gd name="connsiteX32" fmla="*/ 16880 w 95250"/>
                <a:gd name="connsiteY32" fmla="*/ 13193 h 142875"/>
                <a:gd name="connsiteX33" fmla="*/ 16880 w 95250"/>
                <a:gd name="connsiteY33" fmla="*/ 13193 h 142875"/>
                <a:gd name="connsiteX34" fmla="*/ 13193 w 95250"/>
                <a:gd name="connsiteY34" fmla="*/ 13193 h 142875"/>
                <a:gd name="connsiteX35" fmla="*/ 9498 w 95250"/>
                <a:gd name="connsiteY35" fmla="*/ 13193 h 142875"/>
                <a:gd name="connsiteX36" fmla="*/ 5812 w 95250"/>
                <a:gd name="connsiteY36" fmla="*/ 13193 h 142875"/>
                <a:gd name="connsiteX37" fmla="*/ 9498 w 95250"/>
                <a:gd name="connsiteY37" fmla="*/ 13193 h 142875"/>
                <a:gd name="connsiteX38" fmla="*/ 13193 w 95250"/>
                <a:gd name="connsiteY38" fmla="*/ 9503 h 142875"/>
                <a:gd name="connsiteX39" fmla="*/ 16880 w 95250"/>
                <a:gd name="connsiteY39" fmla="*/ 5812 h 142875"/>
                <a:gd name="connsiteX40" fmla="*/ 13193 w 95250"/>
                <a:gd name="connsiteY40" fmla="*/ 5812 h 142875"/>
                <a:gd name="connsiteX41" fmla="*/ 13193 w 95250"/>
                <a:gd name="connsiteY41" fmla="*/ 5812 h 142875"/>
                <a:gd name="connsiteX42" fmla="*/ 9498 w 95250"/>
                <a:gd name="connsiteY42" fmla="*/ 5812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5250" h="142875">
                  <a:moveTo>
                    <a:pt x="9498" y="5812"/>
                  </a:moveTo>
                  <a:lnTo>
                    <a:pt x="9498" y="5812"/>
                  </a:lnTo>
                  <a:lnTo>
                    <a:pt x="16880" y="5812"/>
                  </a:lnTo>
                  <a:lnTo>
                    <a:pt x="42702" y="16883"/>
                  </a:lnTo>
                  <a:lnTo>
                    <a:pt x="46388" y="20574"/>
                  </a:lnTo>
                  <a:lnTo>
                    <a:pt x="64838" y="39027"/>
                  </a:lnTo>
                  <a:lnTo>
                    <a:pt x="72220" y="50099"/>
                  </a:lnTo>
                  <a:lnTo>
                    <a:pt x="72220" y="53789"/>
                  </a:lnTo>
                  <a:lnTo>
                    <a:pt x="90660" y="83314"/>
                  </a:lnTo>
                  <a:lnTo>
                    <a:pt x="98042" y="101766"/>
                  </a:lnTo>
                  <a:lnTo>
                    <a:pt x="98042" y="105457"/>
                  </a:lnTo>
                  <a:lnTo>
                    <a:pt x="94346" y="105457"/>
                  </a:lnTo>
                  <a:lnTo>
                    <a:pt x="90660" y="109148"/>
                  </a:lnTo>
                  <a:lnTo>
                    <a:pt x="83288" y="112838"/>
                  </a:lnTo>
                  <a:lnTo>
                    <a:pt x="79592" y="127601"/>
                  </a:lnTo>
                  <a:lnTo>
                    <a:pt x="75906" y="134982"/>
                  </a:lnTo>
                  <a:lnTo>
                    <a:pt x="79592" y="134982"/>
                  </a:lnTo>
                  <a:lnTo>
                    <a:pt x="79592" y="134982"/>
                  </a:lnTo>
                  <a:lnTo>
                    <a:pt x="75906" y="142363"/>
                  </a:lnTo>
                  <a:lnTo>
                    <a:pt x="75906" y="134982"/>
                  </a:lnTo>
                  <a:lnTo>
                    <a:pt x="75906" y="134982"/>
                  </a:lnTo>
                  <a:lnTo>
                    <a:pt x="79592" y="127601"/>
                  </a:lnTo>
                  <a:lnTo>
                    <a:pt x="83288" y="112838"/>
                  </a:lnTo>
                  <a:lnTo>
                    <a:pt x="86974" y="109148"/>
                  </a:lnTo>
                  <a:lnTo>
                    <a:pt x="94346" y="105457"/>
                  </a:lnTo>
                  <a:lnTo>
                    <a:pt x="98042" y="105457"/>
                  </a:lnTo>
                  <a:lnTo>
                    <a:pt x="98042" y="101766"/>
                  </a:lnTo>
                  <a:lnTo>
                    <a:pt x="90660" y="83314"/>
                  </a:lnTo>
                  <a:lnTo>
                    <a:pt x="64838" y="39027"/>
                  </a:lnTo>
                  <a:lnTo>
                    <a:pt x="46388" y="20574"/>
                  </a:lnTo>
                  <a:lnTo>
                    <a:pt x="42702" y="16883"/>
                  </a:lnTo>
                  <a:lnTo>
                    <a:pt x="20566" y="5812"/>
                  </a:lnTo>
                  <a:lnTo>
                    <a:pt x="16880" y="13193"/>
                  </a:lnTo>
                  <a:lnTo>
                    <a:pt x="16880" y="13193"/>
                  </a:lnTo>
                  <a:lnTo>
                    <a:pt x="13193" y="13193"/>
                  </a:lnTo>
                  <a:lnTo>
                    <a:pt x="9498" y="13193"/>
                  </a:lnTo>
                  <a:lnTo>
                    <a:pt x="5812" y="13193"/>
                  </a:lnTo>
                  <a:lnTo>
                    <a:pt x="9498" y="13193"/>
                  </a:lnTo>
                  <a:lnTo>
                    <a:pt x="13193" y="9503"/>
                  </a:lnTo>
                  <a:lnTo>
                    <a:pt x="16880" y="5812"/>
                  </a:lnTo>
                  <a:lnTo>
                    <a:pt x="13193" y="5812"/>
                  </a:lnTo>
                  <a:lnTo>
                    <a:pt x="13193" y="5812"/>
                  </a:lnTo>
                  <a:lnTo>
                    <a:pt x="9498" y="5812"/>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37" name="Freeform: Shape 36">
              <a:extLst>
                <a:ext uri="{FF2B5EF4-FFF2-40B4-BE49-F238E27FC236}">
                  <a16:creationId xmlns:a16="http://schemas.microsoft.com/office/drawing/2014/main" id="{5E6FB9D2-6E7A-47DC-AEA4-9BDF24DA0741}"/>
                </a:ext>
              </a:extLst>
            </p:cNvPr>
            <p:cNvSpPr/>
            <p:nvPr/>
          </p:nvSpPr>
          <p:spPr>
            <a:xfrm>
              <a:off x="5599423" y="2054505"/>
              <a:ext cx="191528" cy="148966"/>
            </a:xfrm>
            <a:custGeom>
              <a:avLst/>
              <a:gdLst>
                <a:gd name="connsiteX0" fmla="*/ 5812 w 85725"/>
                <a:gd name="connsiteY0" fmla="*/ 68551 h 66675"/>
                <a:gd name="connsiteX1" fmla="*/ 20568 w 85725"/>
                <a:gd name="connsiteY1" fmla="*/ 53789 h 66675"/>
                <a:gd name="connsiteX2" fmla="*/ 24258 w 85725"/>
                <a:gd name="connsiteY2" fmla="*/ 50098 h 66675"/>
                <a:gd name="connsiteX3" fmla="*/ 64843 w 85725"/>
                <a:gd name="connsiteY3" fmla="*/ 13192 h 66675"/>
                <a:gd name="connsiteX4" fmla="*/ 68529 w 85725"/>
                <a:gd name="connsiteY4" fmla="*/ 13192 h 66675"/>
                <a:gd name="connsiteX5" fmla="*/ 79597 w 85725"/>
                <a:gd name="connsiteY5" fmla="*/ 9502 h 66675"/>
                <a:gd name="connsiteX6" fmla="*/ 83283 w 85725"/>
                <a:gd name="connsiteY6" fmla="*/ 9502 h 66675"/>
                <a:gd name="connsiteX7" fmla="*/ 83283 w 85725"/>
                <a:gd name="connsiteY7" fmla="*/ 9502 h 66675"/>
                <a:gd name="connsiteX8" fmla="*/ 83283 w 85725"/>
                <a:gd name="connsiteY8" fmla="*/ 9502 h 66675"/>
                <a:gd name="connsiteX9" fmla="*/ 83283 w 85725"/>
                <a:gd name="connsiteY9" fmla="*/ 5812 h 66675"/>
                <a:gd name="connsiteX10" fmla="*/ 83283 w 85725"/>
                <a:gd name="connsiteY10" fmla="*/ 9502 h 66675"/>
                <a:gd name="connsiteX11" fmla="*/ 86969 w 85725"/>
                <a:gd name="connsiteY11" fmla="*/ 13192 h 66675"/>
                <a:gd name="connsiteX12" fmla="*/ 83283 w 85725"/>
                <a:gd name="connsiteY12" fmla="*/ 9502 h 66675"/>
                <a:gd name="connsiteX13" fmla="*/ 79597 w 85725"/>
                <a:gd name="connsiteY13" fmla="*/ 9502 h 66675"/>
                <a:gd name="connsiteX14" fmla="*/ 79597 w 85725"/>
                <a:gd name="connsiteY14" fmla="*/ 9502 h 66675"/>
                <a:gd name="connsiteX15" fmla="*/ 72215 w 85725"/>
                <a:gd name="connsiteY15" fmla="*/ 13192 h 66675"/>
                <a:gd name="connsiteX16" fmla="*/ 64843 w 85725"/>
                <a:gd name="connsiteY16" fmla="*/ 13192 h 66675"/>
                <a:gd name="connsiteX17" fmla="*/ 31636 w 85725"/>
                <a:gd name="connsiteY17" fmla="*/ 46407 h 66675"/>
                <a:gd name="connsiteX18" fmla="*/ 27947 w 85725"/>
                <a:gd name="connsiteY18" fmla="*/ 50098 h 66675"/>
                <a:gd name="connsiteX19" fmla="*/ 27947 w 85725"/>
                <a:gd name="connsiteY19" fmla="*/ 50098 h 66675"/>
                <a:gd name="connsiteX20" fmla="*/ 24258 w 85725"/>
                <a:gd name="connsiteY20" fmla="*/ 50098 h 66675"/>
                <a:gd name="connsiteX21" fmla="*/ 20568 w 85725"/>
                <a:gd name="connsiteY21" fmla="*/ 53789 h 66675"/>
                <a:gd name="connsiteX22" fmla="*/ 5812 w 85725"/>
                <a:gd name="connsiteY22" fmla="*/ 68551 h 66675"/>
                <a:gd name="connsiteX23" fmla="*/ 5812 w 85725"/>
                <a:gd name="connsiteY23" fmla="*/ 68551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 h="66675">
                  <a:moveTo>
                    <a:pt x="5812" y="68551"/>
                  </a:moveTo>
                  <a:lnTo>
                    <a:pt x="20568" y="53789"/>
                  </a:lnTo>
                  <a:lnTo>
                    <a:pt x="24258" y="50098"/>
                  </a:lnTo>
                  <a:lnTo>
                    <a:pt x="64843" y="13192"/>
                  </a:lnTo>
                  <a:lnTo>
                    <a:pt x="68529" y="13192"/>
                  </a:lnTo>
                  <a:lnTo>
                    <a:pt x="79597" y="9502"/>
                  </a:lnTo>
                  <a:lnTo>
                    <a:pt x="83283" y="9502"/>
                  </a:lnTo>
                  <a:lnTo>
                    <a:pt x="83283" y="9502"/>
                  </a:lnTo>
                  <a:lnTo>
                    <a:pt x="83283" y="9502"/>
                  </a:lnTo>
                  <a:lnTo>
                    <a:pt x="83283" y="5812"/>
                  </a:lnTo>
                  <a:lnTo>
                    <a:pt x="83283" y="9502"/>
                  </a:lnTo>
                  <a:lnTo>
                    <a:pt x="86969" y="13192"/>
                  </a:lnTo>
                  <a:lnTo>
                    <a:pt x="83283" y="9502"/>
                  </a:lnTo>
                  <a:lnTo>
                    <a:pt x="79597" y="9502"/>
                  </a:lnTo>
                  <a:lnTo>
                    <a:pt x="79597" y="9502"/>
                  </a:lnTo>
                  <a:lnTo>
                    <a:pt x="72215" y="13192"/>
                  </a:lnTo>
                  <a:lnTo>
                    <a:pt x="64843" y="13192"/>
                  </a:lnTo>
                  <a:lnTo>
                    <a:pt x="31636" y="46407"/>
                  </a:lnTo>
                  <a:lnTo>
                    <a:pt x="27947" y="50098"/>
                  </a:lnTo>
                  <a:lnTo>
                    <a:pt x="27947" y="50098"/>
                  </a:lnTo>
                  <a:lnTo>
                    <a:pt x="24258" y="50098"/>
                  </a:lnTo>
                  <a:lnTo>
                    <a:pt x="20568" y="53789"/>
                  </a:lnTo>
                  <a:lnTo>
                    <a:pt x="5812" y="68551"/>
                  </a:lnTo>
                  <a:lnTo>
                    <a:pt x="5812" y="68551"/>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38" name="Freeform: Shape 37">
              <a:extLst>
                <a:ext uri="{FF2B5EF4-FFF2-40B4-BE49-F238E27FC236}">
                  <a16:creationId xmlns:a16="http://schemas.microsoft.com/office/drawing/2014/main" id="{8B83F867-6432-4629-8569-EB515FA7FFFD}"/>
                </a:ext>
              </a:extLst>
            </p:cNvPr>
            <p:cNvSpPr/>
            <p:nvPr/>
          </p:nvSpPr>
          <p:spPr>
            <a:xfrm>
              <a:off x="5805473" y="2054505"/>
              <a:ext cx="42562" cy="63843"/>
            </a:xfrm>
            <a:custGeom>
              <a:avLst/>
              <a:gdLst>
                <a:gd name="connsiteX0" fmla="*/ 9507 w 19050"/>
                <a:gd name="connsiteY0" fmla="*/ 16883 h 28575"/>
                <a:gd name="connsiteX1" fmla="*/ 9507 w 19050"/>
                <a:gd name="connsiteY1" fmla="*/ 13192 h 28575"/>
                <a:gd name="connsiteX2" fmla="*/ 5812 w 19050"/>
                <a:gd name="connsiteY2" fmla="*/ 5812 h 28575"/>
                <a:gd name="connsiteX3" fmla="*/ 5812 w 19050"/>
                <a:gd name="connsiteY3" fmla="*/ 5812 h 28575"/>
                <a:gd name="connsiteX4" fmla="*/ 9507 w 19050"/>
                <a:gd name="connsiteY4" fmla="*/ 5812 h 28575"/>
                <a:gd name="connsiteX5" fmla="*/ 9507 w 19050"/>
                <a:gd name="connsiteY5" fmla="*/ 9502 h 28575"/>
                <a:gd name="connsiteX6" fmla="*/ 13193 w 19050"/>
                <a:gd name="connsiteY6" fmla="*/ 9502 h 28575"/>
                <a:gd name="connsiteX7" fmla="*/ 16880 w 19050"/>
                <a:gd name="connsiteY7" fmla="*/ 9502 h 28575"/>
                <a:gd name="connsiteX8" fmla="*/ 16880 w 19050"/>
                <a:gd name="connsiteY8" fmla="*/ 13192 h 28575"/>
                <a:gd name="connsiteX9" fmla="*/ 16880 w 19050"/>
                <a:gd name="connsiteY9" fmla="*/ 16883 h 28575"/>
                <a:gd name="connsiteX10" fmla="*/ 20575 w 19050"/>
                <a:gd name="connsiteY10" fmla="*/ 16883 h 28575"/>
                <a:gd name="connsiteX11" fmla="*/ 20575 w 19050"/>
                <a:gd name="connsiteY11" fmla="*/ 20573 h 28575"/>
                <a:gd name="connsiteX12" fmla="*/ 20575 w 19050"/>
                <a:gd name="connsiteY12" fmla="*/ 20573 h 28575"/>
                <a:gd name="connsiteX13" fmla="*/ 20575 w 19050"/>
                <a:gd name="connsiteY13" fmla="*/ 24264 h 28575"/>
                <a:gd name="connsiteX14" fmla="*/ 16880 w 19050"/>
                <a:gd name="connsiteY14" fmla="*/ 24264 h 28575"/>
                <a:gd name="connsiteX15" fmla="*/ 13193 w 19050"/>
                <a:gd name="connsiteY15" fmla="*/ 20573 h 28575"/>
                <a:gd name="connsiteX16" fmla="*/ 9507 w 19050"/>
                <a:gd name="connsiteY16" fmla="*/ 16883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0" h="28575">
                  <a:moveTo>
                    <a:pt x="9507" y="16883"/>
                  </a:moveTo>
                  <a:lnTo>
                    <a:pt x="9507" y="13192"/>
                  </a:lnTo>
                  <a:lnTo>
                    <a:pt x="5812" y="5812"/>
                  </a:lnTo>
                  <a:lnTo>
                    <a:pt x="5812" y="5812"/>
                  </a:lnTo>
                  <a:lnTo>
                    <a:pt x="9507" y="5812"/>
                  </a:lnTo>
                  <a:lnTo>
                    <a:pt x="9507" y="9502"/>
                  </a:lnTo>
                  <a:lnTo>
                    <a:pt x="13193" y="9502"/>
                  </a:lnTo>
                  <a:lnTo>
                    <a:pt x="16880" y="9502"/>
                  </a:lnTo>
                  <a:lnTo>
                    <a:pt x="16880" y="13192"/>
                  </a:lnTo>
                  <a:lnTo>
                    <a:pt x="16880" y="16883"/>
                  </a:lnTo>
                  <a:lnTo>
                    <a:pt x="20575" y="16883"/>
                  </a:lnTo>
                  <a:lnTo>
                    <a:pt x="20575" y="20573"/>
                  </a:lnTo>
                  <a:lnTo>
                    <a:pt x="20575" y="20573"/>
                  </a:lnTo>
                  <a:lnTo>
                    <a:pt x="20575" y="24264"/>
                  </a:lnTo>
                  <a:lnTo>
                    <a:pt x="16880" y="24264"/>
                  </a:lnTo>
                  <a:lnTo>
                    <a:pt x="13193" y="20573"/>
                  </a:lnTo>
                  <a:lnTo>
                    <a:pt x="9507" y="16883"/>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39" name="Freeform: Shape 38">
              <a:extLst>
                <a:ext uri="{FF2B5EF4-FFF2-40B4-BE49-F238E27FC236}">
                  <a16:creationId xmlns:a16="http://schemas.microsoft.com/office/drawing/2014/main" id="{51EE608B-092E-4AAF-B82B-A30F0839F4B6}"/>
                </a:ext>
              </a:extLst>
            </p:cNvPr>
            <p:cNvSpPr/>
            <p:nvPr/>
          </p:nvSpPr>
          <p:spPr>
            <a:xfrm>
              <a:off x="6670943" y="1345394"/>
              <a:ext cx="1149164" cy="1127882"/>
            </a:xfrm>
            <a:custGeom>
              <a:avLst/>
              <a:gdLst>
                <a:gd name="connsiteX0" fmla="*/ 275121 w 514350"/>
                <a:gd name="connsiteY0" fmla="*/ 5812 h 504825"/>
                <a:gd name="connsiteX1" fmla="*/ 267740 w 514350"/>
                <a:gd name="connsiteY1" fmla="*/ 9502 h 504825"/>
                <a:gd name="connsiteX2" fmla="*/ 238222 w 514350"/>
                <a:gd name="connsiteY2" fmla="*/ 13193 h 504825"/>
                <a:gd name="connsiteX3" fmla="*/ 234535 w 514350"/>
                <a:gd name="connsiteY3" fmla="*/ 16883 h 504825"/>
                <a:gd name="connsiteX4" fmla="*/ 223467 w 514350"/>
                <a:gd name="connsiteY4" fmla="*/ 20574 h 504825"/>
                <a:gd name="connsiteX5" fmla="*/ 219781 w 514350"/>
                <a:gd name="connsiteY5" fmla="*/ 20574 h 504825"/>
                <a:gd name="connsiteX6" fmla="*/ 216095 w 514350"/>
                <a:gd name="connsiteY6" fmla="*/ 24264 h 504825"/>
                <a:gd name="connsiteX7" fmla="*/ 208713 w 514350"/>
                <a:gd name="connsiteY7" fmla="*/ 24264 h 504825"/>
                <a:gd name="connsiteX8" fmla="*/ 201331 w 514350"/>
                <a:gd name="connsiteY8" fmla="*/ 31645 h 504825"/>
                <a:gd name="connsiteX9" fmla="*/ 197645 w 514350"/>
                <a:gd name="connsiteY9" fmla="*/ 31645 h 504825"/>
                <a:gd name="connsiteX10" fmla="*/ 193959 w 514350"/>
                <a:gd name="connsiteY10" fmla="*/ 31645 h 504825"/>
                <a:gd name="connsiteX11" fmla="*/ 190263 w 514350"/>
                <a:gd name="connsiteY11" fmla="*/ 31645 h 504825"/>
                <a:gd name="connsiteX12" fmla="*/ 182891 w 514350"/>
                <a:gd name="connsiteY12" fmla="*/ 35336 h 504825"/>
                <a:gd name="connsiteX13" fmla="*/ 175509 w 514350"/>
                <a:gd name="connsiteY13" fmla="*/ 39027 h 504825"/>
                <a:gd name="connsiteX14" fmla="*/ 171823 w 514350"/>
                <a:gd name="connsiteY14" fmla="*/ 35336 h 504825"/>
                <a:gd name="connsiteX15" fmla="*/ 168127 w 514350"/>
                <a:gd name="connsiteY15" fmla="*/ 39027 h 504825"/>
                <a:gd name="connsiteX16" fmla="*/ 149687 w 514350"/>
                <a:gd name="connsiteY16" fmla="*/ 39027 h 504825"/>
                <a:gd name="connsiteX17" fmla="*/ 138619 w 514350"/>
                <a:gd name="connsiteY17" fmla="*/ 42717 h 504825"/>
                <a:gd name="connsiteX18" fmla="*/ 123864 w 514350"/>
                <a:gd name="connsiteY18" fmla="*/ 46408 h 504825"/>
                <a:gd name="connsiteX19" fmla="*/ 116483 w 514350"/>
                <a:gd name="connsiteY19" fmla="*/ 46408 h 504825"/>
                <a:gd name="connsiteX20" fmla="*/ 109101 w 514350"/>
                <a:gd name="connsiteY20" fmla="*/ 50098 h 504825"/>
                <a:gd name="connsiteX21" fmla="*/ 101728 w 514350"/>
                <a:gd name="connsiteY21" fmla="*/ 50098 h 504825"/>
                <a:gd name="connsiteX22" fmla="*/ 90660 w 514350"/>
                <a:gd name="connsiteY22" fmla="*/ 53789 h 504825"/>
                <a:gd name="connsiteX23" fmla="*/ 79592 w 514350"/>
                <a:gd name="connsiteY23" fmla="*/ 57480 h 504825"/>
                <a:gd name="connsiteX24" fmla="*/ 75906 w 514350"/>
                <a:gd name="connsiteY24" fmla="*/ 61170 h 504825"/>
                <a:gd name="connsiteX25" fmla="*/ 75906 w 514350"/>
                <a:gd name="connsiteY25" fmla="*/ 64861 h 504825"/>
                <a:gd name="connsiteX26" fmla="*/ 68524 w 514350"/>
                <a:gd name="connsiteY26" fmla="*/ 68551 h 504825"/>
                <a:gd name="connsiteX27" fmla="*/ 64838 w 514350"/>
                <a:gd name="connsiteY27" fmla="*/ 64861 h 504825"/>
                <a:gd name="connsiteX28" fmla="*/ 61142 w 514350"/>
                <a:gd name="connsiteY28" fmla="*/ 61170 h 504825"/>
                <a:gd name="connsiteX29" fmla="*/ 42702 w 514350"/>
                <a:gd name="connsiteY29" fmla="*/ 50098 h 504825"/>
                <a:gd name="connsiteX30" fmla="*/ 39006 w 514350"/>
                <a:gd name="connsiteY30" fmla="*/ 50098 h 504825"/>
                <a:gd name="connsiteX31" fmla="*/ 24252 w 514350"/>
                <a:gd name="connsiteY31" fmla="*/ 57480 h 504825"/>
                <a:gd name="connsiteX32" fmla="*/ 24252 w 514350"/>
                <a:gd name="connsiteY32" fmla="*/ 53789 h 504825"/>
                <a:gd name="connsiteX33" fmla="*/ 20566 w 514350"/>
                <a:gd name="connsiteY33" fmla="*/ 53789 h 504825"/>
                <a:gd name="connsiteX34" fmla="*/ 20566 w 514350"/>
                <a:gd name="connsiteY34" fmla="*/ 57480 h 504825"/>
                <a:gd name="connsiteX35" fmla="*/ 16870 w 514350"/>
                <a:gd name="connsiteY35" fmla="*/ 57480 h 504825"/>
                <a:gd name="connsiteX36" fmla="*/ 16870 w 514350"/>
                <a:gd name="connsiteY36" fmla="*/ 53789 h 504825"/>
                <a:gd name="connsiteX37" fmla="*/ 13184 w 514350"/>
                <a:gd name="connsiteY37" fmla="*/ 57480 h 504825"/>
                <a:gd name="connsiteX38" fmla="*/ 16870 w 514350"/>
                <a:gd name="connsiteY38" fmla="*/ 61170 h 504825"/>
                <a:gd name="connsiteX39" fmla="*/ 20566 w 514350"/>
                <a:gd name="connsiteY39" fmla="*/ 61170 h 504825"/>
                <a:gd name="connsiteX40" fmla="*/ 24252 w 514350"/>
                <a:gd name="connsiteY40" fmla="*/ 64861 h 504825"/>
                <a:gd name="connsiteX41" fmla="*/ 27938 w 514350"/>
                <a:gd name="connsiteY41" fmla="*/ 64861 h 504825"/>
                <a:gd name="connsiteX42" fmla="*/ 31634 w 514350"/>
                <a:gd name="connsiteY42" fmla="*/ 68551 h 504825"/>
                <a:gd name="connsiteX43" fmla="*/ 35320 w 514350"/>
                <a:gd name="connsiteY43" fmla="*/ 68551 h 504825"/>
                <a:gd name="connsiteX44" fmla="*/ 35320 w 514350"/>
                <a:gd name="connsiteY44" fmla="*/ 72242 h 504825"/>
                <a:gd name="connsiteX45" fmla="*/ 31634 w 514350"/>
                <a:gd name="connsiteY45" fmla="*/ 72242 h 504825"/>
                <a:gd name="connsiteX46" fmla="*/ 27938 w 514350"/>
                <a:gd name="connsiteY46" fmla="*/ 72242 h 504825"/>
                <a:gd name="connsiteX47" fmla="*/ 24252 w 514350"/>
                <a:gd name="connsiteY47" fmla="*/ 72242 h 504825"/>
                <a:gd name="connsiteX48" fmla="*/ 24252 w 514350"/>
                <a:gd name="connsiteY48" fmla="*/ 68551 h 504825"/>
                <a:gd name="connsiteX49" fmla="*/ 16870 w 514350"/>
                <a:gd name="connsiteY49" fmla="*/ 64861 h 504825"/>
                <a:gd name="connsiteX50" fmla="*/ 16870 w 514350"/>
                <a:gd name="connsiteY50" fmla="*/ 61170 h 504825"/>
                <a:gd name="connsiteX51" fmla="*/ 9498 w 514350"/>
                <a:gd name="connsiteY51" fmla="*/ 61170 h 504825"/>
                <a:gd name="connsiteX52" fmla="*/ 5812 w 514350"/>
                <a:gd name="connsiteY52" fmla="*/ 68551 h 504825"/>
                <a:gd name="connsiteX53" fmla="*/ 9498 w 514350"/>
                <a:gd name="connsiteY53" fmla="*/ 68551 h 504825"/>
                <a:gd name="connsiteX54" fmla="*/ 13184 w 514350"/>
                <a:gd name="connsiteY54" fmla="*/ 72242 h 504825"/>
                <a:gd name="connsiteX55" fmla="*/ 16870 w 514350"/>
                <a:gd name="connsiteY55" fmla="*/ 72242 h 504825"/>
                <a:gd name="connsiteX56" fmla="*/ 16870 w 514350"/>
                <a:gd name="connsiteY56" fmla="*/ 75933 h 504825"/>
                <a:gd name="connsiteX57" fmla="*/ 13184 w 514350"/>
                <a:gd name="connsiteY57" fmla="*/ 79623 h 504825"/>
                <a:gd name="connsiteX58" fmla="*/ 9498 w 514350"/>
                <a:gd name="connsiteY58" fmla="*/ 75933 h 504825"/>
                <a:gd name="connsiteX59" fmla="*/ 9498 w 514350"/>
                <a:gd name="connsiteY59" fmla="*/ 79623 h 504825"/>
                <a:gd name="connsiteX60" fmla="*/ 13184 w 514350"/>
                <a:gd name="connsiteY60" fmla="*/ 83314 h 504825"/>
                <a:gd name="connsiteX61" fmla="*/ 16870 w 514350"/>
                <a:gd name="connsiteY61" fmla="*/ 83314 h 504825"/>
                <a:gd name="connsiteX62" fmla="*/ 20566 w 514350"/>
                <a:gd name="connsiteY62" fmla="*/ 83314 h 504825"/>
                <a:gd name="connsiteX63" fmla="*/ 24252 w 514350"/>
                <a:gd name="connsiteY63" fmla="*/ 83314 h 504825"/>
                <a:gd name="connsiteX64" fmla="*/ 27938 w 514350"/>
                <a:gd name="connsiteY64" fmla="*/ 83314 h 504825"/>
                <a:gd name="connsiteX65" fmla="*/ 31634 w 514350"/>
                <a:gd name="connsiteY65" fmla="*/ 83314 h 504825"/>
                <a:gd name="connsiteX66" fmla="*/ 31634 w 514350"/>
                <a:gd name="connsiteY66" fmla="*/ 87005 h 504825"/>
                <a:gd name="connsiteX67" fmla="*/ 24252 w 514350"/>
                <a:gd name="connsiteY67" fmla="*/ 87005 h 504825"/>
                <a:gd name="connsiteX68" fmla="*/ 20566 w 514350"/>
                <a:gd name="connsiteY68" fmla="*/ 87005 h 504825"/>
                <a:gd name="connsiteX69" fmla="*/ 20566 w 514350"/>
                <a:gd name="connsiteY69" fmla="*/ 90695 h 504825"/>
                <a:gd name="connsiteX70" fmla="*/ 24252 w 514350"/>
                <a:gd name="connsiteY70" fmla="*/ 90695 h 504825"/>
                <a:gd name="connsiteX71" fmla="*/ 27938 w 514350"/>
                <a:gd name="connsiteY71" fmla="*/ 90695 h 504825"/>
                <a:gd name="connsiteX72" fmla="*/ 31634 w 514350"/>
                <a:gd name="connsiteY72" fmla="*/ 90695 h 504825"/>
                <a:gd name="connsiteX73" fmla="*/ 35320 w 514350"/>
                <a:gd name="connsiteY73" fmla="*/ 87005 h 504825"/>
                <a:gd name="connsiteX74" fmla="*/ 35320 w 514350"/>
                <a:gd name="connsiteY74" fmla="*/ 90695 h 504825"/>
                <a:gd name="connsiteX75" fmla="*/ 35320 w 514350"/>
                <a:gd name="connsiteY75" fmla="*/ 94385 h 504825"/>
                <a:gd name="connsiteX76" fmla="*/ 31634 w 514350"/>
                <a:gd name="connsiteY76" fmla="*/ 94385 h 504825"/>
                <a:gd name="connsiteX77" fmla="*/ 35320 w 514350"/>
                <a:gd name="connsiteY77" fmla="*/ 98075 h 504825"/>
                <a:gd name="connsiteX78" fmla="*/ 39006 w 514350"/>
                <a:gd name="connsiteY78" fmla="*/ 94385 h 504825"/>
                <a:gd name="connsiteX79" fmla="*/ 42702 w 514350"/>
                <a:gd name="connsiteY79" fmla="*/ 94385 h 504825"/>
                <a:gd name="connsiteX80" fmla="*/ 42702 w 514350"/>
                <a:gd name="connsiteY80" fmla="*/ 98075 h 504825"/>
                <a:gd name="connsiteX81" fmla="*/ 39006 w 514350"/>
                <a:gd name="connsiteY81" fmla="*/ 101766 h 504825"/>
                <a:gd name="connsiteX82" fmla="*/ 31634 w 514350"/>
                <a:gd name="connsiteY82" fmla="*/ 101766 h 504825"/>
                <a:gd name="connsiteX83" fmla="*/ 31634 w 514350"/>
                <a:gd name="connsiteY83" fmla="*/ 105457 h 504825"/>
                <a:gd name="connsiteX84" fmla="*/ 35320 w 514350"/>
                <a:gd name="connsiteY84" fmla="*/ 109147 h 504825"/>
                <a:gd name="connsiteX85" fmla="*/ 39006 w 514350"/>
                <a:gd name="connsiteY85" fmla="*/ 105457 h 504825"/>
                <a:gd name="connsiteX86" fmla="*/ 42702 w 514350"/>
                <a:gd name="connsiteY86" fmla="*/ 105457 h 504825"/>
                <a:gd name="connsiteX87" fmla="*/ 46388 w 514350"/>
                <a:gd name="connsiteY87" fmla="*/ 105457 h 504825"/>
                <a:gd name="connsiteX88" fmla="*/ 50074 w 514350"/>
                <a:gd name="connsiteY88" fmla="*/ 105457 h 504825"/>
                <a:gd name="connsiteX89" fmla="*/ 53770 w 514350"/>
                <a:gd name="connsiteY89" fmla="*/ 109147 h 504825"/>
                <a:gd name="connsiteX90" fmla="*/ 57456 w 514350"/>
                <a:gd name="connsiteY90" fmla="*/ 109147 h 504825"/>
                <a:gd name="connsiteX91" fmla="*/ 57456 w 514350"/>
                <a:gd name="connsiteY91" fmla="*/ 131291 h 504825"/>
                <a:gd name="connsiteX92" fmla="*/ 57456 w 514350"/>
                <a:gd name="connsiteY92" fmla="*/ 134981 h 504825"/>
                <a:gd name="connsiteX93" fmla="*/ 61142 w 514350"/>
                <a:gd name="connsiteY93" fmla="*/ 134981 h 504825"/>
                <a:gd name="connsiteX94" fmla="*/ 61142 w 514350"/>
                <a:gd name="connsiteY94" fmla="*/ 138672 h 504825"/>
                <a:gd name="connsiteX95" fmla="*/ 57456 w 514350"/>
                <a:gd name="connsiteY95" fmla="*/ 138672 h 504825"/>
                <a:gd name="connsiteX96" fmla="*/ 53770 w 514350"/>
                <a:gd name="connsiteY96" fmla="*/ 142363 h 504825"/>
                <a:gd name="connsiteX97" fmla="*/ 53770 w 514350"/>
                <a:gd name="connsiteY97" fmla="*/ 146053 h 504825"/>
                <a:gd name="connsiteX98" fmla="*/ 50074 w 514350"/>
                <a:gd name="connsiteY98" fmla="*/ 149744 h 504825"/>
                <a:gd name="connsiteX99" fmla="*/ 46388 w 514350"/>
                <a:gd name="connsiteY99" fmla="*/ 149744 h 504825"/>
                <a:gd name="connsiteX100" fmla="*/ 42702 w 514350"/>
                <a:gd name="connsiteY100" fmla="*/ 153435 h 504825"/>
                <a:gd name="connsiteX101" fmla="*/ 42702 w 514350"/>
                <a:gd name="connsiteY101" fmla="*/ 157125 h 504825"/>
                <a:gd name="connsiteX102" fmla="*/ 42702 w 514350"/>
                <a:gd name="connsiteY102" fmla="*/ 160816 h 504825"/>
                <a:gd name="connsiteX103" fmla="*/ 42702 w 514350"/>
                <a:gd name="connsiteY103" fmla="*/ 164506 h 504825"/>
                <a:gd name="connsiteX104" fmla="*/ 46388 w 514350"/>
                <a:gd name="connsiteY104" fmla="*/ 164506 h 504825"/>
                <a:gd name="connsiteX105" fmla="*/ 42702 w 514350"/>
                <a:gd name="connsiteY105" fmla="*/ 168197 h 504825"/>
                <a:gd name="connsiteX106" fmla="*/ 39006 w 514350"/>
                <a:gd name="connsiteY106" fmla="*/ 168197 h 504825"/>
                <a:gd name="connsiteX107" fmla="*/ 39006 w 514350"/>
                <a:gd name="connsiteY107" fmla="*/ 171888 h 504825"/>
                <a:gd name="connsiteX108" fmla="*/ 35320 w 514350"/>
                <a:gd name="connsiteY108" fmla="*/ 175578 h 504825"/>
                <a:gd name="connsiteX109" fmla="*/ 35320 w 514350"/>
                <a:gd name="connsiteY109" fmla="*/ 179268 h 504825"/>
                <a:gd name="connsiteX110" fmla="*/ 35320 w 514350"/>
                <a:gd name="connsiteY110" fmla="*/ 182958 h 504825"/>
                <a:gd name="connsiteX111" fmla="*/ 31634 w 514350"/>
                <a:gd name="connsiteY111" fmla="*/ 186649 h 504825"/>
                <a:gd name="connsiteX112" fmla="*/ 27938 w 514350"/>
                <a:gd name="connsiteY112" fmla="*/ 190340 h 504825"/>
                <a:gd name="connsiteX113" fmla="*/ 24252 w 514350"/>
                <a:gd name="connsiteY113" fmla="*/ 194030 h 504825"/>
                <a:gd name="connsiteX114" fmla="*/ 24252 w 514350"/>
                <a:gd name="connsiteY114" fmla="*/ 197721 h 504825"/>
                <a:gd name="connsiteX115" fmla="*/ 27938 w 514350"/>
                <a:gd name="connsiteY115" fmla="*/ 197721 h 504825"/>
                <a:gd name="connsiteX116" fmla="*/ 31634 w 514350"/>
                <a:gd name="connsiteY116" fmla="*/ 197721 h 504825"/>
                <a:gd name="connsiteX117" fmla="*/ 31634 w 514350"/>
                <a:gd name="connsiteY117" fmla="*/ 205102 h 504825"/>
                <a:gd name="connsiteX118" fmla="*/ 31634 w 514350"/>
                <a:gd name="connsiteY118" fmla="*/ 208793 h 504825"/>
                <a:gd name="connsiteX119" fmla="*/ 31634 w 514350"/>
                <a:gd name="connsiteY119" fmla="*/ 212483 h 504825"/>
                <a:gd name="connsiteX120" fmla="*/ 27938 w 514350"/>
                <a:gd name="connsiteY120" fmla="*/ 219865 h 504825"/>
                <a:gd name="connsiteX121" fmla="*/ 24252 w 514350"/>
                <a:gd name="connsiteY121" fmla="*/ 223555 h 504825"/>
                <a:gd name="connsiteX122" fmla="*/ 20566 w 514350"/>
                <a:gd name="connsiteY122" fmla="*/ 223555 h 504825"/>
                <a:gd name="connsiteX123" fmla="*/ 16870 w 514350"/>
                <a:gd name="connsiteY123" fmla="*/ 227246 h 504825"/>
                <a:gd name="connsiteX124" fmla="*/ 16870 w 514350"/>
                <a:gd name="connsiteY124" fmla="*/ 230936 h 504825"/>
                <a:gd name="connsiteX125" fmla="*/ 13184 w 514350"/>
                <a:gd name="connsiteY125" fmla="*/ 238318 h 504825"/>
                <a:gd name="connsiteX126" fmla="*/ 9498 w 514350"/>
                <a:gd name="connsiteY126" fmla="*/ 242008 h 504825"/>
                <a:gd name="connsiteX127" fmla="*/ 9498 w 514350"/>
                <a:gd name="connsiteY127" fmla="*/ 249389 h 504825"/>
                <a:gd name="connsiteX128" fmla="*/ 9498 w 514350"/>
                <a:gd name="connsiteY128" fmla="*/ 256771 h 504825"/>
                <a:gd name="connsiteX129" fmla="*/ 9498 w 514350"/>
                <a:gd name="connsiteY129" fmla="*/ 260461 h 504825"/>
                <a:gd name="connsiteX130" fmla="*/ 9498 w 514350"/>
                <a:gd name="connsiteY130" fmla="*/ 275223 h 504825"/>
                <a:gd name="connsiteX131" fmla="*/ 13184 w 514350"/>
                <a:gd name="connsiteY131" fmla="*/ 278913 h 504825"/>
                <a:gd name="connsiteX132" fmla="*/ 16870 w 514350"/>
                <a:gd name="connsiteY132" fmla="*/ 282604 h 504825"/>
                <a:gd name="connsiteX133" fmla="*/ 20566 w 514350"/>
                <a:gd name="connsiteY133" fmla="*/ 289985 h 504825"/>
                <a:gd name="connsiteX134" fmla="*/ 24252 w 514350"/>
                <a:gd name="connsiteY134" fmla="*/ 289985 h 504825"/>
                <a:gd name="connsiteX135" fmla="*/ 31634 w 514350"/>
                <a:gd name="connsiteY135" fmla="*/ 289985 h 504825"/>
                <a:gd name="connsiteX136" fmla="*/ 39006 w 514350"/>
                <a:gd name="connsiteY136" fmla="*/ 289985 h 504825"/>
                <a:gd name="connsiteX137" fmla="*/ 46388 w 514350"/>
                <a:gd name="connsiteY137" fmla="*/ 289985 h 504825"/>
                <a:gd name="connsiteX138" fmla="*/ 50074 w 514350"/>
                <a:gd name="connsiteY138" fmla="*/ 289985 h 504825"/>
                <a:gd name="connsiteX139" fmla="*/ 53770 w 514350"/>
                <a:gd name="connsiteY139" fmla="*/ 293676 h 504825"/>
                <a:gd name="connsiteX140" fmla="*/ 61142 w 514350"/>
                <a:gd name="connsiteY140" fmla="*/ 297366 h 504825"/>
                <a:gd name="connsiteX141" fmla="*/ 64838 w 514350"/>
                <a:gd name="connsiteY141" fmla="*/ 301057 h 504825"/>
                <a:gd name="connsiteX142" fmla="*/ 64838 w 514350"/>
                <a:gd name="connsiteY142" fmla="*/ 304748 h 504825"/>
                <a:gd name="connsiteX143" fmla="*/ 75906 w 514350"/>
                <a:gd name="connsiteY143" fmla="*/ 308438 h 504825"/>
                <a:gd name="connsiteX144" fmla="*/ 86974 w 514350"/>
                <a:gd name="connsiteY144" fmla="*/ 312129 h 504825"/>
                <a:gd name="connsiteX145" fmla="*/ 90660 w 514350"/>
                <a:gd name="connsiteY145" fmla="*/ 312129 h 504825"/>
                <a:gd name="connsiteX146" fmla="*/ 94346 w 514350"/>
                <a:gd name="connsiteY146" fmla="*/ 297366 h 504825"/>
                <a:gd name="connsiteX147" fmla="*/ 98033 w 514350"/>
                <a:gd name="connsiteY147" fmla="*/ 297366 h 504825"/>
                <a:gd name="connsiteX148" fmla="*/ 98033 w 514350"/>
                <a:gd name="connsiteY148" fmla="*/ 286295 h 504825"/>
                <a:gd name="connsiteX149" fmla="*/ 98033 w 514350"/>
                <a:gd name="connsiteY149" fmla="*/ 282604 h 504825"/>
                <a:gd name="connsiteX150" fmla="*/ 105414 w 514350"/>
                <a:gd name="connsiteY150" fmla="*/ 264151 h 504825"/>
                <a:gd name="connsiteX151" fmla="*/ 105414 w 514350"/>
                <a:gd name="connsiteY151" fmla="*/ 260461 h 504825"/>
                <a:gd name="connsiteX152" fmla="*/ 109101 w 514350"/>
                <a:gd name="connsiteY152" fmla="*/ 256771 h 504825"/>
                <a:gd name="connsiteX153" fmla="*/ 112796 w 514350"/>
                <a:gd name="connsiteY153" fmla="*/ 249389 h 504825"/>
                <a:gd name="connsiteX154" fmla="*/ 116483 w 514350"/>
                <a:gd name="connsiteY154" fmla="*/ 245699 h 504825"/>
                <a:gd name="connsiteX155" fmla="*/ 116483 w 514350"/>
                <a:gd name="connsiteY155" fmla="*/ 242008 h 504825"/>
                <a:gd name="connsiteX156" fmla="*/ 120169 w 514350"/>
                <a:gd name="connsiteY156" fmla="*/ 238318 h 504825"/>
                <a:gd name="connsiteX157" fmla="*/ 127551 w 514350"/>
                <a:gd name="connsiteY157" fmla="*/ 234627 h 504825"/>
                <a:gd name="connsiteX158" fmla="*/ 134932 w 514350"/>
                <a:gd name="connsiteY158" fmla="*/ 230936 h 504825"/>
                <a:gd name="connsiteX159" fmla="*/ 134932 w 514350"/>
                <a:gd name="connsiteY159" fmla="*/ 227246 h 504825"/>
                <a:gd name="connsiteX160" fmla="*/ 138619 w 514350"/>
                <a:gd name="connsiteY160" fmla="*/ 223555 h 504825"/>
                <a:gd name="connsiteX161" fmla="*/ 146001 w 514350"/>
                <a:gd name="connsiteY161" fmla="*/ 219865 h 504825"/>
                <a:gd name="connsiteX162" fmla="*/ 153373 w 514350"/>
                <a:gd name="connsiteY162" fmla="*/ 219865 h 504825"/>
                <a:gd name="connsiteX163" fmla="*/ 157069 w 514350"/>
                <a:gd name="connsiteY163" fmla="*/ 219865 h 504825"/>
                <a:gd name="connsiteX164" fmla="*/ 160755 w 514350"/>
                <a:gd name="connsiteY164" fmla="*/ 223555 h 504825"/>
                <a:gd name="connsiteX165" fmla="*/ 164441 w 514350"/>
                <a:gd name="connsiteY165" fmla="*/ 219865 h 504825"/>
                <a:gd name="connsiteX166" fmla="*/ 168127 w 514350"/>
                <a:gd name="connsiteY166" fmla="*/ 223555 h 504825"/>
                <a:gd name="connsiteX167" fmla="*/ 175509 w 514350"/>
                <a:gd name="connsiteY167" fmla="*/ 223555 h 504825"/>
                <a:gd name="connsiteX168" fmla="*/ 179195 w 514350"/>
                <a:gd name="connsiteY168" fmla="*/ 234627 h 504825"/>
                <a:gd name="connsiteX169" fmla="*/ 182891 w 514350"/>
                <a:gd name="connsiteY169" fmla="*/ 238318 h 504825"/>
                <a:gd name="connsiteX170" fmla="*/ 186577 w 514350"/>
                <a:gd name="connsiteY170" fmla="*/ 234627 h 504825"/>
                <a:gd name="connsiteX171" fmla="*/ 190263 w 514350"/>
                <a:gd name="connsiteY171" fmla="*/ 245699 h 504825"/>
                <a:gd name="connsiteX172" fmla="*/ 190263 w 514350"/>
                <a:gd name="connsiteY172" fmla="*/ 249389 h 504825"/>
                <a:gd name="connsiteX173" fmla="*/ 193959 w 514350"/>
                <a:gd name="connsiteY173" fmla="*/ 253080 h 504825"/>
                <a:gd name="connsiteX174" fmla="*/ 201331 w 514350"/>
                <a:gd name="connsiteY174" fmla="*/ 249389 h 504825"/>
                <a:gd name="connsiteX175" fmla="*/ 201331 w 514350"/>
                <a:gd name="connsiteY175" fmla="*/ 253080 h 504825"/>
                <a:gd name="connsiteX176" fmla="*/ 201331 w 514350"/>
                <a:gd name="connsiteY176" fmla="*/ 256771 h 504825"/>
                <a:gd name="connsiteX177" fmla="*/ 205027 w 514350"/>
                <a:gd name="connsiteY177" fmla="*/ 260461 h 504825"/>
                <a:gd name="connsiteX178" fmla="*/ 205027 w 514350"/>
                <a:gd name="connsiteY178" fmla="*/ 264151 h 504825"/>
                <a:gd name="connsiteX179" fmla="*/ 212399 w 514350"/>
                <a:gd name="connsiteY179" fmla="*/ 264151 h 504825"/>
                <a:gd name="connsiteX180" fmla="*/ 212399 w 514350"/>
                <a:gd name="connsiteY180" fmla="*/ 267842 h 504825"/>
                <a:gd name="connsiteX181" fmla="*/ 216095 w 514350"/>
                <a:gd name="connsiteY181" fmla="*/ 271532 h 504825"/>
                <a:gd name="connsiteX182" fmla="*/ 219781 w 514350"/>
                <a:gd name="connsiteY182" fmla="*/ 275223 h 504825"/>
                <a:gd name="connsiteX183" fmla="*/ 223467 w 514350"/>
                <a:gd name="connsiteY183" fmla="*/ 278913 h 504825"/>
                <a:gd name="connsiteX184" fmla="*/ 223467 w 514350"/>
                <a:gd name="connsiteY184" fmla="*/ 282604 h 504825"/>
                <a:gd name="connsiteX185" fmla="*/ 227163 w 514350"/>
                <a:gd name="connsiteY185" fmla="*/ 282604 h 504825"/>
                <a:gd name="connsiteX186" fmla="*/ 223467 w 514350"/>
                <a:gd name="connsiteY186" fmla="*/ 286295 h 504825"/>
                <a:gd name="connsiteX187" fmla="*/ 227163 w 514350"/>
                <a:gd name="connsiteY187" fmla="*/ 289985 h 504825"/>
                <a:gd name="connsiteX188" fmla="*/ 227163 w 514350"/>
                <a:gd name="connsiteY188" fmla="*/ 293676 h 504825"/>
                <a:gd name="connsiteX189" fmla="*/ 245603 w 514350"/>
                <a:gd name="connsiteY189" fmla="*/ 286295 h 504825"/>
                <a:gd name="connsiteX190" fmla="*/ 249290 w 514350"/>
                <a:gd name="connsiteY190" fmla="*/ 286295 h 504825"/>
                <a:gd name="connsiteX191" fmla="*/ 256672 w 514350"/>
                <a:gd name="connsiteY191" fmla="*/ 282604 h 504825"/>
                <a:gd name="connsiteX192" fmla="*/ 267740 w 514350"/>
                <a:gd name="connsiteY192" fmla="*/ 282604 h 504825"/>
                <a:gd name="connsiteX193" fmla="*/ 271426 w 514350"/>
                <a:gd name="connsiteY193" fmla="*/ 282604 h 504825"/>
                <a:gd name="connsiteX194" fmla="*/ 275121 w 514350"/>
                <a:gd name="connsiteY194" fmla="*/ 282604 h 504825"/>
                <a:gd name="connsiteX195" fmla="*/ 278808 w 514350"/>
                <a:gd name="connsiteY195" fmla="*/ 286295 h 504825"/>
                <a:gd name="connsiteX196" fmla="*/ 282494 w 514350"/>
                <a:gd name="connsiteY196" fmla="*/ 286295 h 504825"/>
                <a:gd name="connsiteX197" fmla="*/ 282494 w 514350"/>
                <a:gd name="connsiteY197" fmla="*/ 289985 h 504825"/>
                <a:gd name="connsiteX198" fmla="*/ 297258 w 514350"/>
                <a:gd name="connsiteY198" fmla="*/ 301057 h 504825"/>
                <a:gd name="connsiteX199" fmla="*/ 300944 w 514350"/>
                <a:gd name="connsiteY199" fmla="*/ 308438 h 504825"/>
                <a:gd name="connsiteX200" fmla="*/ 315698 w 514350"/>
                <a:gd name="connsiteY200" fmla="*/ 319510 h 504825"/>
                <a:gd name="connsiteX201" fmla="*/ 315698 w 514350"/>
                <a:gd name="connsiteY201" fmla="*/ 323201 h 504825"/>
                <a:gd name="connsiteX202" fmla="*/ 326766 w 514350"/>
                <a:gd name="connsiteY202" fmla="*/ 334273 h 504825"/>
                <a:gd name="connsiteX203" fmla="*/ 337834 w 514350"/>
                <a:gd name="connsiteY203" fmla="*/ 345344 h 504825"/>
                <a:gd name="connsiteX204" fmla="*/ 356284 w 514350"/>
                <a:gd name="connsiteY204" fmla="*/ 363796 h 504825"/>
                <a:gd name="connsiteX205" fmla="*/ 359970 w 514350"/>
                <a:gd name="connsiteY205" fmla="*/ 367487 h 504825"/>
                <a:gd name="connsiteX206" fmla="*/ 367352 w 514350"/>
                <a:gd name="connsiteY206" fmla="*/ 374868 h 504825"/>
                <a:gd name="connsiteX207" fmla="*/ 374724 w 514350"/>
                <a:gd name="connsiteY207" fmla="*/ 382249 h 504825"/>
                <a:gd name="connsiteX208" fmla="*/ 378410 w 514350"/>
                <a:gd name="connsiteY208" fmla="*/ 385940 h 504825"/>
                <a:gd name="connsiteX209" fmla="*/ 378410 w 514350"/>
                <a:gd name="connsiteY209" fmla="*/ 389631 h 504825"/>
                <a:gd name="connsiteX210" fmla="*/ 382106 w 514350"/>
                <a:gd name="connsiteY210" fmla="*/ 393321 h 504825"/>
                <a:gd name="connsiteX211" fmla="*/ 385792 w 514350"/>
                <a:gd name="connsiteY211" fmla="*/ 397012 h 504825"/>
                <a:gd name="connsiteX212" fmla="*/ 389479 w 514350"/>
                <a:gd name="connsiteY212" fmla="*/ 404393 h 504825"/>
                <a:gd name="connsiteX213" fmla="*/ 393174 w 514350"/>
                <a:gd name="connsiteY213" fmla="*/ 411774 h 504825"/>
                <a:gd name="connsiteX214" fmla="*/ 396861 w 514350"/>
                <a:gd name="connsiteY214" fmla="*/ 411774 h 504825"/>
                <a:gd name="connsiteX215" fmla="*/ 396861 w 514350"/>
                <a:gd name="connsiteY215" fmla="*/ 415465 h 504825"/>
                <a:gd name="connsiteX216" fmla="*/ 400547 w 514350"/>
                <a:gd name="connsiteY216" fmla="*/ 415465 h 504825"/>
                <a:gd name="connsiteX217" fmla="*/ 407928 w 514350"/>
                <a:gd name="connsiteY217" fmla="*/ 426537 h 504825"/>
                <a:gd name="connsiteX218" fmla="*/ 411615 w 514350"/>
                <a:gd name="connsiteY218" fmla="*/ 433917 h 504825"/>
                <a:gd name="connsiteX219" fmla="*/ 415310 w 514350"/>
                <a:gd name="connsiteY219" fmla="*/ 437608 h 504825"/>
                <a:gd name="connsiteX220" fmla="*/ 418997 w 514350"/>
                <a:gd name="connsiteY220" fmla="*/ 441298 h 504825"/>
                <a:gd name="connsiteX221" fmla="*/ 426378 w 514350"/>
                <a:gd name="connsiteY221" fmla="*/ 441298 h 504825"/>
                <a:gd name="connsiteX222" fmla="*/ 426378 w 514350"/>
                <a:gd name="connsiteY222" fmla="*/ 448680 h 504825"/>
                <a:gd name="connsiteX223" fmla="*/ 422683 w 514350"/>
                <a:gd name="connsiteY223" fmla="*/ 452370 h 504825"/>
                <a:gd name="connsiteX224" fmla="*/ 415310 w 514350"/>
                <a:gd name="connsiteY224" fmla="*/ 474514 h 504825"/>
                <a:gd name="connsiteX225" fmla="*/ 415310 w 514350"/>
                <a:gd name="connsiteY225" fmla="*/ 478204 h 504825"/>
                <a:gd name="connsiteX226" fmla="*/ 426378 w 514350"/>
                <a:gd name="connsiteY226" fmla="*/ 478204 h 504825"/>
                <a:gd name="connsiteX227" fmla="*/ 426378 w 514350"/>
                <a:gd name="connsiteY227" fmla="*/ 481895 h 504825"/>
                <a:gd name="connsiteX228" fmla="*/ 430065 w 514350"/>
                <a:gd name="connsiteY228" fmla="*/ 481895 h 504825"/>
                <a:gd name="connsiteX229" fmla="*/ 437447 w 514350"/>
                <a:gd name="connsiteY229" fmla="*/ 492967 h 504825"/>
                <a:gd name="connsiteX230" fmla="*/ 441133 w 514350"/>
                <a:gd name="connsiteY230" fmla="*/ 496657 h 504825"/>
                <a:gd name="connsiteX231" fmla="*/ 444819 w 514350"/>
                <a:gd name="connsiteY231" fmla="*/ 492967 h 504825"/>
                <a:gd name="connsiteX232" fmla="*/ 444819 w 514350"/>
                <a:gd name="connsiteY232" fmla="*/ 496657 h 504825"/>
                <a:gd name="connsiteX233" fmla="*/ 441133 w 514350"/>
                <a:gd name="connsiteY233" fmla="*/ 496657 h 504825"/>
                <a:gd name="connsiteX234" fmla="*/ 441133 w 514350"/>
                <a:gd name="connsiteY234" fmla="*/ 504039 h 504825"/>
                <a:gd name="connsiteX235" fmla="*/ 452201 w 514350"/>
                <a:gd name="connsiteY235" fmla="*/ 504039 h 504825"/>
                <a:gd name="connsiteX236" fmla="*/ 448505 w 514350"/>
                <a:gd name="connsiteY236" fmla="*/ 496657 h 504825"/>
                <a:gd name="connsiteX237" fmla="*/ 448505 w 514350"/>
                <a:gd name="connsiteY237" fmla="*/ 492967 h 504825"/>
                <a:gd name="connsiteX238" fmla="*/ 455887 w 514350"/>
                <a:gd name="connsiteY238" fmla="*/ 481895 h 504825"/>
                <a:gd name="connsiteX239" fmla="*/ 478023 w 514350"/>
                <a:gd name="connsiteY239" fmla="*/ 444989 h 504825"/>
                <a:gd name="connsiteX240" fmla="*/ 492777 w 514350"/>
                <a:gd name="connsiteY240" fmla="*/ 419156 h 504825"/>
                <a:gd name="connsiteX241" fmla="*/ 500159 w 514350"/>
                <a:gd name="connsiteY241" fmla="*/ 389631 h 504825"/>
                <a:gd name="connsiteX242" fmla="*/ 503845 w 514350"/>
                <a:gd name="connsiteY242" fmla="*/ 371178 h 504825"/>
                <a:gd name="connsiteX243" fmla="*/ 507541 w 514350"/>
                <a:gd name="connsiteY243" fmla="*/ 367487 h 504825"/>
                <a:gd name="connsiteX244" fmla="*/ 507541 w 514350"/>
                <a:gd name="connsiteY244" fmla="*/ 363796 h 504825"/>
                <a:gd name="connsiteX245" fmla="*/ 500159 w 514350"/>
                <a:gd name="connsiteY245" fmla="*/ 330582 h 504825"/>
                <a:gd name="connsiteX246" fmla="*/ 500159 w 514350"/>
                <a:gd name="connsiteY246" fmla="*/ 312129 h 504825"/>
                <a:gd name="connsiteX247" fmla="*/ 500159 w 514350"/>
                <a:gd name="connsiteY247" fmla="*/ 308438 h 504825"/>
                <a:gd name="connsiteX248" fmla="*/ 500159 w 514350"/>
                <a:gd name="connsiteY248" fmla="*/ 282604 h 504825"/>
                <a:gd name="connsiteX249" fmla="*/ 489091 w 514350"/>
                <a:gd name="connsiteY249" fmla="*/ 275223 h 504825"/>
                <a:gd name="connsiteX250" fmla="*/ 489091 w 514350"/>
                <a:gd name="connsiteY250" fmla="*/ 267842 h 504825"/>
                <a:gd name="connsiteX251" fmla="*/ 489091 w 514350"/>
                <a:gd name="connsiteY251" fmla="*/ 264151 h 504825"/>
                <a:gd name="connsiteX252" fmla="*/ 489091 w 514350"/>
                <a:gd name="connsiteY252" fmla="*/ 260461 h 504825"/>
                <a:gd name="connsiteX253" fmla="*/ 492777 w 514350"/>
                <a:gd name="connsiteY253" fmla="*/ 256771 h 504825"/>
                <a:gd name="connsiteX254" fmla="*/ 492777 w 514350"/>
                <a:gd name="connsiteY254" fmla="*/ 249389 h 504825"/>
                <a:gd name="connsiteX255" fmla="*/ 492777 w 514350"/>
                <a:gd name="connsiteY255" fmla="*/ 245699 h 504825"/>
                <a:gd name="connsiteX256" fmla="*/ 496473 w 514350"/>
                <a:gd name="connsiteY256" fmla="*/ 234627 h 504825"/>
                <a:gd name="connsiteX257" fmla="*/ 500159 w 514350"/>
                <a:gd name="connsiteY257" fmla="*/ 234627 h 504825"/>
                <a:gd name="connsiteX258" fmla="*/ 503845 w 514350"/>
                <a:gd name="connsiteY258" fmla="*/ 230936 h 504825"/>
                <a:gd name="connsiteX259" fmla="*/ 511227 w 514350"/>
                <a:gd name="connsiteY259" fmla="*/ 230936 h 504825"/>
                <a:gd name="connsiteX260" fmla="*/ 503845 w 514350"/>
                <a:gd name="connsiteY260" fmla="*/ 227246 h 504825"/>
                <a:gd name="connsiteX261" fmla="*/ 500159 w 514350"/>
                <a:gd name="connsiteY261" fmla="*/ 223555 h 504825"/>
                <a:gd name="connsiteX262" fmla="*/ 503845 w 514350"/>
                <a:gd name="connsiteY262" fmla="*/ 219865 h 504825"/>
                <a:gd name="connsiteX263" fmla="*/ 503845 w 514350"/>
                <a:gd name="connsiteY263" fmla="*/ 216174 h 504825"/>
                <a:gd name="connsiteX264" fmla="*/ 503845 w 514350"/>
                <a:gd name="connsiteY264" fmla="*/ 201412 h 504825"/>
                <a:gd name="connsiteX265" fmla="*/ 500159 w 514350"/>
                <a:gd name="connsiteY265" fmla="*/ 190340 h 504825"/>
                <a:gd name="connsiteX266" fmla="*/ 500159 w 514350"/>
                <a:gd name="connsiteY266" fmla="*/ 186649 h 504825"/>
                <a:gd name="connsiteX267" fmla="*/ 496473 w 514350"/>
                <a:gd name="connsiteY267" fmla="*/ 186649 h 504825"/>
                <a:gd name="connsiteX268" fmla="*/ 485405 w 514350"/>
                <a:gd name="connsiteY268" fmla="*/ 182958 h 504825"/>
                <a:gd name="connsiteX269" fmla="*/ 481709 w 514350"/>
                <a:gd name="connsiteY269" fmla="*/ 182958 h 504825"/>
                <a:gd name="connsiteX270" fmla="*/ 481709 w 514350"/>
                <a:gd name="connsiteY270" fmla="*/ 179268 h 504825"/>
                <a:gd name="connsiteX271" fmla="*/ 478023 w 514350"/>
                <a:gd name="connsiteY271" fmla="*/ 179268 h 504825"/>
                <a:gd name="connsiteX272" fmla="*/ 474337 w 514350"/>
                <a:gd name="connsiteY272" fmla="*/ 179268 h 504825"/>
                <a:gd name="connsiteX273" fmla="*/ 470641 w 514350"/>
                <a:gd name="connsiteY273" fmla="*/ 179268 h 504825"/>
                <a:gd name="connsiteX274" fmla="*/ 466955 w 514350"/>
                <a:gd name="connsiteY274" fmla="*/ 179268 h 504825"/>
                <a:gd name="connsiteX275" fmla="*/ 466955 w 514350"/>
                <a:gd name="connsiteY275" fmla="*/ 175578 h 504825"/>
                <a:gd name="connsiteX276" fmla="*/ 463269 w 514350"/>
                <a:gd name="connsiteY276" fmla="*/ 175578 h 504825"/>
                <a:gd name="connsiteX277" fmla="*/ 459573 w 514350"/>
                <a:gd name="connsiteY277" fmla="*/ 175578 h 504825"/>
                <a:gd name="connsiteX278" fmla="*/ 452201 w 514350"/>
                <a:gd name="connsiteY278" fmla="*/ 175578 h 504825"/>
                <a:gd name="connsiteX279" fmla="*/ 448505 w 514350"/>
                <a:gd name="connsiteY279" fmla="*/ 171888 h 504825"/>
                <a:gd name="connsiteX280" fmla="*/ 444819 w 514350"/>
                <a:gd name="connsiteY280" fmla="*/ 171888 h 504825"/>
                <a:gd name="connsiteX281" fmla="*/ 441133 w 514350"/>
                <a:gd name="connsiteY281" fmla="*/ 168197 h 504825"/>
                <a:gd name="connsiteX282" fmla="*/ 437447 w 514350"/>
                <a:gd name="connsiteY282" fmla="*/ 164506 h 504825"/>
                <a:gd name="connsiteX283" fmla="*/ 437447 w 514350"/>
                <a:gd name="connsiteY283" fmla="*/ 160816 h 504825"/>
                <a:gd name="connsiteX284" fmla="*/ 437447 w 514350"/>
                <a:gd name="connsiteY284" fmla="*/ 153435 h 504825"/>
                <a:gd name="connsiteX285" fmla="*/ 441133 w 514350"/>
                <a:gd name="connsiteY285" fmla="*/ 149744 h 504825"/>
                <a:gd name="connsiteX286" fmla="*/ 437447 w 514350"/>
                <a:gd name="connsiteY286" fmla="*/ 142363 h 504825"/>
                <a:gd name="connsiteX287" fmla="*/ 437447 w 514350"/>
                <a:gd name="connsiteY287" fmla="*/ 138672 h 504825"/>
                <a:gd name="connsiteX288" fmla="*/ 441133 w 514350"/>
                <a:gd name="connsiteY288" fmla="*/ 138672 h 504825"/>
                <a:gd name="connsiteX289" fmla="*/ 444819 w 514350"/>
                <a:gd name="connsiteY289" fmla="*/ 131291 h 504825"/>
                <a:gd name="connsiteX290" fmla="*/ 444819 w 514350"/>
                <a:gd name="connsiteY290" fmla="*/ 127600 h 504825"/>
                <a:gd name="connsiteX291" fmla="*/ 437447 w 514350"/>
                <a:gd name="connsiteY291" fmla="*/ 131291 h 504825"/>
                <a:gd name="connsiteX292" fmla="*/ 433751 w 514350"/>
                <a:gd name="connsiteY292" fmla="*/ 134981 h 504825"/>
                <a:gd name="connsiteX293" fmla="*/ 422683 w 514350"/>
                <a:gd name="connsiteY293" fmla="*/ 134981 h 504825"/>
                <a:gd name="connsiteX294" fmla="*/ 418997 w 514350"/>
                <a:gd name="connsiteY294" fmla="*/ 134981 h 504825"/>
                <a:gd name="connsiteX295" fmla="*/ 415310 w 514350"/>
                <a:gd name="connsiteY295" fmla="*/ 134981 h 504825"/>
                <a:gd name="connsiteX296" fmla="*/ 411615 w 514350"/>
                <a:gd name="connsiteY296" fmla="*/ 134981 h 504825"/>
                <a:gd name="connsiteX297" fmla="*/ 404242 w 514350"/>
                <a:gd name="connsiteY297" fmla="*/ 131291 h 504825"/>
                <a:gd name="connsiteX298" fmla="*/ 404242 w 514350"/>
                <a:gd name="connsiteY298" fmla="*/ 127600 h 504825"/>
                <a:gd name="connsiteX299" fmla="*/ 400547 w 514350"/>
                <a:gd name="connsiteY299" fmla="*/ 127600 h 504825"/>
                <a:gd name="connsiteX300" fmla="*/ 396861 w 514350"/>
                <a:gd name="connsiteY300" fmla="*/ 127600 h 504825"/>
                <a:gd name="connsiteX301" fmla="*/ 389479 w 514350"/>
                <a:gd name="connsiteY301" fmla="*/ 123910 h 504825"/>
                <a:gd name="connsiteX302" fmla="*/ 382106 w 514350"/>
                <a:gd name="connsiteY302" fmla="*/ 120219 h 504825"/>
                <a:gd name="connsiteX303" fmla="*/ 382106 w 514350"/>
                <a:gd name="connsiteY303" fmla="*/ 123910 h 504825"/>
                <a:gd name="connsiteX304" fmla="*/ 374724 w 514350"/>
                <a:gd name="connsiteY304" fmla="*/ 120219 h 504825"/>
                <a:gd name="connsiteX305" fmla="*/ 367352 w 514350"/>
                <a:gd name="connsiteY305" fmla="*/ 116528 h 504825"/>
                <a:gd name="connsiteX306" fmla="*/ 363656 w 514350"/>
                <a:gd name="connsiteY306" fmla="*/ 116528 h 504825"/>
                <a:gd name="connsiteX307" fmla="*/ 363656 w 514350"/>
                <a:gd name="connsiteY307" fmla="*/ 112838 h 504825"/>
                <a:gd name="connsiteX308" fmla="*/ 367352 w 514350"/>
                <a:gd name="connsiteY308" fmla="*/ 112838 h 504825"/>
                <a:gd name="connsiteX309" fmla="*/ 363656 w 514350"/>
                <a:gd name="connsiteY309" fmla="*/ 109147 h 504825"/>
                <a:gd name="connsiteX310" fmla="*/ 356284 w 514350"/>
                <a:gd name="connsiteY310" fmla="*/ 101766 h 504825"/>
                <a:gd name="connsiteX311" fmla="*/ 352588 w 514350"/>
                <a:gd name="connsiteY311" fmla="*/ 101766 h 504825"/>
                <a:gd name="connsiteX312" fmla="*/ 348902 w 514350"/>
                <a:gd name="connsiteY312" fmla="*/ 98075 h 504825"/>
                <a:gd name="connsiteX313" fmla="*/ 348902 w 514350"/>
                <a:gd name="connsiteY313" fmla="*/ 94385 h 504825"/>
                <a:gd name="connsiteX314" fmla="*/ 348902 w 514350"/>
                <a:gd name="connsiteY314" fmla="*/ 87005 h 504825"/>
                <a:gd name="connsiteX315" fmla="*/ 348902 w 514350"/>
                <a:gd name="connsiteY315" fmla="*/ 79623 h 504825"/>
                <a:gd name="connsiteX316" fmla="*/ 345216 w 514350"/>
                <a:gd name="connsiteY316" fmla="*/ 75933 h 504825"/>
                <a:gd name="connsiteX317" fmla="*/ 345216 w 514350"/>
                <a:gd name="connsiteY317" fmla="*/ 72242 h 504825"/>
                <a:gd name="connsiteX318" fmla="*/ 345216 w 514350"/>
                <a:gd name="connsiteY318" fmla="*/ 68551 h 504825"/>
                <a:gd name="connsiteX319" fmla="*/ 345216 w 514350"/>
                <a:gd name="connsiteY319" fmla="*/ 61170 h 504825"/>
                <a:gd name="connsiteX320" fmla="*/ 341520 w 514350"/>
                <a:gd name="connsiteY320" fmla="*/ 53789 h 504825"/>
                <a:gd name="connsiteX321" fmla="*/ 337834 w 514350"/>
                <a:gd name="connsiteY321" fmla="*/ 53789 h 504825"/>
                <a:gd name="connsiteX322" fmla="*/ 337834 w 514350"/>
                <a:gd name="connsiteY322" fmla="*/ 42717 h 504825"/>
                <a:gd name="connsiteX323" fmla="*/ 341520 w 514350"/>
                <a:gd name="connsiteY323" fmla="*/ 31645 h 504825"/>
                <a:gd name="connsiteX324" fmla="*/ 341520 w 514350"/>
                <a:gd name="connsiteY324" fmla="*/ 27955 h 504825"/>
                <a:gd name="connsiteX325" fmla="*/ 330452 w 514350"/>
                <a:gd name="connsiteY325" fmla="*/ 16883 h 504825"/>
                <a:gd name="connsiteX326" fmla="*/ 323080 w 514350"/>
                <a:gd name="connsiteY326" fmla="*/ 13193 h 504825"/>
                <a:gd name="connsiteX327" fmla="*/ 319384 w 514350"/>
                <a:gd name="connsiteY327" fmla="*/ 20574 h 504825"/>
                <a:gd name="connsiteX328" fmla="*/ 323080 w 514350"/>
                <a:gd name="connsiteY328" fmla="*/ 24264 h 504825"/>
                <a:gd name="connsiteX329" fmla="*/ 319384 w 514350"/>
                <a:gd name="connsiteY329" fmla="*/ 24264 h 504825"/>
                <a:gd name="connsiteX330" fmla="*/ 315698 w 514350"/>
                <a:gd name="connsiteY330" fmla="*/ 24264 h 504825"/>
                <a:gd name="connsiteX331" fmla="*/ 312012 w 514350"/>
                <a:gd name="connsiteY331" fmla="*/ 24264 h 504825"/>
                <a:gd name="connsiteX332" fmla="*/ 312012 w 514350"/>
                <a:gd name="connsiteY332" fmla="*/ 20574 h 504825"/>
                <a:gd name="connsiteX333" fmla="*/ 315698 w 514350"/>
                <a:gd name="connsiteY333" fmla="*/ 24264 h 504825"/>
                <a:gd name="connsiteX334" fmla="*/ 315698 w 514350"/>
                <a:gd name="connsiteY334" fmla="*/ 20574 h 504825"/>
                <a:gd name="connsiteX335" fmla="*/ 319384 w 514350"/>
                <a:gd name="connsiteY335" fmla="*/ 13193 h 504825"/>
                <a:gd name="connsiteX336" fmla="*/ 315698 w 514350"/>
                <a:gd name="connsiteY336" fmla="*/ 13193 h 504825"/>
                <a:gd name="connsiteX337" fmla="*/ 308316 w 514350"/>
                <a:gd name="connsiteY337" fmla="*/ 9502 h 504825"/>
                <a:gd name="connsiteX338" fmla="*/ 300944 w 514350"/>
                <a:gd name="connsiteY338" fmla="*/ 16883 h 504825"/>
                <a:gd name="connsiteX339" fmla="*/ 297258 w 514350"/>
                <a:gd name="connsiteY339" fmla="*/ 13193 h 504825"/>
                <a:gd name="connsiteX340" fmla="*/ 289876 w 514350"/>
                <a:gd name="connsiteY340" fmla="*/ 9502 h 504825"/>
                <a:gd name="connsiteX341" fmla="*/ 278808 w 514350"/>
                <a:gd name="connsiteY341" fmla="*/ 9502 h 504825"/>
                <a:gd name="connsiteX342" fmla="*/ 275121 w 514350"/>
                <a:gd name="connsiteY342" fmla="*/ 5812 h 504825"/>
                <a:gd name="connsiteX343" fmla="*/ 367352 w 514350"/>
                <a:gd name="connsiteY343" fmla="*/ 112838 h 504825"/>
                <a:gd name="connsiteX344" fmla="*/ 371038 w 514350"/>
                <a:gd name="connsiteY344" fmla="*/ 116528 h 504825"/>
                <a:gd name="connsiteX345" fmla="*/ 371038 w 514350"/>
                <a:gd name="connsiteY345" fmla="*/ 112838 h 504825"/>
                <a:gd name="connsiteX346" fmla="*/ 367352 w 514350"/>
                <a:gd name="connsiteY346" fmla="*/ 112838 h 504825"/>
                <a:gd name="connsiteX347" fmla="*/ 500159 w 514350"/>
                <a:gd name="connsiteY347" fmla="*/ 186649 h 504825"/>
                <a:gd name="connsiteX348" fmla="*/ 500159 w 514350"/>
                <a:gd name="connsiteY348" fmla="*/ 179268 h 504825"/>
                <a:gd name="connsiteX349" fmla="*/ 496473 w 514350"/>
                <a:gd name="connsiteY349" fmla="*/ 182958 h 504825"/>
                <a:gd name="connsiteX350" fmla="*/ 500159 w 514350"/>
                <a:gd name="connsiteY350" fmla="*/ 186649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Lst>
              <a:rect l="l" t="t" r="r" b="b"/>
              <a:pathLst>
                <a:path w="514350" h="504825">
                  <a:moveTo>
                    <a:pt x="275121" y="5812"/>
                  </a:moveTo>
                  <a:lnTo>
                    <a:pt x="267740" y="9502"/>
                  </a:lnTo>
                  <a:lnTo>
                    <a:pt x="238222" y="13193"/>
                  </a:lnTo>
                  <a:lnTo>
                    <a:pt x="234535" y="16883"/>
                  </a:lnTo>
                  <a:lnTo>
                    <a:pt x="223467" y="20574"/>
                  </a:lnTo>
                  <a:lnTo>
                    <a:pt x="219781" y="20574"/>
                  </a:lnTo>
                  <a:lnTo>
                    <a:pt x="216095" y="24264"/>
                  </a:lnTo>
                  <a:lnTo>
                    <a:pt x="208713" y="24264"/>
                  </a:lnTo>
                  <a:lnTo>
                    <a:pt x="201331" y="31645"/>
                  </a:lnTo>
                  <a:lnTo>
                    <a:pt x="197645" y="31645"/>
                  </a:lnTo>
                  <a:lnTo>
                    <a:pt x="193959" y="31645"/>
                  </a:lnTo>
                  <a:lnTo>
                    <a:pt x="190263" y="31645"/>
                  </a:lnTo>
                  <a:lnTo>
                    <a:pt x="182891" y="35336"/>
                  </a:lnTo>
                  <a:lnTo>
                    <a:pt x="175509" y="39027"/>
                  </a:lnTo>
                  <a:lnTo>
                    <a:pt x="171823" y="35336"/>
                  </a:lnTo>
                  <a:lnTo>
                    <a:pt x="168127" y="39027"/>
                  </a:lnTo>
                  <a:lnTo>
                    <a:pt x="149687" y="39027"/>
                  </a:lnTo>
                  <a:lnTo>
                    <a:pt x="138619" y="42717"/>
                  </a:lnTo>
                  <a:lnTo>
                    <a:pt x="123864" y="46408"/>
                  </a:lnTo>
                  <a:lnTo>
                    <a:pt x="116483" y="46408"/>
                  </a:lnTo>
                  <a:lnTo>
                    <a:pt x="109101" y="50098"/>
                  </a:lnTo>
                  <a:lnTo>
                    <a:pt x="101728" y="50098"/>
                  </a:lnTo>
                  <a:lnTo>
                    <a:pt x="90660" y="53789"/>
                  </a:lnTo>
                  <a:lnTo>
                    <a:pt x="79592" y="57480"/>
                  </a:lnTo>
                  <a:lnTo>
                    <a:pt x="75906" y="61170"/>
                  </a:lnTo>
                  <a:lnTo>
                    <a:pt x="75906" y="64861"/>
                  </a:lnTo>
                  <a:lnTo>
                    <a:pt x="68524" y="68551"/>
                  </a:lnTo>
                  <a:lnTo>
                    <a:pt x="64838" y="64861"/>
                  </a:lnTo>
                  <a:lnTo>
                    <a:pt x="61142" y="61170"/>
                  </a:lnTo>
                  <a:lnTo>
                    <a:pt x="42702" y="50098"/>
                  </a:lnTo>
                  <a:lnTo>
                    <a:pt x="39006" y="50098"/>
                  </a:lnTo>
                  <a:lnTo>
                    <a:pt x="24252" y="57480"/>
                  </a:lnTo>
                  <a:lnTo>
                    <a:pt x="24252" y="53789"/>
                  </a:lnTo>
                  <a:lnTo>
                    <a:pt x="20566" y="53789"/>
                  </a:lnTo>
                  <a:lnTo>
                    <a:pt x="20566" y="57480"/>
                  </a:lnTo>
                  <a:lnTo>
                    <a:pt x="16870" y="57480"/>
                  </a:lnTo>
                  <a:lnTo>
                    <a:pt x="16870" y="53789"/>
                  </a:lnTo>
                  <a:lnTo>
                    <a:pt x="13184" y="57480"/>
                  </a:lnTo>
                  <a:lnTo>
                    <a:pt x="16870" y="61170"/>
                  </a:lnTo>
                  <a:lnTo>
                    <a:pt x="20566" y="61170"/>
                  </a:lnTo>
                  <a:lnTo>
                    <a:pt x="24252" y="64861"/>
                  </a:lnTo>
                  <a:lnTo>
                    <a:pt x="27938" y="64861"/>
                  </a:lnTo>
                  <a:lnTo>
                    <a:pt x="31634" y="68551"/>
                  </a:lnTo>
                  <a:lnTo>
                    <a:pt x="35320" y="68551"/>
                  </a:lnTo>
                  <a:lnTo>
                    <a:pt x="35320" y="72242"/>
                  </a:lnTo>
                  <a:lnTo>
                    <a:pt x="31634" y="72242"/>
                  </a:lnTo>
                  <a:lnTo>
                    <a:pt x="27938" y="72242"/>
                  </a:lnTo>
                  <a:lnTo>
                    <a:pt x="24252" y="72242"/>
                  </a:lnTo>
                  <a:lnTo>
                    <a:pt x="24252" y="68551"/>
                  </a:lnTo>
                  <a:lnTo>
                    <a:pt x="16870" y="64861"/>
                  </a:lnTo>
                  <a:lnTo>
                    <a:pt x="16870" y="61170"/>
                  </a:lnTo>
                  <a:lnTo>
                    <a:pt x="9498" y="61170"/>
                  </a:lnTo>
                  <a:lnTo>
                    <a:pt x="5812" y="68551"/>
                  </a:lnTo>
                  <a:lnTo>
                    <a:pt x="9498" y="68551"/>
                  </a:lnTo>
                  <a:lnTo>
                    <a:pt x="13184" y="72242"/>
                  </a:lnTo>
                  <a:lnTo>
                    <a:pt x="16870" y="72242"/>
                  </a:lnTo>
                  <a:lnTo>
                    <a:pt x="16870" y="75933"/>
                  </a:lnTo>
                  <a:lnTo>
                    <a:pt x="13184" y="79623"/>
                  </a:lnTo>
                  <a:lnTo>
                    <a:pt x="9498" y="75933"/>
                  </a:lnTo>
                  <a:lnTo>
                    <a:pt x="9498" y="79623"/>
                  </a:lnTo>
                  <a:lnTo>
                    <a:pt x="13184" y="83314"/>
                  </a:lnTo>
                  <a:lnTo>
                    <a:pt x="16870" y="83314"/>
                  </a:lnTo>
                  <a:lnTo>
                    <a:pt x="20566" y="83314"/>
                  </a:lnTo>
                  <a:lnTo>
                    <a:pt x="24252" y="83314"/>
                  </a:lnTo>
                  <a:lnTo>
                    <a:pt x="27938" y="83314"/>
                  </a:lnTo>
                  <a:lnTo>
                    <a:pt x="31634" y="83314"/>
                  </a:lnTo>
                  <a:lnTo>
                    <a:pt x="31634" y="87005"/>
                  </a:lnTo>
                  <a:lnTo>
                    <a:pt x="24252" y="87005"/>
                  </a:lnTo>
                  <a:lnTo>
                    <a:pt x="20566" y="87005"/>
                  </a:lnTo>
                  <a:lnTo>
                    <a:pt x="20566" y="90695"/>
                  </a:lnTo>
                  <a:lnTo>
                    <a:pt x="24252" y="90695"/>
                  </a:lnTo>
                  <a:lnTo>
                    <a:pt x="27938" y="90695"/>
                  </a:lnTo>
                  <a:lnTo>
                    <a:pt x="31634" y="90695"/>
                  </a:lnTo>
                  <a:lnTo>
                    <a:pt x="35320" y="87005"/>
                  </a:lnTo>
                  <a:lnTo>
                    <a:pt x="35320" y="90695"/>
                  </a:lnTo>
                  <a:lnTo>
                    <a:pt x="35320" y="94385"/>
                  </a:lnTo>
                  <a:lnTo>
                    <a:pt x="31634" y="94385"/>
                  </a:lnTo>
                  <a:lnTo>
                    <a:pt x="35320" y="98075"/>
                  </a:lnTo>
                  <a:lnTo>
                    <a:pt x="39006" y="94385"/>
                  </a:lnTo>
                  <a:lnTo>
                    <a:pt x="42702" y="94385"/>
                  </a:lnTo>
                  <a:lnTo>
                    <a:pt x="42702" y="98075"/>
                  </a:lnTo>
                  <a:lnTo>
                    <a:pt x="39006" y="101766"/>
                  </a:lnTo>
                  <a:lnTo>
                    <a:pt x="31634" y="101766"/>
                  </a:lnTo>
                  <a:lnTo>
                    <a:pt x="31634" y="105457"/>
                  </a:lnTo>
                  <a:lnTo>
                    <a:pt x="35320" y="109147"/>
                  </a:lnTo>
                  <a:lnTo>
                    <a:pt x="39006" y="105457"/>
                  </a:lnTo>
                  <a:lnTo>
                    <a:pt x="42702" y="105457"/>
                  </a:lnTo>
                  <a:lnTo>
                    <a:pt x="46388" y="105457"/>
                  </a:lnTo>
                  <a:lnTo>
                    <a:pt x="50074" y="105457"/>
                  </a:lnTo>
                  <a:lnTo>
                    <a:pt x="53770" y="109147"/>
                  </a:lnTo>
                  <a:lnTo>
                    <a:pt x="57456" y="109147"/>
                  </a:lnTo>
                  <a:lnTo>
                    <a:pt x="57456" y="131291"/>
                  </a:lnTo>
                  <a:lnTo>
                    <a:pt x="57456" y="134981"/>
                  </a:lnTo>
                  <a:lnTo>
                    <a:pt x="61142" y="134981"/>
                  </a:lnTo>
                  <a:lnTo>
                    <a:pt x="61142" y="138672"/>
                  </a:lnTo>
                  <a:lnTo>
                    <a:pt x="57456" y="138672"/>
                  </a:lnTo>
                  <a:lnTo>
                    <a:pt x="53770" y="142363"/>
                  </a:lnTo>
                  <a:lnTo>
                    <a:pt x="53770" y="146053"/>
                  </a:lnTo>
                  <a:lnTo>
                    <a:pt x="50074" y="149744"/>
                  </a:lnTo>
                  <a:lnTo>
                    <a:pt x="46388" y="149744"/>
                  </a:lnTo>
                  <a:lnTo>
                    <a:pt x="42702" y="153435"/>
                  </a:lnTo>
                  <a:lnTo>
                    <a:pt x="42702" y="157125"/>
                  </a:lnTo>
                  <a:lnTo>
                    <a:pt x="42702" y="160816"/>
                  </a:lnTo>
                  <a:lnTo>
                    <a:pt x="42702" y="164506"/>
                  </a:lnTo>
                  <a:lnTo>
                    <a:pt x="46388" y="164506"/>
                  </a:lnTo>
                  <a:lnTo>
                    <a:pt x="42702" y="168197"/>
                  </a:lnTo>
                  <a:lnTo>
                    <a:pt x="39006" y="168197"/>
                  </a:lnTo>
                  <a:lnTo>
                    <a:pt x="39006" y="171888"/>
                  </a:lnTo>
                  <a:lnTo>
                    <a:pt x="35320" y="175578"/>
                  </a:lnTo>
                  <a:lnTo>
                    <a:pt x="35320" y="179268"/>
                  </a:lnTo>
                  <a:lnTo>
                    <a:pt x="35320" y="182958"/>
                  </a:lnTo>
                  <a:lnTo>
                    <a:pt x="31634" y="186649"/>
                  </a:lnTo>
                  <a:lnTo>
                    <a:pt x="27938" y="190340"/>
                  </a:lnTo>
                  <a:lnTo>
                    <a:pt x="24252" y="194030"/>
                  </a:lnTo>
                  <a:lnTo>
                    <a:pt x="24252" y="197721"/>
                  </a:lnTo>
                  <a:lnTo>
                    <a:pt x="27938" y="197721"/>
                  </a:lnTo>
                  <a:lnTo>
                    <a:pt x="31634" y="197721"/>
                  </a:lnTo>
                  <a:lnTo>
                    <a:pt x="31634" y="205102"/>
                  </a:lnTo>
                  <a:lnTo>
                    <a:pt x="31634" y="208793"/>
                  </a:lnTo>
                  <a:lnTo>
                    <a:pt x="31634" y="212483"/>
                  </a:lnTo>
                  <a:lnTo>
                    <a:pt x="27938" y="219865"/>
                  </a:lnTo>
                  <a:lnTo>
                    <a:pt x="24252" y="223555"/>
                  </a:lnTo>
                  <a:lnTo>
                    <a:pt x="20566" y="223555"/>
                  </a:lnTo>
                  <a:lnTo>
                    <a:pt x="16870" y="227246"/>
                  </a:lnTo>
                  <a:lnTo>
                    <a:pt x="16870" y="230936"/>
                  </a:lnTo>
                  <a:lnTo>
                    <a:pt x="13184" y="238318"/>
                  </a:lnTo>
                  <a:lnTo>
                    <a:pt x="9498" y="242008"/>
                  </a:lnTo>
                  <a:lnTo>
                    <a:pt x="9498" y="249389"/>
                  </a:lnTo>
                  <a:lnTo>
                    <a:pt x="9498" y="256771"/>
                  </a:lnTo>
                  <a:lnTo>
                    <a:pt x="9498" y="260461"/>
                  </a:lnTo>
                  <a:lnTo>
                    <a:pt x="9498" y="275223"/>
                  </a:lnTo>
                  <a:lnTo>
                    <a:pt x="13184" y="278913"/>
                  </a:lnTo>
                  <a:lnTo>
                    <a:pt x="16870" y="282604"/>
                  </a:lnTo>
                  <a:lnTo>
                    <a:pt x="20566" y="289985"/>
                  </a:lnTo>
                  <a:lnTo>
                    <a:pt x="24252" y="289985"/>
                  </a:lnTo>
                  <a:lnTo>
                    <a:pt x="31634" y="289985"/>
                  </a:lnTo>
                  <a:lnTo>
                    <a:pt x="39006" y="289985"/>
                  </a:lnTo>
                  <a:lnTo>
                    <a:pt x="46388" y="289985"/>
                  </a:lnTo>
                  <a:lnTo>
                    <a:pt x="50074" y="289985"/>
                  </a:lnTo>
                  <a:lnTo>
                    <a:pt x="53770" y="293676"/>
                  </a:lnTo>
                  <a:lnTo>
                    <a:pt x="61142" y="297366"/>
                  </a:lnTo>
                  <a:lnTo>
                    <a:pt x="64838" y="301057"/>
                  </a:lnTo>
                  <a:lnTo>
                    <a:pt x="64838" y="304748"/>
                  </a:lnTo>
                  <a:lnTo>
                    <a:pt x="75906" y="308438"/>
                  </a:lnTo>
                  <a:lnTo>
                    <a:pt x="86974" y="312129"/>
                  </a:lnTo>
                  <a:lnTo>
                    <a:pt x="90660" y="312129"/>
                  </a:lnTo>
                  <a:lnTo>
                    <a:pt x="94346" y="297366"/>
                  </a:lnTo>
                  <a:lnTo>
                    <a:pt x="98033" y="297366"/>
                  </a:lnTo>
                  <a:lnTo>
                    <a:pt x="98033" y="286295"/>
                  </a:lnTo>
                  <a:lnTo>
                    <a:pt x="98033" y="282604"/>
                  </a:lnTo>
                  <a:lnTo>
                    <a:pt x="105414" y="264151"/>
                  </a:lnTo>
                  <a:lnTo>
                    <a:pt x="105414" y="260461"/>
                  </a:lnTo>
                  <a:lnTo>
                    <a:pt x="109101" y="256771"/>
                  </a:lnTo>
                  <a:lnTo>
                    <a:pt x="112796" y="249389"/>
                  </a:lnTo>
                  <a:lnTo>
                    <a:pt x="116483" y="245699"/>
                  </a:lnTo>
                  <a:lnTo>
                    <a:pt x="116483" y="242008"/>
                  </a:lnTo>
                  <a:lnTo>
                    <a:pt x="120169" y="238318"/>
                  </a:lnTo>
                  <a:lnTo>
                    <a:pt x="127551" y="234627"/>
                  </a:lnTo>
                  <a:lnTo>
                    <a:pt x="134932" y="230936"/>
                  </a:lnTo>
                  <a:lnTo>
                    <a:pt x="134932" y="227246"/>
                  </a:lnTo>
                  <a:lnTo>
                    <a:pt x="138619" y="223555"/>
                  </a:lnTo>
                  <a:lnTo>
                    <a:pt x="146001" y="219865"/>
                  </a:lnTo>
                  <a:lnTo>
                    <a:pt x="153373" y="219865"/>
                  </a:lnTo>
                  <a:lnTo>
                    <a:pt x="157069" y="219865"/>
                  </a:lnTo>
                  <a:lnTo>
                    <a:pt x="160755" y="223555"/>
                  </a:lnTo>
                  <a:lnTo>
                    <a:pt x="164441" y="219865"/>
                  </a:lnTo>
                  <a:lnTo>
                    <a:pt x="168127" y="223555"/>
                  </a:lnTo>
                  <a:lnTo>
                    <a:pt x="175509" y="223555"/>
                  </a:lnTo>
                  <a:lnTo>
                    <a:pt x="179195" y="234627"/>
                  </a:lnTo>
                  <a:lnTo>
                    <a:pt x="182891" y="238318"/>
                  </a:lnTo>
                  <a:lnTo>
                    <a:pt x="186577" y="234627"/>
                  </a:lnTo>
                  <a:lnTo>
                    <a:pt x="190263" y="245699"/>
                  </a:lnTo>
                  <a:lnTo>
                    <a:pt x="190263" y="249389"/>
                  </a:lnTo>
                  <a:lnTo>
                    <a:pt x="193959" y="253080"/>
                  </a:lnTo>
                  <a:lnTo>
                    <a:pt x="201331" y="249389"/>
                  </a:lnTo>
                  <a:lnTo>
                    <a:pt x="201331" y="253080"/>
                  </a:lnTo>
                  <a:lnTo>
                    <a:pt x="201331" y="256771"/>
                  </a:lnTo>
                  <a:lnTo>
                    <a:pt x="205027" y="260461"/>
                  </a:lnTo>
                  <a:lnTo>
                    <a:pt x="205027" y="264151"/>
                  </a:lnTo>
                  <a:lnTo>
                    <a:pt x="212399" y="264151"/>
                  </a:lnTo>
                  <a:lnTo>
                    <a:pt x="212399" y="267842"/>
                  </a:lnTo>
                  <a:lnTo>
                    <a:pt x="216095" y="271532"/>
                  </a:lnTo>
                  <a:lnTo>
                    <a:pt x="219781" y="275223"/>
                  </a:lnTo>
                  <a:lnTo>
                    <a:pt x="223467" y="278913"/>
                  </a:lnTo>
                  <a:lnTo>
                    <a:pt x="223467" y="282604"/>
                  </a:lnTo>
                  <a:lnTo>
                    <a:pt x="227163" y="282604"/>
                  </a:lnTo>
                  <a:lnTo>
                    <a:pt x="223467" y="286295"/>
                  </a:lnTo>
                  <a:lnTo>
                    <a:pt x="227163" y="289985"/>
                  </a:lnTo>
                  <a:lnTo>
                    <a:pt x="227163" y="293676"/>
                  </a:lnTo>
                  <a:lnTo>
                    <a:pt x="245603" y="286295"/>
                  </a:lnTo>
                  <a:lnTo>
                    <a:pt x="249290" y="286295"/>
                  </a:lnTo>
                  <a:lnTo>
                    <a:pt x="256672" y="282604"/>
                  </a:lnTo>
                  <a:lnTo>
                    <a:pt x="267740" y="282604"/>
                  </a:lnTo>
                  <a:lnTo>
                    <a:pt x="271426" y="282604"/>
                  </a:lnTo>
                  <a:lnTo>
                    <a:pt x="275121" y="282604"/>
                  </a:lnTo>
                  <a:lnTo>
                    <a:pt x="278808" y="286295"/>
                  </a:lnTo>
                  <a:lnTo>
                    <a:pt x="282494" y="286295"/>
                  </a:lnTo>
                  <a:lnTo>
                    <a:pt x="282494" y="289985"/>
                  </a:lnTo>
                  <a:lnTo>
                    <a:pt x="297258" y="301057"/>
                  </a:lnTo>
                  <a:lnTo>
                    <a:pt x="300944" y="308438"/>
                  </a:lnTo>
                  <a:lnTo>
                    <a:pt x="315698" y="319510"/>
                  </a:lnTo>
                  <a:lnTo>
                    <a:pt x="315698" y="323201"/>
                  </a:lnTo>
                  <a:lnTo>
                    <a:pt x="326766" y="334273"/>
                  </a:lnTo>
                  <a:lnTo>
                    <a:pt x="337834" y="345344"/>
                  </a:lnTo>
                  <a:lnTo>
                    <a:pt x="356284" y="363796"/>
                  </a:lnTo>
                  <a:lnTo>
                    <a:pt x="359970" y="367487"/>
                  </a:lnTo>
                  <a:lnTo>
                    <a:pt x="367352" y="374868"/>
                  </a:lnTo>
                  <a:lnTo>
                    <a:pt x="374724" y="382249"/>
                  </a:lnTo>
                  <a:lnTo>
                    <a:pt x="378410" y="385940"/>
                  </a:lnTo>
                  <a:lnTo>
                    <a:pt x="378410" y="389631"/>
                  </a:lnTo>
                  <a:lnTo>
                    <a:pt x="382106" y="393321"/>
                  </a:lnTo>
                  <a:lnTo>
                    <a:pt x="385792" y="397012"/>
                  </a:lnTo>
                  <a:lnTo>
                    <a:pt x="389479" y="404393"/>
                  </a:lnTo>
                  <a:lnTo>
                    <a:pt x="393174" y="411774"/>
                  </a:lnTo>
                  <a:lnTo>
                    <a:pt x="396861" y="411774"/>
                  </a:lnTo>
                  <a:lnTo>
                    <a:pt x="396861" y="415465"/>
                  </a:lnTo>
                  <a:lnTo>
                    <a:pt x="400547" y="415465"/>
                  </a:lnTo>
                  <a:lnTo>
                    <a:pt x="407928" y="426537"/>
                  </a:lnTo>
                  <a:lnTo>
                    <a:pt x="411615" y="433917"/>
                  </a:lnTo>
                  <a:lnTo>
                    <a:pt x="415310" y="437608"/>
                  </a:lnTo>
                  <a:lnTo>
                    <a:pt x="418997" y="441298"/>
                  </a:lnTo>
                  <a:lnTo>
                    <a:pt x="426378" y="441298"/>
                  </a:lnTo>
                  <a:lnTo>
                    <a:pt x="426378" y="448680"/>
                  </a:lnTo>
                  <a:lnTo>
                    <a:pt x="422683" y="452370"/>
                  </a:lnTo>
                  <a:lnTo>
                    <a:pt x="415310" y="474514"/>
                  </a:lnTo>
                  <a:lnTo>
                    <a:pt x="415310" y="478204"/>
                  </a:lnTo>
                  <a:lnTo>
                    <a:pt x="426378" y="478204"/>
                  </a:lnTo>
                  <a:lnTo>
                    <a:pt x="426378" y="481895"/>
                  </a:lnTo>
                  <a:lnTo>
                    <a:pt x="430065" y="481895"/>
                  </a:lnTo>
                  <a:lnTo>
                    <a:pt x="437447" y="492967"/>
                  </a:lnTo>
                  <a:lnTo>
                    <a:pt x="441133" y="496657"/>
                  </a:lnTo>
                  <a:lnTo>
                    <a:pt x="444819" y="492967"/>
                  </a:lnTo>
                  <a:lnTo>
                    <a:pt x="444819" y="496657"/>
                  </a:lnTo>
                  <a:lnTo>
                    <a:pt x="441133" y="496657"/>
                  </a:lnTo>
                  <a:lnTo>
                    <a:pt x="441133" y="504039"/>
                  </a:lnTo>
                  <a:lnTo>
                    <a:pt x="452201" y="504039"/>
                  </a:lnTo>
                  <a:lnTo>
                    <a:pt x="448505" y="496657"/>
                  </a:lnTo>
                  <a:lnTo>
                    <a:pt x="448505" y="492967"/>
                  </a:lnTo>
                  <a:lnTo>
                    <a:pt x="455887" y="481895"/>
                  </a:lnTo>
                  <a:lnTo>
                    <a:pt x="478023" y="444989"/>
                  </a:lnTo>
                  <a:lnTo>
                    <a:pt x="492777" y="419156"/>
                  </a:lnTo>
                  <a:lnTo>
                    <a:pt x="500159" y="389631"/>
                  </a:lnTo>
                  <a:lnTo>
                    <a:pt x="503845" y="371178"/>
                  </a:lnTo>
                  <a:lnTo>
                    <a:pt x="507541" y="367487"/>
                  </a:lnTo>
                  <a:lnTo>
                    <a:pt x="507541" y="363796"/>
                  </a:lnTo>
                  <a:lnTo>
                    <a:pt x="500159" y="330582"/>
                  </a:lnTo>
                  <a:lnTo>
                    <a:pt x="500159" y="312129"/>
                  </a:lnTo>
                  <a:lnTo>
                    <a:pt x="500159" y="308438"/>
                  </a:lnTo>
                  <a:lnTo>
                    <a:pt x="500159" y="282604"/>
                  </a:lnTo>
                  <a:lnTo>
                    <a:pt x="489091" y="275223"/>
                  </a:lnTo>
                  <a:lnTo>
                    <a:pt x="489091" y="267842"/>
                  </a:lnTo>
                  <a:lnTo>
                    <a:pt x="489091" y="264151"/>
                  </a:lnTo>
                  <a:lnTo>
                    <a:pt x="489091" y="260461"/>
                  </a:lnTo>
                  <a:lnTo>
                    <a:pt x="492777" y="256771"/>
                  </a:lnTo>
                  <a:lnTo>
                    <a:pt x="492777" y="249389"/>
                  </a:lnTo>
                  <a:lnTo>
                    <a:pt x="492777" y="245699"/>
                  </a:lnTo>
                  <a:lnTo>
                    <a:pt x="496473" y="234627"/>
                  </a:lnTo>
                  <a:lnTo>
                    <a:pt x="500159" y="234627"/>
                  </a:lnTo>
                  <a:lnTo>
                    <a:pt x="503845" y="230936"/>
                  </a:lnTo>
                  <a:lnTo>
                    <a:pt x="511227" y="230936"/>
                  </a:lnTo>
                  <a:lnTo>
                    <a:pt x="503845" y="227246"/>
                  </a:lnTo>
                  <a:lnTo>
                    <a:pt x="500159" y="223555"/>
                  </a:lnTo>
                  <a:lnTo>
                    <a:pt x="503845" y="219865"/>
                  </a:lnTo>
                  <a:lnTo>
                    <a:pt x="503845" y="216174"/>
                  </a:lnTo>
                  <a:lnTo>
                    <a:pt x="503845" y="201412"/>
                  </a:lnTo>
                  <a:lnTo>
                    <a:pt x="500159" y="190340"/>
                  </a:lnTo>
                  <a:lnTo>
                    <a:pt x="500159" y="186649"/>
                  </a:lnTo>
                  <a:lnTo>
                    <a:pt x="496473" y="186649"/>
                  </a:lnTo>
                  <a:lnTo>
                    <a:pt x="485405" y="182958"/>
                  </a:lnTo>
                  <a:lnTo>
                    <a:pt x="481709" y="182958"/>
                  </a:lnTo>
                  <a:lnTo>
                    <a:pt x="481709" y="179268"/>
                  </a:lnTo>
                  <a:lnTo>
                    <a:pt x="478023" y="179268"/>
                  </a:lnTo>
                  <a:lnTo>
                    <a:pt x="474337" y="179268"/>
                  </a:lnTo>
                  <a:lnTo>
                    <a:pt x="470641" y="179268"/>
                  </a:lnTo>
                  <a:lnTo>
                    <a:pt x="466955" y="179268"/>
                  </a:lnTo>
                  <a:lnTo>
                    <a:pt x="466955" y="175578"/>
                  </a:lnTo>
                  <a:lnTo>
                    <a:pt x="463269" y="175578"/>
                  </a:lnTo>
                  <a:lnTo>
                    <a:pt x="459573" y="175578"/>
                  </a:lnTo>
                  <a:lnTo>
                    <a:pt x="452201" y="175578"/>
                  </a:lnTo>
                  <a:lnTo>
                    <a:pt x="448505" y="171888"/>
                  </a:lnTo>
                  <a:lnTo>
                    <a:pt x="444819" y="171888"/>
                  </a:lnTo>
                  <a:lnTo>
                    <a:pt x="441133" y="168197"/>
                  </a:lnTo>
                  <a:lnTo>
                    <a:pt x="437447" y="164506"/>
                  </a:lnTo>
                  <a:lnTo>
                    <a:pt x="437447" y="160816"/>
                  </a:lnTo>
                  <a:lnTo>
                    <a:pt x="437447" y="153435"/>
                  </a:lnTo>
                  <a:lnTo>
                    <a:pt x="441133" y="149744"/>
                  </a:lnTo>
                  <a:lnTo>
                    <a:pt x="437447" y="142363"/>
                  </a:lnTo>
                  <a:lnTo>
                    <a:pt x="437447" y="138672"/>
                  </a:lnTo>
                  <a:lnTo>
                    <a:pt x="441133" y="138672"/>
                  </a:lnTo>
                  <a:lnTo>
                    <a:pt x="444819" y="131291"/>
                  </a:lnTo>
                  <a:lnTo>
                    <a:pt x="444819" y="127600"/>
                  </a:lnTo>
                  <a:lnTo>
                    <a:pt x="437447" y="131291"/>
                  </a:lnTo>
                  <a:lnTo>
                    <a:pt x="433751" y="134981"/>
                  </a:lnTo>
                  <a:lnTo>
                    <a:pt x="422683" y="134981"/>
                  </a:lnTo>
                  <a:lnTo>
                    <a:pt x="418997" y="134981"/>
                  </a:lnTo>
                  <a:lnTo>
                    <a:pt x="415310" y="134981"/>
                  </a:lnTo>
                  <a:lnTo>
                    <a:pt x="411615" y="134981"/>
                  </a:lnTo>
                  <a:lnTo>
                    <a:pt x="404242" y="131291"/>
                  </a:lnTo>
                  <a:lnTo>
                    <a:pt x="404242" y="127600"/>
                  </a:lnTo>
                  <a:lnTo>
                    <a:pt x="400547" y="127600"/>
                  </a:lnTo>
                  <a:lnTo>
                    <a:pt x="396861" y="127600"/>
                  </a:lnTo>
                  <a:lnTo>
                    <a:pt x="389479" y="123910"/>
                  </a:lnTo>
                  <a:lnTo>
                    <a:pt x="382106" y="120219"/>
                  </a:lnTo>
                  <a:lnTo>
                    <a:pt x="382106" y="123910"/>
                  </a:lnTo>
                  <a:lnTo>
                    <a:pt x="374724" y="120219"/>
                  </a:lnTo>
                  <a:lnTo>
                    <a:pt x="367352" y="116528"/>
                  </a:lnTo>
                  <a:lnTo>
                    <a:pt x="363656" y="116528"/>
                  </a:lnTo>
                  <a:lnTo>
                    <a:pt x="363656" y="112838"/>
                  </a:lnTo>
                  <a:lnTo>
                    <a:pt x="367352" y="112838"/>
                  </a:lnTo>
                  <a:lnTo>
                    <a:pt x="363656" y="109147"/>
                  </a:lnTo>
                  <a:lnTo>
                    <a:pt x="356284" y="101766"/>
                  </a:lnTo>
                  <a:lnTo>
                    <a:pt x="352588" y="101766"/>
                  </a:lnTo>
                  <a:lnTo>
                    <a:pt x="348902" y="98075"/>
                  </a:lnTo>
                  <a:lnTo>
                    <a:pt x="348902" y="94385"/>
                  </a:lnTo>
                  <a:lnTo>
                    <a:pt x="348902" y="87005"/>
                  </a:lnTo>
                  <a:lnTo>
                    <a:pt x="348902" y="79623"/>
                  </a:lnTo>
                  <a:lnTo>
                    <a:pt x="345216" y="75933"/>
                  </a:lnTo>
                  <a:lnTo>
                    <a:pt x="345216" y="72242"/>
                  </a:lnTo>
                  <a:lnTo>
                    <a:pt x="345216" y="68551"/>
                  </a:lnTo>
                  <a:lnTo>
                    <a:pt x="345216" y="61170"/>
                  </a:lnTo>
                  <a:lnTo>
                    <a:pt x="341520" y="53789"/>
                  </a:lnTo>
                  <a:lnTo>
                    <a:pt x="337834" y="53789"/>
                  </a:lnTo>
                  <a:lnTo>
                    <a:pt x="337834" y="42717"/>
                  </a:lnTo>
                  <a:lnTo>
                    <a:pt x="341520" y="31645"/>
                  </a:lnTo>
                  <a:lnTo>
                    <a:pt x="341520" y="27955"/>
                  </a:lnTo>
                  <a:lnTo>
                    <a:pt x="330452" y="16883"/>
                  </a:lnTo>
                  <a:lnTo>
                    <a:pt x="323080" y="13193"/>
                  </a:lnTo>
                  <a:lnTo>
                    <a:pt x="319384" y="20574"/>
                  </a:lnTo>
                  <a:lnTo>
                    <a:pt x="323080" y="24264"/>
                  </a:lnTo>
                  <a:lnTo>
                    <a:pt x="319384" y="24264"/>
                  </a:lnTo>
                  <a:lnTo>
                    <a:pt x="315698" y="24264"/>
                  </a:lnTo>
                  <a:lnTo>
                    <a:pt x="312012" y="24264"/>
                  </a:lnTo>
                  <a:lnTo>
                    <a:pt x="312012" y="20574"/>
                  </a:lnTo>
                  <a:lnTo>
                    <a:pt x="315698" y="24264"/>
                  </a:lnTo>
                  <a:lnTo>
                    <a:pt x="315698" y="20574"/>
                  </a:lnTo>
                  <a:lnTo>
                    <a:pt x="319384" y="13193"/>
                  </a:lnTo>
                  <a:lnTo>
                    <a:pt x="315698" y="13193"/>
                  </a:lnTo>
                  <a:lnTo>
                    <a:pt x="308316" y="9502"/>
                  </a:lnTo>
                  <a:lnTo>
                    <a:pt x="300944" y="16883"/>
                  </a:lnTo>
                  <a:lnTo>
                    <a:pt x="297258" y="13193"/>
                  </a:lnTo>
                  <a:lnTo>
                    <a:pt x="289876" y="9502"/>
                  </a:lnTo>
                  <a:lnTo>
                    <a:pt x="278808" y="9502"/>
                  </a:lnTo>
                  <a:lnTo>
                    <a:pt x="275121" y="5812"/>
                  </a:lnTo>
                  <a:close/>
                  <a:moveTo>
                    <a:pt x="367352" y="112838"/>
                  </a:moveTo>
                  <a:lnTo>
                    <a:pt x="371038" y="116528"/>
                  </a:lnTo>
                  <a:lnTo>
                    <a:pt x="371038" y="112838"/>
                  </a:lnTo>
                  <a:lnTo>
                    <a:pt x="367352" y="112838"/>
                  </a:lnTo>
                  <a:close/>
                  <a:moveTo>
                    <a:pt x="500159" y="186649"/>
                  </a:moveTo>
                  <a:lnTo>
                    <a:pt x="500159" y="179268"/>
                  </a:lnTo>
                  <a:lnTo>
                    <a:pt x="496473" y="182958"/>
                  </a:lnTo>
                  <a:lnTo>
                    <a:pt x="500159" y="186649"/>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grpSp>
          <p:nvGrpSpPr>
            <p:cNvPr id="40" name="Group 39">
              <a:extLst>
                <a:ext uri="{FF2B5EF4-FFF2-40B4-BE49-F238E27FC236}">
                  <a16:creationId xmlns:a16="http://schemas.microsoft.com/office/drawing/2014/main" id="{E5C8872C-23B1-4C8F-9E07-C3BBE16F3869}"/>
                </a:ext>
              </a:extLst>
            </p:cNvPr>
            <p:cNvGrpSpPr/>
            <p:nvPr/>
          </p:nvGrpSpPr>
          <p:grpSpPr>
            <a:xfrm>
              <a:off x="5261483" y="1196975"/>
              <a:ext cx="1877167" cy="1362209"/>
              <a:chOff x="2763225" y="1070068"/>
              <a:chExt cx="1910612" cy="1386478"/>
            </a:xfrm>
            <a:solidFill>
              <a:srgbClr val="DFE3E5"/>
            </a:solidFill>
          </p:grpSpPr>
          <p:sp>
            <p:nvSpPr>
              <p:cNvPr id="69" name="Freeform: Shape 68">
                <a:extLst>
                  <a:ext uri="{FF2B5EF4-FFF2-40B4-BE49-F238E27FC236}">
                    <a16:creationId xmlns:a16="http://schemas.microsoft.com/office/drawing/2014/main" id="{B95DC8AD-5507-4C35-B001-872CB7B43B6F}"/>
                  </a:ext>
                </a:extLst>
              </p:cNvPr>
              <p:cNvSpPr/>
              <p:nvPr/>
            </p:nvSpPr>
            <p:spPr>
              <a:xfrm>
                <a:off x="3283354" y="1330229"/>
                <a:ext cx="1212958" cy="1126317"/>
              </a:xfrm>
              <a:custGeom>
                <a:avLst/>
                <a:gdLst>
                  <a:gd name="connsiteX0" fmla="*/ 407938 w 533400"/>
                  <a:gd name="connsiteY0" fmla="*/ 5812 h 495300"/>
                  <a:gd name="connsiteX1" fmla="*/ 389488 w 533400"/>
                  <a:gd name="connsiteY1" fmla="*/ 13192 h 495300"/>
                  <a:gd name="connsiteX2" fmla="*/ 385802 w 533400"/>
                  <a:gd name="connsiteY2" fmla="*/ 13192 h 495300"/>
                  <a:gd name="connsiteX3" fmla="*/ 378420 w 533400"/>
                  <a:gd name="connsiteY3" fmla="*/ 9502 h 495300"/>
                  <a:gd name="connsiteX4" fmla="*/ 367352 w 533400"/>
                  <a:gd name="connsiteY4" fmla="*/ 9502 h 495300"/>
                  <a:gd name="connsiteX5" fmla="*/ 367352 w 533400"/>
                  <a:gd name="connsiteY5" fmla="*/ 13192 h 495300"/>
                  <a:gd name="connsiteX6" fmla="*/ 363666 w 533400"/>
                  <a:gd name="connsiteY6" fmla="*/ 13192 h 495300"/>
                  <a:gd name="connsiteX7" fmla="*/ 359970 w 533400"/>
                  <a:gd name="connsiteY7" fmla="*/ 13192 h 495300"/>
                  <a:gd name="connsiteX8" fmla="*/ 356284 w 533400"/>
                  <a:gd name="connsiteY8" fmla="*/ 9502 h 495300"/>
                  <a:gd name="connsiteX9" fmla="*/ 341530 w 533400"/>
                  <a:gd name="connsiteY9" fmla="*/ 13192 h 495300"/>
                  <a:gd name="connsiteX10" fmla="*/ 334148 w 533400"/>
                  <a:gd name="connsiteY10" fmla="*/ 13192 h 495300"/>
                  <a:gd name="connsiteX11" fmla="*/ 330462 w 533400"/>
                  <a:gd name="connsiteY11" fmla="*/ 13192 h 495300"/>
                  <a:gd name="connsiteX12" fmla="*/ 326775 w 533400"/>
                  <a:gd name="connsiteY12" fmla="*/ 16883 h 495300"/>
                  <a:gd name="connsiteX13" fmla="*/ 312012 w 533400"/>
                  <a:gd name="connsiteY13" fmla="*/ 20573 h 495300"/>
                  <a:gd name="connsiteX14" fmla="*/ 308326 w 533400"/>
                  <a:gd name="connsiteY14" fmla="*/ 20573 h 495300"/>
                  <a:gd name="connsiteX15" fmla="*/ 304639 w 533400"/>
                  <a:gd name="connsiteY15" fmla="*/ 20573 h 495300"/>
                  <a:gd name="connsiteX16" fmla="*/ 289876 w 533400"/>
                  <a:gd name="connsiteY16" fmla="*/ 27955 h 495300"/>
                  <a:gd name="connsiteX17" fmla="*/ 282503 w 533400"/>
                  <a:gd name="connsiteY17" fmla="*/ 27955 h 495300"/>
                  <a:gd name="connsiteX18" fmla="*/ 278808 w 533400"/>
                  <a:gd name="connsiteY18" fmla="*/ 27955 h 495300"/>
                  <a:gd name="connsiteX19" fmla="*/ 275121 w 533400"/>
                  <a:gd name="connsiteY19" fmla="*/ 27955 h 495300"/>
                  <a:gd name="connsiteX20" fmla="*/ 271435 w 533400"/>
                  <a:gd name="connsiteY20" fmla="*/ 27955 h 495300"/>
                  <a:gd name="connsiteX21" fmla="*/ 271435 w 533400"/>
                  <a:gd name="connsiteY21" fmla="*/ 24264 h 495300"/>
                  <a:gd name="connsiteX22" fmla="*/ 267749 w 533400"/>
                  <a:gd name="connsiteY22" fmla="*/ 20573 h 495300"/>
                  <a:gd name="connsiteX23" fmla="*/ 267749 w 533400"/>
                  <a:gd name="connsiteY23" fmla="*/ 27955 h 495300"/>
                  <a:gd name="connsiteX24" fmla="*/ 260367 w 533400"/>
                  <a:gd name="connsiteY24" fmla="*/ 31645 h 495300"/>
                  <a:gd name="connsiteX25" fmla="*/ 252985 w 533400"/>
                  <a:gd name="connsiteY25" fmla="*/ 35336 h 495300"/>
                  <a:gd name="connsiteX26" fmla="*/ 249299 w 533400"/>
                  <a:gd name="connsiteY26" fmla="*/ 39027 h 495300"/>
                  <a:gd name="connsiteX27" fmla="*/ 241917 w 533400"/>
                  <a:gd name="connsiteY27" fmla="*/ 42717 h 495300"/>
                  <a:gd name="connsiteX28" fmla="*/ 238231 w 533400"/>
                  <a:gd name="connsiteY28" fmla="*/ 46408 h 495300"/>
                  <a:gd name="connsiteX29" fmla="*/ 230849 w 533400"/>
                  <a:gd name="connsiteY29" fmla="*/ 50098 h 495300"/>
                  <a:gd name="connsiteX30" fmla="*/ 223477 w 533400"/>
                  <a:gd name="connsiteY30" fmla="*/ 50098 h 495300"/>
                  <a:gd name="connsiteX31" fmla="*/ 212409 w 533400"/>
                  <a:gd name="connsiteY31" fmla="*/ 57480 h 495300"/>
                  <a:gd name="connsiteX32" fmla="*/ 197655 w 533400"/>
                  <a:gd name="connsiteY32" fmla="*/ 64861 h 495300"/>
                  <a:gd name="connsiteX33" fmla="*/ 190273 w 533400"/>
                  <a:gd name="connsiteY33" fmla="*/ 68551 h 495300"/>
                  <a:gd name="connsiteX34" fmla="*/ 171823 w 533400"/>
                  <a:gd name="connsiteY34" fmla="*/ 79623 h 495300"/>
                  <a:gd name="connsiteX35" fmla="*/ 160755 w 533400"/>
                  <a:gd name="connsiteY35" fmla="*/ 79623 h 495300"/>
                  <a:gd name="connsiteX36" fmla="*/ 157069 w 533400"/>
                  <a:gd name="connsiteY36" fmla="*/ 83314 h 495300"/>
                  <a:gd name="connsiteX37" fmla="*/ 149687 w 533400"/>
                  <a:gd name="connsiteY37" fmla="*/ 87004 h 495300"/>
                  <a:gd name="connsiteX38" fmla="*/ 146000 w 533400"/>
                  <a:gd name="connsiteY38" fmla="*/ 87004 h 495300"/>
                  <a:gd name="connsiteX39" fmla="*/ 142314 w 533400"/>
                  <a:gd name="connsiteY39" fmla="*/ 90695 h 495300"/>
                  <a:gd name="connsiteX40" fmla="*/ 134932 w 533400"/>
                  <a:gd name="connsiteY40" fmla="*/ 94385 h 495300"/>
                  <a:gd name="connsiteX41" fmla="*/ 127560 w 533400"/>
                  <a:gd name="connsiteY41" fmla="*/ 98075 h 495300"/>
                  <a:gd name="connsiteX42" fmla="*/ 123864 w 533400"/>
                  <a:gd name="connsiteY42" fmla="*/ 101766 h 495300"/>
                  <a:gd name="connsiteX43" fmla="*/ 116492 w 533400"/>
                  <a:gd name="connsiteY43" fmla="*/ 109147 h 495300"/>
                  <a:gd name="connsiteX44" fmla="*/ 112796 w 533400"/>
                  <a:gd name="connsiteY44" fmla="*/ 116528 h 495300"/>
                  <a:gd name="connsiteX45" fmla="*/ 109110 w 533400"/>
                  <a:gd name="connsiteY45" fmla="*/ 120219 h 495300"/>
                  <a:gd name="connsiteX46" fmla="*/ 109110 w 533400"/>
                  <a:gd name="connsiteY46" fmla="*/ 123910 h 495300"/>
                  <a:gd name="connsiteX47" fmla="*/ 105424 w 533400"/>
                  <a:gd name="connsiteY47" fmla="*/ 123910 h 495300"/>
                  <a:gd name="connsiteX48" fmla="*/ 105424 w 533400"/>
                  <a:gd name="connsiteY48" fmla="*/ 127600 h 495300"/>
                  <a:gd name="connsiteX49" fmla="*/ 98042 w 533400"/>
                  <a:gd name="connsiteY49" fmla="*/ 131291 h 495300"/>
                  <a:gd name="connsiteX50" fmla="*/ 94356 w 533400"/>
                  <a:gd name="connsiteY50" fmla="*/ 134981 h 495300"/>
                  <a:gd name="connsiteX51" fmla="*/ 90660 w 533400"/>
                  <a:gd name="connsiteY51" fmla="*/ 134981 h 495300"/>
                  <a:gd name="connsiteX52" fmla="*/ 83288 w 533400"/>
                  <a:gd name="connsiteY52" fmla="*/ 142363 h 495300"/>
                  <a:gd name="connsiteX53" fmla="*/ 79592 w 533400"/>
                  <a:gd name="connsiteY53" fmla="*/ 146053 h 495300"/>
                  <a:gd name="connsiteX54" fmla="*/ 75906 w 533400"/>
                  <a:gd name="connsiteY54" fmla="*/ 146053 h 495300"/>
                  <a:gd name="connsiteX55" fmla="*/ 72220 w 533400"/>
                  <a:gd name="connsiteY55" fmla="*/ 149744 h 495300"/>
                  <a:gd name="connsiteX56" fmla="*/ 68524 w 533400"/>
                  <a:gd name="connsiteY56" fmla="*/ 157125 h 495300"/>
                  <a:gd name="connsiteX57" fmla="*/ 64838 w 533400"/>
                  <a:gd name="connsiteY57" fmla="*/ 157125 h 495300"/>
                  <a:gd name="connsiteX58" fmla="*/ 61152 w 533400"/>
                  <a:gd name="connsiteY58" fmla="*/ 160816 h 495300"/>
                  <a:gd name="connsiteX59" fmla="*/ 57466 w 533400"/>
                  <a:gd name="connsiteY59" fmla="*/ 168197 h 495300"/>
                  <a:gd name="connsiteX60" fmla="*/ 53770 w 533400"/>
                  <a:gd name="connsiteY60" fmla="*/ 179268 h 495300"/>
                  <a:gd name="connsiteX61" fmla="*/ 50084 w 533400"/>
                  <a:gd name="connsiteY61" fmla="*/ 182958 h 495300"/>
                  <a:gd name="connsiteX62" fmla="*/ 50084 w 533400"/>
                  <a:gd name="connsiteY62" fmla="*/ 186649 h 495300"/>
                  <a:gd name="connsiteX63" fmla="*/ 53770 w 533400"/>
                  <a:gd name="connsiteY63" fmla="*/ 186649 h 495300"/>
                  <a:gd name="connsiteX64" fmla="*/ 50084 w 533400"/>
                  <a:gd name="connsiteY64" fmla="*/ 190340 h 495300"/>
                  <a:gd name="connsiteX65" fmla="*/ 46398 w 533400"/>
                  <a:gd name="connsiteY65" fmla="*/ 194030 h 495300"/>
                  <a:gd name="connsiteX66" fmla="*/ 42702 w 533400"/>
                  <a:gd name="connsiteY66" fmla="*/ 197721 h 495300"/>
                  <a:gd name="connsiteX67" fmla="*/ 42702 w 533400"/>
                  <a:gd name="connsiteY67" fmla="*/ 201411 h 495300"/>
                  <a:gd name="connsiteX68" fmla="*/ 46398 w 533400"/>
                  <a:gd name="connsiteY68" fmla="*/ 201411 h 495300"/>
                  <a:gd name="connsiteX69" fmla="*/ 46398 w 533400"/>
                  <a:gd name="connsiteY69" fmla="*/ 208793 h 495300"/>
                  <a:gd name="connsiteX70" fmla="*/ 42702 w 533400"/>
                  <a:gd name="connsiteY70" fmla="*/ 216174 h 495300"/>
                  <a:gd name="connsiteX71" fmla="*/ 42702 w 533400"/>
                  <a:gd name="connsiteY71" fmla="*/ 227246 h 495300"/>
                  <a:gd name="connsiteX72" fmla="*/ 42702 w 533400"/>
                  <a:gd name="connsiteY72" fmla="*/ 234627 h 495300"/>
                  <a:gd name="connsiteX73" fmla="*/ 42702 w 533400"/>
                  <a:gd name="connsiteY73" fmla="*/ 238318 h 495300"/>
                  <a:gd name="connsiteX74" fmla="*/ 39016 w 533400"/>
                  <a:gd name="connsiteY74" fmla="*/ 242008 h 495300"/>
                  <a:gd name="connsiteX75" fmla="*/ 39016 w 533400"/>
                  <a:gd name="connsiteY75" fmla="*/ 245699 h 495300"/>
                  <a:gd name="connsiteX76" fmla="*/ 31634 w 533400"/>
                  <a:gd name="connsiteY76" fmla="*/ 249389 h 495300"/>
                  <a:gd name="connsiteX77" fmla="*/ 27948 w 533400"/>
                  <a:gd name="connsiteY77" fmla="*/ 249389 h 495300"/>
                  <a:gd name="connsiteX78" fmla="*/ 31634 w 533400"/>
                  <a:gd name="connsiteY78" fmla="*/ 253080 h 495300"/>
                  <a:gd name="connsiteX79" fmla="*/ 27948 w 533400"/>
                  <a:gd name="connsiteY79" fmla="*/ 256771 h 495300"/>
                  <a:gd name="connsiteX80" fmla="*/ 27948 w 533400"/>
                  <a:gd name="connsiteY80" fmla="*/ 260461 h 495300"/>
                  <a:gd name="connsiteX81" fmla="*/ 24261 w 533400"/>
                  <a:gd name="connsiteY81" fmla="*/ 264151 h 495300"/>
                  <a:gd name="connsiteX82" fmla="*/ 27948 w 533400"/>
                  <a:gd name="connsiteY82" fmla="*/ 264151 h 495300"/>
                  <a:gd name="connsiteX83" fmla="*/ 31634 w 533400"/>
                  <a:gd name="connsiteY83" fmla="*/ 267841 h 495300"/>
                  <a:gd name="connsiteX84" fmla="*/ 35330 w 533400"/>
                  <a:gd name="connsiteY84" fmla="*/ 275223 h 495300"/>
                  <a:gd name="connsiteX85" fmla="*/ 35330 w 533400"/>
                  <a:gd name="connsiteY85" fmla="*/ 278913 h 495300"/>
                  <a:gd name="connsiteX86" fmla="*/ 35330 w 533400"/>
                  <a:gd name="connsiteY86" fmla="*/ 282604 h 495300"/>
                  <a:gd name="connsiteX87" fmla="*/ 35330 w 533400"/>
                  <a:gd name="connsiteY87" fmla="*/ 286295 h 495300"/>
                  <a:gd name="connsiteX88" fmla="*/ 39016 w 533400"/>
                  <a:gd name="connsiteY88" fmla="*/ 293676 h 495300"/>
                  <a:gd name="connsiteX89" fmla="*/ 35330 w 533400"/>
                  <a:gd name="connsiteY89" fmla="*/ 293676 h 495300"/>
                  <a:gd name="connsiteX90" fmla="*/ 39016 w 533400"/>
                  <a:gd name="connsiteY90" fmla="*/ 297366 h 495300"/>
                  <a:gd name="connsiteX91" fmla="*/ 35330 w 533400"/>
                  <a:gd name="connsiteY91" fmla="*/ 297366 h 495300"/>
                  <a:gd name="connsiteX92" fmla="*/ 35330 w 533400"/>
                  <a:gd name="connsiteY92" fmla="*/ 293676 h 495300"/>
                  <a:gd name="connsiteX93" fmla="*/ 27948 w 533400"/>
                  <a:gd name="connsiteY93" fmla="*/ 293676 h 495300"/>
                  <a:gd name="connsiteX94" fmla="*/ 27948 w 533400"/>
                  <a:gd name="connsiteY94" fmla="*/ 297366 h 495300"/>
                  <a:gd name="connsiteX95" fmla="*/ 27948 w 533400"/>
                  <a:gd name="connsiteY95" fmla="*/ 301057 h 495300"/>
                  <a:gd name="connsiteX96" fmla="*/ 31634 w 533400"/>
                  <a:gd name="connsiteY96" fmla="*/ 301057 h 495300"/>
                  <a:gd name="connsiteX97" fmla="*/ 35330 w 533400"/>
                  <a:gd name="connsiteY97" fmla="*/ 301057 h 495300"/>
                  <a:gd name="connsiteX98" fmla="*/ 35330 w 533400"/>
                  <a:gd name="connsiteY98" fmla="*/ 308438 h 495300"/>
                  <a:gd name="connsiteX99" fmla="*/ 35330 w 533400"/>
                  <a:gd name="connsiteY99" fmla="*/ 312129 h 495300"/>
                  <a:gd name="connsiteX100" fmla="*/ 39016 w 533400"/>
                  <a:gd name="connsiteY100" fmla="*/ 308438 h 495300"/>
                  <a:gd name="connsiteX101" fmla="*/ 39016 w 533400"/>
                  <a:gd name="connsiteY101" fmla="*/ 312129 h 495300"/>
                  <a:gd name="connsiteX102" fmla="*/ 35330 w 533400"/>
                  <a:gd name="connsiteY102" fmla="*/ 312129 h 495300"/>
                  <a:gd name="connsiteX103" fmla="*/ 35330 w 533400"/>
                  <a:gd name="connsiteY103" fmla="*/ 315819 h 495300"/>
                  <a:gd name="connsiteX104" fmla="*/ 39016 w 533400"/>
                  <a:gd name="connsiteY104" fmla="*/ 315819 h 495300"/>
                  <a:gd name="connsiteX105" fmla="*/ 42702 w 533400"/>
                  <a:gd name="connsiteY105" fmla="*/ 319510 h 495300"/>
                  <a:gd name="connsiteX106" fmla="*/ 42702 w 533400"/>
                  <a:gd name="connsiteY106" fmla="*/ 323201 h 495300"/>
                  <a:gd name="connsiteX107" fmla="*/ 42702 w 533400"/>
                  <a:gd name="connsiteY107" fmla="*/ 326891 h 495300"/>
                  <a:gd name="connsiteX108" fmla="*/ 42702 w 533400"/>
                  <a:gd name="connsiteY108" fmla="*/ 330582 h 495300"/>
                  <a:gd name="connsiteX109" fmla="*/ 39016 w 533400"/>
                  <a:gd name="connsiteY109" fmla="*/ 334272 h 495300"/>
                  <a:gd name="connsiteX110" fmla="*/ 39016 w 533400"/>
                  <a:gd name="connsiteY110" fmla="*/ 341654 h 495300"/>
                  <a:gd name="connsiteX111" fmla="*/ 42702 w 533400"/>
                  <a:gd name="connsiteY111" fmla="*/ 352725 h 495300"/>
                  <a:gd name="connsiteX112" fmla="*/ 42702 w 533400"/>
                  <a:gd name="connsiteY112" fmla="*/ 360106 h 495300"/>
                  <a:gd name="connsiteX113" fmla="*/ 46398 w 533400"/>
                  <a:gd name="connsiteY113" fmla="*/ 363796 h 495300"/>
                  <a:gd name="connsiteX114" fmla="*/ 46398 w 533400"/>
                  <a:gd name="connsiteY114" fmla="*/ 365065 h 495300"/>
                  <a:gd name="connsiteX115" fmla="*/ 53770 w 533400"/>
                  <a:gd name="connsiteY115" fmla="*/ 360106 h 495300"/>
                  <a:gd name="connsiteX116" fmla="*/ 46398 w 533400"/>
                  <a:gd name="connsiteY116" fmla="*/ 367487 h 495300"/>
                  <a:gd name="connsiteX117" fmla="*/ 46398 w 533400"/>
                  <a:gd name="connsiteY117" fmla="*/ 365065 h 495300"/>
                  <a:gd name="connsiteX118" fmla="*/ 42702 w 533400"/>
                  <a:gd name="connsiteY118" fmla="*/ 367487 h 495300"/>
                  <a:gd name="connsiteX119" fmla="*/ 42702 w 533400"/>
                  <a:gd name="connsiteY119" fmla="*/ 371178 h 495300"/>
                  <a:gd name="connsiteX120" fmla="*/ 42702 w 533400"/>
                  <a:gd name="connsiteY120" fmla="*/ 378559 h 495300"/>
                  <a:gd name="connsiteX121" fmla="*/ 39016 w 533400"/>
                  <a:gd name="connsiteY121" fmla="*/ 378559 h 495300"/>
                  <a:gd name="connsiteX122" fmla="*/ 35330 w 533400"/>
                  <a:gd name="connsiteY122" fmla="*/ 382249 h 495300"/>
                  <a:gd name="connsiteX123" fmla="*/ 39016 w 533400"/>
                  <a:gd name="connsiteY123" fmla="*/ 385940 h 495300"/>
                  <a:gd name="connsiteX124" fmla="*/ 42702 w 533400"/>
                  <a:gd name="connsiteY124" fmla="*/ 393321 h 495300"/>
                  <a:gd name="connsiteX125" fmla="*/ 42702 w 533400"/>
                  <a:gd name="connsiteY125" fmla="*/ 397012 h 495300"/>
                  <a:gd name="connsiteX126" fmla="*/ 42702 w 533400"/>
                  <a:gd name="connsiteY126" fmla="*/ 404393 h 495300"/>
                  <a:gd name="connsiteX127" fmla="*/ 42702 w 533400"/>
                  <a:gd name="connsiteY127" fmla="*/ 408084 h 495300"/>
                  <a:gd name="connsiteX128" fmla="*/ 39016 w 533400"/>
                  <a:gd name="connsiteY128" fmla="*/ 411774 h 495300"/>
                  <a:gd name="connsiteX129" fmla="*/ 35330 w 533400"/>
                  <a:gd name="connsiteY129" fmla="*/ 411774 h 495300"/>
                  <a:gd name="connsiteX130" fmla="*/ 31634 w 533400"/>
                  <a:gd name="connsiteY130" fmla="*/ 411774 h 495300"/>
                  <a:gd name="connsiteX131" fmla="*/ 24261 w 533400"/>
                  <a:gd name="connsiteY131" fmla="*/ 419156 h 495300"/>
                  <a:gd name="connsiteX132" fmla="*/ 20566 w 533400"/>
                  <a:gd name="connsiteY132" fmla="*/ 422846 h 495300"/>
                  <a:gd name="connsiteX133" fmla="*/ 16880 w 533400"/>
                  <a:gd name="connsiteY133" fmla="*/ 426537 h 495300"/>
                  <a:gd name="connsiteX134" fmla="*/ 20566 w 533400"/>
                  <a:gd name="connsiteY134" fmla="*/ 430227 h 495300"/>
                  <a:gd name="connsiteX135" fmla="*/ 20566 w 533400"/>
                  <a:gd name="connsiteY135" fmla="*/ 433917 h 495300"/>
                  <a:gd name="connsiteX136" fmla="*/ 20566 w 533400"/>
                  <a:gd name="connsiteY136" fmla="*/ 437608 h 495300"/>
                  <a:gd name="connsiteX137" fmla="*/ 27948 w 533400"/>
                  <a:gd name="connsiteY137" fmla="*/ 437608 h 495300"/>
                  <a:gd name="connsiteX138" fmla="*/ 27948 w 533400"/>
                  <a:gd name="connsiteY138" fmla="*/ 441298 h 495300"/>
                  <a:gd name="connsiteX139" fmla="*/ 31634 w 533400"/>
                  <a:gd name="connsiteY139" fmla="*/ 441298 h 495300"/>
                  <a:gd name="connsiteX140" fmla="*/ 39016 w 533400"/>
                  <a:gd name="connsiteY140" fmla="*/ 448679 h 495300"/>
                  <a:gd name="connsiteX141" fmla="*/ 46398 w 533400"/>
                  <a:gd name="connsiteY141" fmla="*/ 456061 h 495300"/>
                  <a:gd name="connsiteX142" fmla="*/ 50084 w 533400"/>
                  <a:gd name="connsiteY142" fmla="*/ 456061 h 495300"/>
                  <a:gd name="connsiteX143" fmla="*/ 53770 w 533400"/>
                  <a:gd name="connsiteY143" fmla="*/ 456061 h 495300"/>
                  <a:gd name="connsiteX144" fmla="*/ 57466 w 533400"/>
                  <a:gd name="connsiteY144" fmla="*/ 456061 h 495300"/>
                  <a:gd name="connsiteX145" fmla="*/ 64838 w 533400"/>
                  <a:gd name="connsiteY145" fmla="*/ 456061 h 495300"/>
                  <a:gd name="connsiteX146" fmla="*/ 64838 w 533400"/>
                  <a:gd name="connsiteY146" fmla="*/ 452370 h 495300"/>
                  <a:gd name="connsiteX147" fmla="*/ 75906 w 533400"/>
                  <a:gd name="connsiteY147" fmla="*/ 456061 h 495300"/>
                  <a:gd name="connsiteX148" fmla="*/ 83288 w 533400"/>
                  <a:gd name="connsiteY148" fmla="*/ 456061 h 495300"/>
                  <a:gd name="connsiteX149" fmla="*/ 86974 w 533400"/>
                  <a:gd name="connsiteY149" fmla="*/ 459751 h 495300"/>
                  <a:gd name="connsiteX150" fmla="*/ 101728 w 533400"/>
                  <a:gd name="connsiteY150" fmla="*/ 467133 h 495300"/>
                  <a:gd name="connsiteX151" fmla="*/ 109110 w 533400"/>
                  <a:gd name="connsiteY151" fmla="*/ 467133 h 495300"/>
                  <a:gd name="connsiteX152" fmla="*/ 109110 w 533400"/>
                  <a:gd name="connsiteY152" fmla="*/ 470823 h 495300"/>
                  <a:gd name="connsiteX153" fmla="*/ 116492 w 533400"/>
                  <a:gd name="connsiteY153" fmla="*/ 470823 h 495300"/>
                  <a:gd name="connsiteX154" fmla="*/ 120178 w 533400"/>
                  <a:gd name="connsiteY154" fmla="*/ 467133 h 495300"/>
                  <a:gd name="connsiteX155" fmla="*/ 123864 w 533400"/>
                  <a:gd name="connsiteY155" fmla="*/ 467133 h 495300"/>
                  <a:gd name="connsiteX156" fmla="*/ 123864 w 533400"/>
                  <a:gd name="connsiteY156" fmla="*/ 463442 h 495300"/>
                  <a:gd name="connsiteX157" fmla="*/ 127560 w 533400"/>
                  <a:gd name="connsiteY157" fmla="*/ 459751 h 495300"/>
                  <a:gd name="connsiteX158" fmla="*/ 127560 w 533400"/>
                  <a:gd name="connsiteY158" fmla="*/ 456061 h 495300"/>
                  <a:gd name="connsiteX159" fmla="*/ 134932 w 533400"/>
                  <a:gd name="connsiteY159" fmla="*/ 452370 h 495300"/>
                  <a:gd name="connsiteX160" fmla="*/ 142314 w 533400"/>
                  <a:gd name="connsiteY160" fmla="*/ 456061 h 495300"/>
                  <a:gd name="connsiteX161" fmla="*/ 146000 w 533400"/>
                  <a:gd name="connsiteY161" fmla="*/ 452370 h 495300"/>
                  <a:gd name="connsiteX162" fmla="*/ 153382 w 533400"/>
                  <a:gd name="connsiteY162" fmla="*/ 448679 h 495300"/>
                  <a:gd name="connsiteX163" fmla="*/ 157069 w 533400"/>
                  <a:gd name="connsiteY163" fmla="*/ 448679 h 495300"/>
                  <a:gd name="connsiteX164" fmla="*/ 160755 w 533400"/>
                  <a:gd name="connsiteY164" fmla="*/ 452370 h 495300"/>
                  <a:gd name="connsiteX165" fmla="*/ 160755 w 533400"/>
                  <a:gd name="connsiteY165" fmla="*/ 459751 h 495300"/>
                  <a:gd name="connsiteX166" fmla="*/ 164450 w 533400"/>
                  <a:gd name="connsiteY166" fmla="*/ 459751 h 495300"/>
                  <a:gd name="connsiteX167" fmla="*/ 168137 w 533400"/>
                  <a:gd name="connsiteY167" fmla="*/ 459751 h 495300"/>
                  <a:gd name="connsiteX168" fmla="*/ 175518 w 533400"/>
                  <a:gd name="connsiteY168" fmla="*/ 459751 h 495300"/>
                  <a:gd name="connsiteX169" fmla="*/ 179205 w 533400"/>
                  <a:gd name="connsiteY169" fmla="*/ 459751 h 495300"/>
                  <a:gd name="connsiteX170" fmla="*/ 182891 w 533400"/>
                  <a:gd name="connsiteY170" fmla="*/ 459751 h 495300"/>
                  <a:gd name="connsiteX171" fmla="*/ 182891 w 533400"/>
                  <a:gd name="connsiteY171" fmla="*/ 463442 h 495300"/>
                  <a:gd name="connsiteX172" fmla="*/ 186587 w 533400"/>
                  <a:gd name="connsiteY172" fmla="*/ 463442 h 495300"/>
                  <a:gd name="connsiteX173" fmla="*/ 190273 w 533400"/>
                  <a:gd name="connsiteY173" fmla="*/ 459751 h 495300"/>
                  <a:gd name="connsiteX174" fmla="*/ 190273 w 533400"/>
                  <a:gd name="connsiteY174" fmla="*/ 463442 h 495300"/>
                  <a:gd name="connsiteX175" fmla="*/ 197655 w 533400"/>
                  <a:gd name="connsiteY175" fmla="*/ 467133 h 495300"/>
                  <a:gd name="connsiteX176" fmla="*/ 193959 w 533400"/>
                  <a:gd name="connsiteY176" fmla="*/ 459751 h 495300"/>
                  <a:gd name="connsiteX177" fmla="*/ 205027 w 533400"/>
                  <a:gd name="connsiteY177" fmla="*/ 463442 h 495300"/>
                  <a:gd name="connsiteX178" fmla="*/ 208713 w 533400"/>
                  <a:gd name="connsiteY178" fmla="*/ 463442 h 495300"/>
                  <a:gd name="connsiteX179" fmla="*/ 223477 w 533400"/>
                  <a:gd name="connsiteY179" fmla="*/ 481895 h 495300"/>
                  <a:gd name="connsiteX180" fmla="*/ 227163 w 533400"/>
                  <a:gd name="connsiteY180" fmla="*/ 489276 h 495300"/>
                  <a:gd name="connsiteX181" fmla="*/ 227163 w 533400"/>
                  <a:gd name="connsiteY181" fmla="*/ 492967 h 495300"/>
                  <a:gd name="connsiteX182" fmla="*/ 230849 w 533400"/>
                  <a:gd name="connsiteY182" fmla="*/ 489276 h 495300"/>
                  <a:gd name="connsiteX183" fmla="*/ 238231 w 533400"/>
                  <a:gd name="connsiteY183" fmla="*/ 481895 h 495300"/>
                  <a:gd name="connsiteX184" fmla="*/ 241917 w 533400"/>
                  <a:gd name="connsiteY184" fmla="*/ 481895 h 495300"/>
                  <a:gd name="connsiteX185" fmla="*/ 241917 w 533400"/>
                  <a:gd name="connsiteY185" fmla="*/ 485586 h 495300"/>
                  <a:gd name="connsiteX186" fmla="*/ 245613 w 533400"/>
                  <a:gd name="connsiteY186" fmla="*/ 485586 h 495300"/>
                  <a:gd name="connsiteX187" fmla="*/ 249299 w 533400"/>
                  <a:gd name="connsiteY187" fmla="*/ 485586 h 495300"/>
                  <a:gd name="connsiteX188" fmla="*/ 249299 w 533400"/>
                  <a:gd name="connsiteY188" fmla="*/ 489276 h 495300"/>
                  <a:gd name="connsiteX189" fmla="*/ 252985 w 533400"/>
                  <a:gd name="connsiteY189" fmla="*/ 489276 h 495300"/>
                  <a:gd name="connsiteX190" fmla="*/ 256681 w 533400"/>
                  <a:gd name="connsiteY190" fmla="*/ 489276 h 495300"/>
                  <a:gd name="connsiteX191" fmla="*/ 260367 w 533400"/>
                  <a:gd name="connsiteY191" fmla="*/ 492967 h 495300"/>
                  <a:gd name="connsiteX192" fmla="*/ 264053 w 533400"/>
                  <a:gd name="connsiteY192" fmla="*/ 492967 h 495300"/>
                  <a:gd name="connsiteX193" fmla="*/ 267749 w 533400"/>
                  <a:gd name="connsiteY193" fmla="*/ 492967 h 495300"/>
                  <a:gd name="connsiteX194" fmla="*/ 271435 w 533400"/>
                  <a:gd name="connsiteY194" fmla="*/ 492967 h 495300"/>
                  <a:gd name="connsiteX195" fmla="*/ 275121 w 533400"/>
                  <a:gd name="connsiteY195" fmla="*/ 489276 h 495300"/>
                  <a:gd name="connsiteX196" fmla="*/ 278808 w 533400"/>
                  <a:gd name="connsiteY196" fmla="*/ 489276 h 495300"/>
                  <a:gd name="connsiteX197" fmla="*/ 278808 w 533400"/>
                  <a:gd name="connsiteY197" fmla="*/ 485586 h 495300"/>
                  <a:gd name="connsiteX198" fmla="*/ 282503 w 533400"/>
                  <a:gd name="connsiteY198" fmla="*/ 485586 h 495300"/>
                  <a:gd name="connsiteX199" fmla="*/ 286189 w 533400"/>
                  <a:gd name="connsiteY199" fmla="*/ 481895 h 495300"/>
                  <a:gd name="connsiteX200" fmla="*/ 286189 w 533400"/>
                  <a:gd name="connsiteY200" fmla="*/ 478204 h 495300"/>
                  <a:gd name="connsiteX201" fmla="*/ 289876 w 533400"/>
                  <a:gd name="connsiteY201" fmla="*/ 474514 h 495300"/>
                  <a:gd name="connsiteX202" fmla="*/ 289876 w 533400"/>
                  <a:gd name="connsiteY202" fmla="*/ 470823 h 495300"/>
                  <a:gd name="connsiteX203" fmla="*/ 293571 w 533400"/>
                  <a:gd name="connsiteY203" fmla="*/ 467133 h 495300"/>
                  <a:gd name="connsiteX204" fmla="*/ 300944 w 533400"/>
                  <a:gd name="connsiteY204" fmla="*/ 467133 h 495300"/>
                  <a:gd name="connsiteX205" fmla="*/ 300944 w 533400"/>
                  <a:gd name="connsiteY205" fmla="*/ 463442 h 495300"/>
                  <a:gd name="connsiteX206" fmla="*/ 308326 w 533400"/>
                  <a:gd name="connsiteY206" fmla="*/ 467133 h 495300"/>
                  <a:gd name="connsiteX207" fmla="*/ 308326 w 533400"/>
                  <a:gd name="connsiteY207" fmla="*/ 463442 h 495300"/>
                  <a:gd name="connsiteX208" fmla="*/ 315707 w 533400"/>
                  <a:gd name="connsiteY208" fmla="*/ 459751 h 495300"/>
                  <a:gd name="connsiteX209" fmla="*/ 315707 w 533400"/>
                  <a:gd name="connsiteY209" fmla="*/ 467133 h 495300"/>
                  <a:gd name="connsiteX210" fmla="*/ 319394 w 533400"/>
                  <a:gd name="connsiteY210" fmla="*/ 474514 h 495300"/>
                  <a:gd name="connsiteX211" fmla="*/ 323080 w 533400"/>
                  <a:gd name="connsiteY211" fmla="*/ 478204 h 495300"/>
                  <a:gd name="connsiteX212" fmla="*/ 326775 w 533400"/>
                  <a:gd name="connsiteY212" fmla="*/ 478204 h 495300"/>
                  <a:gd name="connsiteX213" fmla="*/ 326775 w 533400"/>
                  <a:gd name="connsiteY213" fmla="*/ 481895 h 495300"/>
                  <a:gd name="connsiteX214" fmla="*/ 330462 w 533400"/>
                  <a:gd name="connsiteY214" fmla="*/ 478204 h 495300"/>
                  <a:gd name="connsiteX215" fmla="*/ 341530 w 533400"/>
                  <a:gd name="connsiteY215" fmla="*/ 474514 h 495300"/>
                  <a:gd name="connsiteX216" fmla="*/ 341530 w 533400"/>
                  <a:gd name="connsiteY216" fmla="*/ 481895 h 495300"/>
                  <a:gd name="connsiteX217" fmla="*/ 348912 w 533400"/>
                  <a:gd name="connsiteY217" fmla="*/ 478204 h 495300"/>
                  <a:gd name="connsiteX218" fmla="*/ 352598 w 533400"/>
                  <a:gd name="connsiteY218" fmla="*/ 474514 h 495300"/>
                  <a:gd name="connsiteX219" fmla="*/ 356284 w 533400"/>
                  <a:gd name="connsiteY219" fmla="*/ 474514 h 495300"/>
                  <a:gd name="connsiteX220" fmla="*/ 356284 w 533400"/>
                  <a:gd name="connsiteY220" fmla="*/ 470823 h 495300"/>
                  <a:gd name="connsiteX221" fmla="*/ 352598 w 533400"/>
                  <a:gd name="connsiteY221" fmla="*/ 463442 h 495300"/>
                  <a:gd name="connsiteX222" fmla="*/ 356284 w 533400"/>
                  <a:gd name="connsiteY222" fmla="*/ 463442 h 495300"/>
                  <a:gd name="connsiteX223" fmla="*/ 367352 w 533400"/>
                  <a:gd name="connsiteY223" fmla="*/ 463442 h 495300"/>
                  <a:gd name="connsiteX224" fmla="*/ 371038 w 533400"/>
                  <a:gd name="connsiteY224" fmla="*/ 459751 h 495300"/>
                  <a:gd name="connsiteX225" fmla="*/ 374734 w 533400"/>
                  <a:gd name="connsiteY225" fmla="*/ 456061 h 495300"/>
                  <a:gd name="connsiteX226" fmla="*/ 385802 w 533400"/>
                  <a:gd name="connsiteY226" fmla="*/ 448679 h 495300"/>
                  <a:gd name="connsiteX227" fmla="*/ 396870 w 533400"/>
                  <a:gd name="connsiteY227" fmla="*/ 441298 h 495300"/>
                  <a:gd name="connsiteX228" fmla="*/ 404242 w 533400"/>
                  <a:gd name="connsiteY228" fmla="*/ 433917 h 495300"/>
                  <a:gd name="connsiteX229" fmla="*/ 418996 w 533400"/>
                  <a:gd name="connsiteY229" fmla="*/ 426537 h 495300"/>
                  <a:gd name="connsiteX230" fmla="*/ 422692 w 533400"/>
                  <a:gd name="connsiteY230" fmla="*/ 422846 h 495300"/>
                  <a:gd name="connsiteX231" fmla="*/ 426378 w 533400"/>
                  <a:gd name="connsiteY231" fmla="*/ 419156 h 495300"/>
                  <a:gd name="connsiteX232" fmla="*/ 437446 w 533400"/>
                  <a:gd name="connsiteY232" fmla="*/ 404393 h 495300"/>
                  <a:gd name="connsiteX233" fmla="*/ 444828 w 533400"/>
                  <a:gd name="connsiteY233" fmla="*/ 400703 h 495300"/>
                  <a:gd name="connsiteX234" fmla="*/ 444828 w 533400"/>
                  <a:gd name="connsiteY234" fmla="*/ 397012 h 495300"/>
                  <a:gd name="connsiteX235" fmla="*/ 444828 w 533400"/>
                  <a:gd name="connsiteY235" fmla="*/ 393321 h 495300"/>
                  <a:gd name="connsiteX236" fmla="*/ 452201 w 533400"/>
                  <a:gd name="connsiteY236" fmla="*/ 389631 h 495300"/>
                  <a:gd name="connsiteX237" fmla="*/ 463269 w 533400"/>
                  <a:gd name="connsiteY237" fmla="*/ 393321 h 495300"/>
                  <a:gd name="connsiteX238" fmla="*/ 474337 w 533400"/>
                  <a:gd name="connsiteY238" fmla="*/ 393321 h 495300"/>
                  <a:gd name="connsiteX239" fmla="*/ 489100 w 533400"/>
                  <a:gd name="connsiteY239" fmla="*/ 408084 h 495300"/>
                  <a:gd name="connsiteX240" fmla="*/ 503855 w 533400"/>
                  <a:gd name="connsiteY240" fmla="*/ 397012 h 495300"/>
                  <a:gd name="connsiteX241" fmla="*/ 514923 w 533400"/>
                  <a:gd name="connsiteY241" fmla="*/ 385940 h 495300"/>
                  <a:gd name="connsiteX242" fmla="*/ 518609 w 533400"/>
                  <a:gd name="connsiteY242" fmla="*/ 382249 h 495300"/>
                  <a:gd name="connsiteX243" fmla="*/ 522295 w 533400"/>
                  <a:gd name="connsiteY243" fmla="*/ 378559 h 495300"/>
                  <a:gd name="connsiteX244" fmla="*/ 522295 w 533400"/>
                  <a:gd name="connsiteY244" fmla="*/ 374868 h 495300"/>
                  <a:gd name="connsiteX245" fmla="*/ 533363 w 533400"/>
                  <a:gd name="connsiteY245" fmla="*/ 356415 h 495300"/>
                  <a:gd name="connsiteX246" fmla="*/ 529677 w 533400"/>
                  <a:gd name="connsiteY246" fmla="*/ 352725 h 495300"/>
                  <a:gd name="connsiteX247" fmla="*/ 525991 w 533400"/>
                  <a:gd name="connsiteY247" fmla="*/ 345344 h 495300"/>
                  <a:gd name="connsiteX248" fmla="*/ 522295 w 533400"/>
                  <a:gd name="connsiteY248" fmla="*/ 337963 h 495300"/>
                  <a:gd name="connsiteX249" fmla="*/ 507541 w 533400"/>
                  <a:gd name="connsiteY249" fmla="*/ 315819 h 495300"/>
                  <a:gd name="connsiteX250" fmla="*/ 500159 w 533400"/>
                  <a:gd name="connsiteY250" fmla="*/ 304748 h 495300"/>
                  <a:gd name="connsiteX251" fmla="*/ 500159 w 533400"/>
                  <a:gd name="connsiteY251" fmla="*/ 301057 h 495300"/>
                  <a:gd name="connsiteX252" fmla="*/ 500159 w 533400"/>
                  <a:gd name="connsiteY252" fmla="*/ 289985 h 495300"/>
                  <a:gd name="connsiteX253" fmla="*/ 503855 w 533400"/>
                  <a:gd name="connsiteY253" fmla="*/ 278913 h 495300"/>
                  <a:gd name="connsiteX254" fmla="*/ 496473 w 533400"/>
                  <a:gd name="connsiteY254" fmla="*/ 275223 h 495300"/>
                  <a:gd name="connsiteX255" fmla="*/ 485405 w 533400"/>
                  <a:gd name="connsiteY255" fmla="*/ 275223 h 495300"/>
                  <a:gd name="connsiteX256" fmla="*/ 474337 w 533400"/>
                  <a:gd name="connsiteY256" fmla="*/ 267841 h 495300"/>
                  <a:gd name="connsiteX257" fmla="*/ 478033 w 533400"/>
                  <a:gd name="connsiteY257" fmla="*/ 260461 h 495300"/>
                  <a:gd name="connsiteX258" fmla="*/ 466964 w 533400"/>
                  <a:gd name="connsiteY258" fmla="*/ 256771 h 495300"/>
                  <a:gd name="connsiteX259" fmla="*/ 466964 w 533400"/>
                  <a:gd name="connsiteY259" fmla="*/ 253080 h 495300"/>
                  <a:gd name="connsiteX260" fmla="*/ 463269 w 533400"/>
                  <a:gd name="connsiteY260" fmla="*/ 249389 h 495300"/>
                  <a:gd name="connsiteX261" fmla="*/ 455896 w 533400"/>
                  <a:gd name="connsiteY261" fmla="*/ 245699 h 495300"/>
                  <a:gd name="connsiteX262" fmla="*/ 452201 w 533400"/>
                  <a:gd name="connsiteY262" fmla="*/ 242008 h 495300"/>
                  <a:gd name="connsiteX263" fmla="*/ 448515 w 533400"/>
                  <a:gd name="connsiteY263" fmla="*/ 242008 h 495300"/>
                  <a:gd name="connsiteX264" fmla="*/ 441133 w 533400"/>
                  <a:gd name="connsiteY264" fmla="*/ 242008 h 495300"/>
                  <a:gd name="connsiteX265" fmla="*/ 433760 w 533400"/>
                  <a:gd name="connsiteY265" fmla="*/ 242008 h 495300"/>
                  <a:gd name="connsiteX266" fmla="*/ 426378 w 533400"/>
                  <a:gd name="connsiteY266" fmla="*/ 242008 h 495300"/>
                  <a:gd name="connsiteX267" fmla="*/ 422692 w 533400"/>
                  <a:gd name="connsiteY267" fmla="*/ 242008 h 495300"/>
                  <a:gd name="connsiteX268" fmla="*/ 418996 w 533400"/>
                  <a:gd name="connsiteY268" fmla="*/ 234627 h 495300"/>
                  <a:gd name="connsiteX269" fmla="*/ 415310 w 533400"/>
                  <a:gd name="connsiteY269" fmla="*/ 230936 h 495300"/>
                  <a:gd name="connsiteX270" fmla="*/ 411624 w 533400"/>
                  <a:gd name="connsiteY270" fmla="*/ 227246 h 495300"/>
                  <a:gd name="connsiteX271" fmla="*/ 411624 w 533400"/>
                  <a:gd name="connsiteY271" fmla="*/ 212483 h 495300"/>
                  <a:gd name="connsiteX272" fmla="*/ 411624 w 533400"/>
                  <a:gd name="connsiteY272" fmla="*/ 208793 h 495300"/>
                  <a:gd name="connsiteX273" fmla="*/ 411624 w 533400"/>
                  <a:gd name="connsiteY273" fmla="*/ 201411 h 495300"/>
                  <a:gd name="connsiteX274" fmla="*/ 411624 w 533400"/>
                  <a:gd name="connsiteY274" fmla="*/ 194030 h 495300"/>
                  <a:gd name="connsiteX275" fmla="*/ 415310 w 533400"/>
                  <a:gd name="connsiteY275" fmla="*/ 190340 h 495300"/>
                  <a:gd name="connsiteX276" fmla="*/ 418996 w 533400"/>
                  <a:gd name="connsiteY276" fmla="*/ 182958 h 495300"/>
                  <a:gd name="connsiteX277" fmla="*/ 418996 w 533400"/>
                  <a:gd name="connsiteY277" fmla="*/ 179268 h 495300"/>
                  <a:gd name="connsiteX278" fmla="*/ 422692 w 533400"/>
                  <a:gd name="connsiteY278" fmla="*/ 175578 h 495300"/>
                  <a:gd name="connsiteX279" fmla="*/ 426378 w 533400"/>
                  <a:gd name="connsiteY279" fmla="*/ 175578 h 495300"/>
                  <a:gd name="connsiteX280" fmla="*/ 430065 w 533400"/>
                  <a:gd name="connsiteY280" fmla="*/ 171888 h 495300"/>
                  <a:gd name="connsiteX281" fmla="*/ 433760 w 533400"/>
                  <a:gd name="connsiteY281" fmla="*/ 164506 h 495300"/>
                  <a:gd name="connsiteX282" fmla="*/ 433760 w 533400"/>
                  <a:gd name="connsiteY282" fmla="*/ 160816 h 495300"/>
                  <a:gd name="connsiteX283" fmla="*/ 433760 w 533400"/>
                  <a:gd name="connsiteY283" fmla="*/ 157125 h 495300"/>
                  <a:gd name="connsiteX284" fmla="*/ 433760 w 533400"/>
                  <a:gd name="connsiteY284" fmla="*/ 149744 h 495300"/>
                  <a:gd name="connsiteX285" fmla="*/ 430065 w 533400"/>
                  <a:gd name="connsiteY285" fmla="*/ 149744 h 495300"/>
                  <a:gd name="connsiteX286" fmla="*/ 426378 w 533400"/>
                  <a:gd name="connsiteY286" fmla="*/ 149744 h 495300"/>
                  <a:gd name="connsiteX287" fmla="*/ 426378 w 533400"/>
                  <a:gd name="connsiteY287" fmla="*/ 146053 h 495300"/>
                  <a:gd name="connsiteX288" fmla="*/ 430065 w 533400"/>
                  <a:gd name="connsiteY288" fmla="*/ 142363 h 495300"/>
                  <a:gd name="connsiteX289" fmla="*/ 433760 w 533400"/>
                  <a:gd name="connsiteY289" fmla="*/ 138672 h 495300"/>
                  <a:gd name="connsiteX290" fmla="*/ 437446 w 533400"/>
                  <a:gd name="connsiteY290" fmla="*/ 134981 h 495300"/>
                  <a:gd name="connsiteX291" fmla="*/ 437446 w 533400"/>
                  <a:gd name="connsiteY291" fmla="*/ 131291 h 495300"/>
                  <a:gd name="connsiteX292" fmla="*/ 437446 w 533400"/>
                  <a:gd name="connsiteY292" fmla="*/ 127600 h 495300"/>
                  <a:gd name="connsiteX293" fmla="*/ 441133 w 533400"/>
                  <a:gd name="connsiteY293" fmla="*/ 123910 h 495300"/>
                  <a:gd name="connsiteX294" fmla="*/ 441133 w 533400"/>
                  <a:gd name="connsiteY294" fmla="*/ 120219 h 495300"/>
                  <a:gd name="connsiteX295" fmla="*/ 444828 w 533400"/>
                  <a:gd name="connsiteY295" fmla="*/ 120219 h 495300"/>
                  <a:gd name="connsiteX296" fmla="*/ 448515 w 533400"/>
                  <a:gd name="connsiteY296" fmla="*/ 116528 h 495300"/>
                  <a:gd name="connsiteX297" fmla="*/ 444828 w 533400"/>
                  <a:gd name="connsiteY297" fmla="*/ 116528 h 495300"/>
                  <a:gd name="connsiteX298" fmla="*/ 444828 w 533400"/>
                  <a:gd name="connsiteY298" fmla="*/ 112838 h 495300"/>
                  <a:gd name="connsiteX299" fmla="*/ 444828 w 533400"/>
                  <a:gd name="connsiteY299" fmla="*/ 109147 h 495300"/>
                  <a:gd name="connsiteX300" fmla="*/ 444828 w 533400"/>
                  <a:gd name="connsiteY300" fmla="*/ 105457 h 495300"/>
                  <a:gd name="connsiteX301" fmla="*/ 448515 w 533400"/>
                  <a:gd name="connsiteY301" fmla="*/ 101766 h 495300"/>
                  <a:gd name="connsiteX302" fmla="*/ 452201 w 533400"/>
                  <a:gd name="connsiteY302" fmla="*/ 101766 h 495300"/>
                  <a:gd name="connsiteX303" fmla="*/ 455896 w 533400"/>
                  <a:gd name="connsiteY303" fmla="*/ 98075 h 495300"/>
                  <a:gd name="connsiteX304" fmla="*/ 455896 w 533400"/>
                  <a:gd name="connsiteY304" fmla="*/ 94385 h 495300"/>
                  <a:gd name="connsiteX305" fmla="*/ 459582 w 533400"/>
                  <a:gd name="connsiteY305" fmla="*/ 90695 h 495300"/>
                  <a:gd name="connsiteX306" fmla="*/ 463269 w 533400"/>
                  <a:gd name="connsiteY306" fmla="*/ 90695 h 495300"/>
                  <a:gd name="connsiteX307" fmla="*/ 463269 w 533400"/>
                  <a:gd name="connsiteY307" fmla="*/ 87004 h 495300"/>
                  <a:gd name="connsiteX308" fmla="*/ 459582 w 533400"/>
                  <a:gd name="connsiteY308" fmla="*/ 87004 h 495300"/>
                  <a:gd name="connsiteX309" fmla="*/ 459582 w 533400"/>
                  <a:gd name="connsiteY309" fmla="*/ 83314 h 495300"/>
                  <a:gd name="connsiteX310" fmla="*/ 459582 w 533400"/>
                  <a:gd name="connsiteY310" fmla="*/ 61170 h 495300"/>
                  <a:gd name="connsiteX311" fmla="*/ 455896 w 533400"/>
                  <a:gd name="connsiteY311" fmla="*/ 61170 h 495300"/>
                  <a:gd name="connsiteX312" fmla="*/ 455896 w 533400"/>
                  <a:gd name="connsiteY312" fmla="*/ 57480 h 495300"/>
                  <a:gd name="connsiteX313" fmla="*/ 448515 w 533400"/>
                  <a:gd name="connsiteY313" fmla="*/ 57480 h 495300"/>
                  <a:gd name="connsiteX314" fmla="*/ 444828 w 533400"/>
                  <a:gd name="connsiteY314" fmla="*/ 57480 h 495300"/>
                  <a:gd name="connsiteX315" fmla="*/ 441133 w 533400"/>
                  <a:gd name="connsiteY315" fmla="*/ 61170 h 495300"/>
                  <a:gd name="connsiteX316" fmla="*/ 437446 w 533400"/>
                  <a:gd name="connsiteY316" fmla="*/ 61170 h 495300"/>
                  <a:gd name="connsiteX317" fmla="*/ 433760 w 533400"/>
                  <a:gd name="connsiteY317" fmla="*/ 61170 h 495300"/>
                  <a:gd name="connsiteX318" fmla="*/ 437446 w 533400"/>
                  <a:gd name="connsiteY318" fmla="*/ 64861 h 495300"/>
                  <a:gd name="connsiteX319" fmla="*/ 437446 w 533400"/>
                  <a:gd name="connsiteY319" fmla="*/ 68551 h 495300"/>
                  <a:gd name="connsiteX320" fmla="*/ 433760 w 533400"/>
                  <a:gd name="connsiteY320" fmla="*/ 68551 h 495300"/>
                  <a:gd name="connsiteX321" fmla="*/ 433760 w 533400"/>
                  <a:gd name="connsiteY321" fmla="*/ 64861 h 495300"/>
                  <a:gd name="connsiteX322" fmla="*/ 430065 w 533400"/>
                  <a:gd name="connsiteY322" fmla="*/ 61170 h 495300"/>
                  <a:gd name="connsiteX323" fmla="*/ 430065 w 533400"/>
                  <a:gd name="connsiteY323" fmla="*/ 57480 h 495300"/>
                  <a:gd name="connsiteX324" fmla="*/ 426378 w 533400"/>
                  <a:gd name="connsiteY324" fmla="*/ 57480 h 495300"/>
                  <a:gd name="connsiteX325" fmla="*/ 430065 w 533400"/>
                  <a:gd name="connsiteY325" fmla="*/ 53789 h 495300"/>
                  <a:gd name="connsiteX326" fmla="*/ 426378 w 533400"/>
                  <a:gd name="connsiteY326" fmla="*/ 53789 h 495300"/>
                  <a:gd name="connsiteX327" fmla="*/ 422692 w 533400"/>
                  <a:gd name="connsiteY327" fmla="*/ 50098 h 495300"/>
                  <a:gd name="connsiteX328" fmla="*/ 422692 w 533400"/>
                  <a:gd name="connsiteY328" fmla="*/ 53789 h 495300"/>
                  <a:gd name="connsiteX329" fmla="*/ 418996 w 533400"/>
                  <a:gd name="connsiteY329" fmla="*/ 61170 h 495300"/>
                  <a:gd name="connsiteX330" fmla="*/ 418996 w 533400"/>
                  <a:gd name="connsiteY330" fmla="*/ 57480 h 495300"/>
                  <a:gd name="connsiteX331" fmla="*/ 418996 w 533400"/>
                  <a:gd name="connsiteY331" fmla="*/ 53789 h 495300"/>
                  <a:gd name="connsiteX332" fmla="*/ 411624 w 533400"/>
                  <a:gd name="connsiteY332" fmla="*/ 50098 h 495300"/>
                  <a:gd name="connsiteX333" fmla="*/ 407938 w 533400"/>
                  <a:gd name="connsiteY333" fmla="*/ 53789 h 495300"/>
                  <a:gd name="connsiteX334" fmla="*/ 407938 w 533400"/>
                  <a:gd name="connsiteY334" fmla="*/ 57480 h 495300"/>
                  <a:gd name="connsiteX335" fmla="*/ 415310 w 533400"/>
                  <a:gd name="connsiteY335" fmla="*/ 64861 h 495300"/>
                  <a:gd name="connsiteX336" fmla="*/ 415310 w 533400"/>
                  <a:gd name="connsiteY336" fmla="*/ 68551 h 495300"/>
                  <a:gd name="connsiteX337" fmla="*/ 411624 w 533400"/>
                  <a:gd name="connsiteY337" fmla="*/ 68551 h 495300"/>
                  <a:gd name="connsiteX338" fmla="*/ 411624 w 533400"/>
                  <a:gd name="connsiteY338" fmla="*/ 64861 h 495300"/>
                  <a:gd name="connsiteX339" fmla="*/ 407938 w 533400"/>
                  <a:gd name="connsiteY339" fmla="*/ 68551 h 495300"/>
                  <a:gd name="connsiteX340" fmla="*/ 407938 w 533400"/>
                  <a:gd name="connsiteY340" fmla="*/ 64861 h 495300"/>
                  <a:gd name="connsiteX341" fmla="*/ 404242 w 533400"/>
                  <a:gd name="connsiteY341" fmla="*/ 61170 h 495300"/>
                  <a:gd name="connsiteX342" fmla="*/ 404242 w 533400"/>
                  <a:gd name="connsiteY342" fmla="*/ 57480 h 495300"/>
                  <a:gd name="connsiteX343" fmla="*/ 404242 w 533400"/>
                  <a:gd name="connsiteY343" fmla="*/ 53789 h 495300"/>
                  <a:gd name="connsiteX344" fmla="*/ 404242 w 533400"/>
                  <a:gd name="connsiteY344" fmla="*/ 46408 h 495300"/>
                  <a:gd name="connsiteX345" fmla="*/ 400556 w 533400"/>
                  <a:gd name="connsiteY345" fmla="*/ 42717 h 495300"/>
                  <a:gd name="connsiteX346" fmla="*/ 400556 w 533400"/>
                  <a:gd name="connsiteY346" fmla="*/ 39027 h 495300"/>
                  <a:gd name="connsiteX347" fmla="*/ 404242 w 533400"/>
                  <a:gd name="connsiteY347" fmla="*/ 35336 h 495300"/>
                  <a:gd name="connsiteX348" fmla="*/ 400556 w 533400"/>
                  <a:gd name="connsiteY348" fmla="*/ 35336 h 495300"/>
                  <a:gd name="connsiteX349" fmla="*/ 400556 w 533400"/>
                  <a:gd name="connsiteY349" fmla="*/ 31645 h 495300"/>
                  <a:gd name="connsiteX350" fmla="*/ 400556 w 533400"/>
                  <a:gd name="connsiteY350" fmla="*/ 27955 h 495300"/>
                  <a:gd name="connsiteX351" fmla="*/ 396870 w 533400"/>
                  <a:gd name="connsiteY351" fmla="*/ 24264 h 495300"/>
                  <a:gd name="connsiteX352" fmla="*/ 400556 w 533400"/>
                  <a:gd name="connsiteY352" fmla="*/ 16883 h 495300"/>
                  <a:gd name="connsiteX353" fmla="*/ 400556 w 533400"/>
                  <a:gd name="connsiteY353" fmla="*/ 13192 h 495300"/>
                  <a:gd name="connsiteX354" fmla="*/ 400556 w 533400"/>
                  <a:gd name="connsiteY354" fmla="*/ 9502 h 495300"/>
                  <a:gd name="connsiteX355" fmla="*/ 407938 w 533400"/>
                  <a:gd name="connsiteY355" fmla="*/ 5812 h 495300"/>
                  <a:gd name="connsiteX356" fmla="*/ 430065 w 533400"/>
                  <a:gd name="connsiteY356" fmla="*/ 53789 h 495300"/>
                  <a:gd name="connsiteX357" fmla="*/ 430065 w 533400"/>
                  <a:gd name="connsiteY357" fmla="*/ 57480 h 495300"/>
                  <a:gd name="connsiteX358" fmla="*/ 433760 w 533400"/>
                  <a:gd name="connsiteY358" fmla="*/ 61170 h 495300"/>
                  <a:gd name="connsiteX359" fmla="*/ 430065 w 533400"/>
                  <a:gd name="connsiteY359" fmla="*/ 53789 h 495300"/>
                  <a:gd name="connsiteX360" fmla="*/ 24261 w 533400"/>
                  <a:gd name="connsiteY360" fmla="*/ 264151 h 495300"/>
                  <a:gd name="connsiteX361" fmla="*/ 13193 w 533400"/>
                  <a:gd name="connsiteY361" fmla="*/ 275223 h 495300"/>
                  <a:gd name="connsiteX362" fmla="*/ 9498 w 533400"/>
                  <a:gd name="connsiteY362" fmla="*/ 275223 h 495300"/>
                  <a:gd name="connsiteX363" fmla="*/ 5812 w 533400"/>
                  <a:gd name="connsiteY363" fmla="*/ 275223 h 495300"/>
                  <a:gd name="connsiteX364" fmla="*/ 9498 w 533400"/>
                  <a:gd name="connsiteY364" fmla="*/ 278913 h 495300"/>
                  <a:gd name="connsiteX365" fmla="*/ 13193 w 533400"/>
                  <a:gd name="connsiteY365" fmla="*/ 278913 h 495300"/>
                  <a:gd name="connsiteX366" fmla="*/ 16880 w 533400"/>
                  <a:gd name="connsiteY366" fmla="*/ 275223 h 495300"/>
                  <a:gd name="connsiteX367" fmla="*/ 24261 w 533400"/>
                  <a:gd name="connsiteY367" fmla="*/ 264151 h 495300"/>
                  <a:gd name="connsiteX368" fmla="*/ 50084 w 533400"/>
                  <a:gd name="connsiteY368" fmla="*/ 190340 h 495300"/>
                  <a:gd name="connsiteX369" fmla="*/ 50084 w 533400"/>
                  <a:gd name="connsiteY369" fmla="*/ 186649 h 495300"/>
                  <a:gd name="connsiteX370" fmla="*/ 46398 w 533400"/>
                  <a:gd name="connsiteY370" fmla="*/ 190340 h 495300"/>
                  <a:gd name="connsiteX371" fmla="*/ 50084 w 533400"/>
                  <a:gd name="connsiteY371" fmla="*/ 190340 h 495300"/>
                  <a:gd name="connsiteX372" fmla="*/ 407938 w 533400"/>
                  <a:gd name="connsiteY372" fmla="*/ 75933 h 495300"/>
                  <a:gd name="connsiteX373" fmla="*/ 411624 w 533400"/>
                  <a:gd name="connsiteY373" fmla="*/ 75933 h 495300"/>
                  <a:gd name="connsiteX374" fmla="*/ 411624 w 533400"/>
                  <a:gd name="connsiteY374" fmla="*/ 79623 h 495300"/>
                  <a:gd name="connsiteX375" fmla="*/ 407938 w 533400"/>
                  <a:gd name="connsiteY375" fmla="*/ 75933 h 495300"/>
                  <a:gd name="connsiteX376" fmla="*/ 400556 w 533400"/>
                  <a:gd name="connsiteY376" fmla="*/ 79623 h 495300"/>
                  <a:gd name="connsiteX377" fmla="*/ 404242 w 533400"/>
                  <a:gd name="connsiteY377" fmla="*/ 79623 h 495300"/>
                  <a:gd name="connsiteX378" fmla="*/ 400556 w 533400"/>
                  <a:gd name="connsiteY378" fmla="*/ 83314 h 495300"/>
                  <a:gd name="connsiteX379" fmla="*/ 400556 w 533400"/>
                  <a:gd name="connsiteY379" fmla="*/ 79623 h 495300"/>
                  <a:gd name="connsiteX380" fmla="*/ 39016 w 533400"/>
                  <a:gd name="connsiteY380" fmla="*/ 301057 h 495300"/>
                  <a:gd name="connsiteX381" fmla="*/ 42702 w 533400"/>
                  <a:gd name="connsiteY381" fmla="*/ 301057 h 495300"/>
                  <a:gd name="connsiteX382" fmla="*/ 39016 w 533400"/>
                  <a:gd name="connsiteY382" fmla="*/ 304748 h 495300"/>
                  <a:gd name="connsiteX383" fmla="*/ 39016 w 533400"/>
                  <a:gd name="connsiteY383" fmla="*/ 301057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Lst>
                <a:rect l="l" t="t" r="r" b="b"/>
                <a:pathLst>
                  <a:path w="533400" h="495300">
                    <a:moveTo>
                      <a:pt x="407938" y="5812"/>
                    </a:moveTo>
                    <a:lnTo>
                      <a:pt x="389488" y="13192"/>
                    </a:lnTo>
                    <a:lnTo>
                      <a:pt x="385802" y="13192"/>
                    </a:lnTo>
                    <a:lnTo>
                      <a:pt x="378420" y="9502"/>
                    </a:lnTo>
                    <a:lnTo>
                      <a:pt x="367352" y="9502"/>
                    </a:lnTo>
                    <a:lnTo>
                      <a:pt x="367352" y="13192"/>
                    </a:lnTo>
                    <a:lnTo>
                      <a:pt x="363666" y="13192"/>
                    </a:lnTo>
                    <a:lnTo>
                      <a:pt x="359970" y="13192"/>
                    </a:lnTo>
                    <a:lnTo>
                      <a:pt x="356284" y="9502"/>
                    </a:lnTo>
                    <a:lnTo>
                      <a:pt x="341530" y="13192"/>
                    </a:lnTo>
                    <a:lnTo>
                      <a:pt x="334148" y="13192"/>
                    </a:lnTo>
                    <a:lnTo>
                      <a:pt x="330462" y="13192"/>
                    </a:lnTo>
                    <a:lnTo>
                      <a:pt x="326775" y="16883"/>
                    </a:lnTo>
                    <a:lnTo>
                      <a:pt x="312012" y="20573"/>
                    </a:lnTo>
                    <a:lnTo>
                      <a:pt x="308326" y="20573"/>
                    </a:lnTo>
                    <a:lnTo>
                      <a:pt x="304639" y="20573"/>
                    </a:lnTo>
                    <a:lnTo>
                      <a:pt x="289876" y="27955"/>
                    </a:lnTo>
                    <a:lnTo>
                      <a:pt x="282503" y="27955"/>
                    </a:lnTo>
                    <a:lnTo>
                      <a:pt x="278808" y="27955"/>
                    </a:lnTo>
                    <a:lnTo>
                      <a:pt x="275121" y="27955"/>
                    </a:lnTo>
                    <a:lnTo>
                      <a:pt x="271435" y="27955"/>
                    </a:lnTo>
                    <a:lnTo>
                      <a:pt x="271435" y="24264"/>
                    </a:lnTo>
                    <a:lnTo>
                      <a:pt x="267749" y="20573"/>
                    </a:lnTo>
                    <a:lnTo>
                      <a:pt x="267749" y="27955"/>
                    </a:lnTo>
                    <a:lnTo>
                      <a:pt x="260367" y="31645"/>
                    </a:lnTo>
                    <a:lnTo>
                      <a:pt x="252985" y="35336"/>
                    </a:lnTo>
                    <a:lnTo>
                      <a:pt x="249299" y="39027"/>
                    </a:lnTo>
                    <a:lnTo>
                      <a:pt x="241917" y="42717"/>
                    </a:lnTo>
                    <a:lnTo>
                      <a:pt x="238231" y="46408"/>
                    </a:lnTo>
                    <a:lnTo>
                      <a:pt x="230849" y="50098"/>
                    </a:lnTo>
                    <a:lnTo>
                      <a:pt x="223477" y="50098"/>
                    </a:lnTo>
                    <a:lnTo>
                      <a:pt x="212409" y="57480"/>
                    </a:lnTo>
                    <a:lnTo>
                      <a:pt x="197655" y="64861"/>
                    </a:lnTo>
                    <a:lnTo>
                      <a:pt x="190273" y="68551"/>
                    </a:lnTo>
                    <a:lnTo>
                      <a:pt x="171823" y="79623"/>
                    </a:lnTo>
                    <a:lnTo>
                      <a:pt x="160755" y="79623"/>
                    </a:lnTo>
                    <a:lnTo>
                      <a:pt x="157069" y="83314"/>
                    </a:lnTo>
                    <a:lnTo>
                      <a:pt x="149687" y="87004"/>
                    </a:lnTo>
                    <a:lnTo>
                      <a:pt x="146000" y="87004"/>
                    </a:lnTo>
                    <a:lnTo>
                      <a:pt x="142314" y="90695"/>
                    </a:lnTo>
                    <a:lnTo>
                      <a:pt x="134932" y="94385"/>
                    </a:lnTo>
                    <a:lnTo>
                      <a:pt x="127560" y="98075"/>
                    </a:lnTo>
                    <a:lnTo>
                      <a:pt x="123864" y="101766"/>
                    </a:lnTo>
                    <a:lnTo>
                      <a:pt x="116492" y="109147"/>
                    </a:lnTo>
                    <a:lnTo>
                      <a:pt x="112796" y="116528"/>
                    </a:lnTo>
                    <a:lnTo>
                      <a:pt x="109110" y="120219"/>
                    </a:lnTo>
                    <a:lnTo>
                      <a:pt x="109110" y="123910"/>
                    </a:lnTo>
                    <a:lnTo>
                      <a:pt x="105424" y="123910"/>
                    </a:lnTo>
                    <a:lnTo>
                      <a:pt x="105424" y="127600"/>
                    </a:lnTo>
                    <a:lnTo>
                      <a:pt x="98042" y="131291"/>
                    </a:lnTo>
                    <a:lnTo>
                      <a:pt x="94356" y="134981"/>
                    </a:lnTo>
                    <a:lnTo>
                      <a:pt x="90660" y="134981"/>
                    </a:lnTo>
                    <a:lnTo>
                      <a:pt x="83288" y="142363"/>
                    </a:lnTo>
                    <a:lnTo>
                      <a:pt x="79592" y="146053"/>
                    </a:lnTo>
                    <a:lnTo>
                      <a:pt x="75906" y="146053"/>
                    </a:lnTo>
                    <a:lnTo>
                      <a:pt x="72220" y="149744"/>
                    </a:lnTo>
                    <a:lnTo>
                      <a:pt x="68524" y="157125"/>
                    </a:lnTo>
                    <a:lnTo>
                      <a:pt x="64838" y="157125"/>
                    </a:lnTo>
                    <a:lnTo>
                      <a:pt x="61152" y="160816"/>
                    </a:lnTo>
                    <a:lnTo>
                      <a:pt x="57466" y="168197"/>
                    </a:lnTo>
                    <a:lnTo>
                      <a:pt x="53770" y="179268"/>
                    </a:lnTo>
                    <a:lnTo>
                      <a:pt x="50084" y="182958"/>
                    </a:lnTo>
                    <a:lnTo>
                      <a:pt x="50084" y="186649"/>
                    </a:lnTo>
                    <a:lnTo>
                      <a:pt x="53770" y="186649"/>
                    </a:lnTo>
                    <a:lnTo>
                      <a:pt x="50084" y="190340"/>
                    </a:lnTo>
                    <a:lnTo>
                      <a:pt x="46398" y="194030"/>
                    </a:lnTo>
                    <a:lnTo>
                      <a:pt x="42702" y="197721"/>
                    </a:lnTo>
                    <a:lnTo>
                      <a:pt x="42702" y="201411"/>
                    </a:lnTo>
                    <a:lnTo>
                      <a:pt x="46398" y="201411"/>
                    </a:lnTo>
                    <a:lnTo>
                      <a:pt x="46398" y="208793"/>
                    </a:lnTo>
                    <a:lnTo>
                      <a:pt x="42702" y="216174"/>
                    </a:lnTo>
                    <a:lnTo>
                      <a:pt x="42702" y="227246"/>
                    </a:lnTo>
                    <a:lnTo>
                      <a:pt x="42702" y="234627"/>
                    </a:lnTo>
                    <a:lnTo>
                      <a:pt x="42702" y="238318"/>
                    </a:lnTo>
                    <a:lnTo>
                      <a:pt x="39016" y="242008"/>
                    </a:lnTo>
                    <a:lnTo>
                      <a:pt x="39016" y="245699"/>
                    </a:lnTo>
                    <a:lnTo>
                      <a:pt x="31634" y="249389"/>
                    </a:lnTo>
                    <a:lnTo>
                      <a:pt x="27948" y="249389"/>
                    </a:lnTo>
                    <a:lnTo>
                      <a:pt x="31634" y="253080"/>
                    </a:lnTo>
                    <a:lnTo>
                      <a:pt x="27948" y="256771"/>
                    </a:lnTo>
                    <a:lnTo>
                      <a:pt x="27948" y="260461"/>
                    </a:lnTo>
                    <a:lnTo>
                      <a:pt x="24261" y="264151"/>
                    </a:lnTo>
                    <a:lnTo>
                      <a:pt x="27948" y="264151"/>
                    </a:lnTo>
                    <a:lnTo>
                      <a:pt x="31634" y="267841"/>
                    </a:lnTo>
                    <a:lnTo>
                      <a:pt x="35330" y="275223"/>
                    </a:lnTo>
                    <a:lnTo>
                      <a:pt x="35330" y="278913"/>
                    </a:lnTo>
                    <a:lnTo>
                      <a:pt x="35330" y="282604"/>
                    </a:lnTo>
                    <a:lnTo>
                      <a:pt x="35330" y="286295"/>
                    </a:lnTo>
                    <a:lnTo>
                      <a:pt x="39016" y="293676"/>
                    </a:lnTo>
                    <a:lnTo>
                      <a:pt x="35330" y="293676"/>
                    </a:lnTo>
                    <a:lnTo>
                      <a:pt x="39016" y="297366"/>
                    </a:lnTo>
                    <a:lnTo>
                      <a:pt x="35330" y="297366"/>
                    </a:lnTo>
                    <a:lnTo>
                      <a:pt x="35330" y="293676"/>
                    </a:lnTo>
                    <a:lnTo>
                      <a:pt x="27948" y="293676"/>
                    </a:lnTo>
                    <a:lnTo>
                      <a:pt x="27948" y="297366"/>
                    </a:lnTo>
                    <a:lnTo>
                      <a:pt x="27948" y="301057"/>
                    </a:lnTo>
                    <a:lnTo>
                      <a:pt x="31634" y="301057"/>
                    </a:lnTo>
                    <a:lnTo>
                      <a:pt x="35330" y="301057"/>
                    </a:lnTo>
                    <a:lnTo>
                      <a:pt x="35330" y="308438"/>
                    </a:lnTo>
                    <a:lnTo>
                      <a:pt x="35330" y="312129"/>
                    </a:lnTo>
                    <a:lnTo>
                      <a:pt x="39016" y="308438"/>
                    </a:lnTo>
                    <a:lnTo>
                      <a:pt x="39016" y="312129"/>
                    </a:lnTo>
                    <a:lnTo>
                      <a:pt x="35330" y="312129"/>
                    </a:lnTo>
                    <a:lnTo>
                      <a:pt x="35330" y="315819"/>
                    </a:lnTo>
                    <a:lnTo>
                      <a:pt x="39016" y="315819"/>
                    </a:lnTo>
                    <a:lnTo>
                      <a:pt x="42702" y="319510"/>
                    </a:lnTo>
                    <a:lnTo>
                      <a:pt x="42702" y="323201"/>
                    </a:lnTo>
                    <a:lnTo>
                      <a:pt x="42702" y="326891"/>
                    </a:lnTo>
                    <a:lnTo>
                      <a:pt x="42702" y="330582"/>
                    </a:lnTo>
                    <a:lnTo>
                      <a:pt x="39016" y="334272"/>
                    </a:lnTo>
                    <a:lnTo>
                      <a:pt x="39016" y="341654"/>
                    </a:lnTo>
                    <a:lnTo>
                      <a:pt x="42702" y="352725"/>
                    </a:lnTo>
                    <a:lnTo>
                      <a:pt x="42702" y="360106"/>
                    </a:lnTo>
                    <a:lnTo>
                      <a:pt x="46398" y="363796"/>
                    </a:lnTo>
                    <a:lnTo>
                      <a:pt x="46398" y="365065"/>
                    </a:lnTo>
                    <a:lnTo>
                      <a:pt x="53770" y="360106"/>
                    </a:lnTo>
                    <a:lnTo>
                      <a:pt x="46398" y="367487"/>
                    </a:lnTo>
                    <a:lnTo>
                      <a:pt x="46398" y="365065"/>
                    </a:lnTo>
                    <a:lnTo>
                      <a:pt x="42702" y="367487"/>
                    </a:lnTo>
                    <a:lnTo>
                      <a:pt x="42702" y="371178"/>
                    </a:lnTo>
                    <a:lnTo>
                      <a:pt x="42702" y="378559"/>
                    </a:lnTo>
                    <a:lnTo>
                      <a:pt x="39016" y="378559"/>
                    </a:lnTo>
                    <a:lnTo>
                      <a:pt x="35330" y="382249"/>
                    </a:lnTo>
                    <a:lnTo>
                      <a:pt x="39016" y="385940"/>
                    </a:lnTo>
                    <a:lnTo>
                      <a:pt x="42702" y="393321"/>
                    </a:lnTo>
                    <a:lnTo>
                      <a:pt x="42702" y="397012"/>
                    </a:lnTo>
                    <a:lnTo>
                      <a:pt x="42702" y="404393"/>
                    </a:lnTo>
                    <a:lnTo>
                      <a:pt x="42702" y="408084"/>
                    </a:lnTo>
                    <a:lnTo>
                      <a:pt x="39016" y="411774"/>
                    </a:lnTo>
                    <a:lnTo>
                      <a:pt x="35330" y="411774"/>
                    </a:lnTo>
                    <a:lnTo>
                      <a:pt x="31634" y="411774"/>
                    </a:lnTo>
                    <a:lnTo>
                      <a:pt x="24261" y="419156"/>
                    </a:lnTo>
                    <a:lnTo>
                      <a:pt x="20566" y="422846"/>
                    </a:lnTo>
                    <a:lnTo>
                      <a:pt x="16880" y="426537"/>
                    </a:lnTo>
                    <a:lnTo>
                      <a:pt x="20566" y="430227"/>
                    </a:lnTo>
                    <a:lnTo>
                      <a:pt x="20566" y="433917"/>
                    </a:lnTo>
                    <a:lnTo>
                      <a:pt x="20566" y="437608"/>
                    </a:lnTo>
                    <a:lnTo>
                      <a:pt x="27948" y="437608"/>
                    </a:lnTo>
                    <a:lnTo>
                      <a:pt x="27948" y="441298"/>
                    </a:lnTo>
                    <a:lnTo>
                      <a:pt x="31634" y="441298"/>
                    </a:lnTo>
                    <a:lnTo>
                      <a:pt x="39016" y="448679"/>
                    </a:lnTo>
                    <a:lnTo>
                      <a:pt x="46398" y="456061"/>
                    </a:lnTo>
                    <a:lnTo>
                      <a:pt x="50084" y="456061"/>
                    </a:lnTo>
                    <a:lnTo>
                      <a:pt x="53770" y="456061"/>
                    </a:lnTo>
                    <a:lnTo>
                      <a:pt x="57466" y="456061"/>
                    </a:lnTo>
                    <a:lnTo>
                      <a:pt x="64838" y="456061"/>
                    </a:lnTo>
                    <a:lnTo>
                      <a:pt x="64838" y="452370"/>
                    </a:lnTo>
                    <a:lnTo>
                      <a:pt x="75906" y="456061"/>
                    </a:lnTo>
                    <a:lnTo>
                      <a:pt x="83288" y="456061"/>
                    </a:lnTo>
                    <a:lnTo>
                      <a:pt x="86974" y="459751"/>
                    </a:lnTo>
                    <a:lnTo>
                      <a:pt x="101728" y="467133"/>
                    </a:lnTo>
                    <a:lnTo>
                      <a:pt x="109110" y="467133"/>
                    </a:lnTo>
                    <a:lnTo>
                      <a:pt x="109110" y="470823"/>
                    </a:lnTo>
                    <a:lnTo>
                      <a:pt x="116492" y="470823"/>
                    </a:lnTo>
                    <a:lnTo>
                      <a:pt x="120178" y="467133"/>
                    </a:lnTo>
                    <a:lnTo>
                      <a:pt x="123864" y="467133"/>
                    </a:lnTo>
                    <a:lnTo>
                      <a:pt x="123864" y="463442"/>
                    </a:lnTo>
                    <a:lnTo>
                      <a:pt x="127560" y="459751"/>
                    </a:lnTo>
                    <a:lnTo>
                      <a:pt x="127560" y="456061"/>
                    </a:lnTo>
                    <a:lnTo>
                      <a:pt x="134932" y="452370"/>
                    </a:lnTo>
                    <a:lnTo>
                      <a:pt x="142314" y="456061"/>
                    </a:lnTo>
                    <a:lnTo>
                      <a:pt x="146000" y="452370"/>
                    </a:lnTo>
                    <a:lnTo>
                      <a:pt x="153382" y="448679"/>
                    </a:lnTo>
                    <a:lnTo>
                      <a:pt x="157069" y="448679"/>
                    </a:lnTo>
                    <a:lnTo>
                      <a:pt x="160755" y="452370"/>
                    </a:lnTo>
                    <a:lnTo>
                      <a:pt x="160755" y="459751"/>
                    </a:lnTo>
                    <a:lnTo>
                      <a:pt x="164450" y="459751"/>
                    </a:lnTo>
                    <a:lnTo>
                      <a:pt x="168137" y="459751"/>
                    </a:lnTo>
                    <a:lnTo>
                      <a:pt x="175518" y="459751"/>
                    </a:lnTo>
                    <a:lnTo>
                      <a:pt x="179205" y="459751"/>
                    </a:lnTo>
                    <a:lnTo>
                      <a:pt x="182891" y="459751"/>
                    </a:lnTo>
                    <a:lnTo>
                      <a:pt x="182891" y="463442"/>
                    </a:lnTo>
                    <a:lnTo>
                      <a:pt x="186587" y="463442"/>
                    </a:lnTo>
                    <a:lnTo>
                      <a:pt x="190273" y="459751"/>
                    </a:lnTo>
                    <a:lnTo>
                      <a:pt x="190273" y="463442"/>
                    </a:lnTo>
                    <a:lnTo>
                      <a:pt x="197655" y="467133"/>
                    </a:lnTo>
                    <a:lnTo>
                      <a:pt x="193959" y="459751"/>
                    </a:lnTo>
                    <a:lnTo>
                      <a:pt x="205027" y="463442"/>
                    </a:lnTo>
                    <a:lnTo>
                      <a:pt x="208713" y="463442"/>
                    </a:lnTo>
                    <a:lnTo>
                      <a:pt x="223477" y="481895"/>
                    </a:lnTo>
                    <a:lnTo>
                      <a:pt x="227163" y="489276"/>
                    </a:lnTo>
                    <a:lnTo>
                      <a:pt x="227163" y="492967"/>
                    </a:lnTo>
                    <a:lnTo>
                      <a:pt x="230849" y="489276"/>
                    </a:lnTo>
                    <a:lnTo>
                      <a:pt x="238231" y="481895"/>
                    </a:lnTo>
                    <a:lnTo>
                      <a:pt x="241917" y="481895"/>
                    </a:lnTo>
                    <a:lnTo>
                      <a:pt x="241917" y="485586"/>
                    </a:lnTo>
                    <a:lnTo>
                      <a:pt x="245613" y="485586"/>
                    </a:lnTo>
                    <a:lnTo>
                      <a:pt x="249299" y="485586"/>
                    </a:lnTo>
                    <a:lnTo>
                      <a:pt x="249299" y="489276"/>
                    </a:lnTo>
                    <a:lnTo>
                      <a:pt x="252985" y="489276"/>
                    </a:lnTo>
                    <a:lnTo>
                      <a:pt x="256681" y="489276"/>
                    </a:lnTo>
                    <a:lnTo>
                      <a:pt x="260367" y="492967"/>
                    </a:lnTo>
                    <a:lnTo>
                      <a:pt x="264053" y="492967"/>
                    </a:lnTo>
                    <a:lnTo>
                      <a:pt x="267749" y="492967"/>
                    </a:lnTo>
                    <a:lnTo>
                      <a:pt x="271435" y="492967"/>
                    </a:lnTo>
                    <a:lnTo>
                      <a:pt x="275121" y="489276"/>
                    </a:lnTo>
                    <a:lnTo>
                      <a:pt x="278808" y="489276"/>
                    </a:lnTo>
                    <a:lnTo>
                      <a:pt x="278808" y="485586"/>
                    </a:lnTo>
                    <a:lnTo>
                      <a:pt x="282503" y="485586"/>
                    </a:lnTo>
                    <a:lnTo>
                      <a:pt x="286189" y="481895"/>
                    </a:lnTo>
                    <a:lnTo>
                      <a:pt x="286189" y="478204"/>
                    </a:lnTo>
                    <a:lnTo>
                      <a:pt x="289876" y="474514"/>
                    </a:lnTo>
                    <a:lnTo>
                      <a:pt x="289876" y="470823"/>
                    </a:lnTo>
                    <a:lnTo>
                      <a:pt x="293571" y="467133"/>
                    </a:lnTo>
                    <a:lnTo>
                      <a:pt x="300944" y="467133"/>
                    </a:lnTo>
                    <a:lnTo>
                      <a:pt x="300944" y="463442"/>
                    </a:lnTo>
                    <a:lnTo>
                      <a:pt x="308326" y="467133"/>
                    </a:lnTo>
                    <a:lnTo>
                      <a:pt x="308326" y="463442"/>
                    </a:lnTo>
                    <a:lnTo>
                      <a:pt x="315707" y="459751"/>
                    </a:lnTo>
                    <a:lnTo>
                      <a:pt x="315707" y="467133"/>
                    </a:lnTo>
                    <a:lnTo>
                      <a:pt x="319394" y="474514"/>
                    </a:lnTo>
                    <a:lnTo>
                      <a:pt x="323080" y="478204"/>
                    </a:lnTo>
                    <a:lnTo>
                      <a:pt x="326775" y="478204"/>
                    </a:lnTo>
                    <a:lnTo>
                      <a:pt x="326775" y="481895"/>
                    </a:lnTo>
                    <a:lnTo>
                      <a:pt x="330462" y="478204"/>
                    </a:lnTo>
                    <a:lnTo>
                      <a:pt x="341530" y="474514"/>
                    </a:lnTo>
                    <a:lnTo>
                      <a:pt x="341530" y="481895"/>
                    </a:lnTo>
                    <a:lnTo>
                      <a:pt x="348912" y="478204"/>
                    </a:lnTo>
                    <a:lnTo>
                      <a:pt x="352598" y="474514"/>
                    </a:lnTo>
                    <a:lnTo>
                      <a:pt x="356284" y="474514"/>
                    </a:lnTo>
                    <a:lnTo>
                      <a:pt x="356284" y="470823"/>
                    </a:lnTo>
                    <a:lnTo>
                      <a:pt x="352598" y="463442"/>
                    </a:lnTo>
                    <a:lnTo>
                      <a:pt x="356284" y="463442"/>
                    </a:lnTo>
                    <a:lnTo>
                      <a:pt x="367352" y="463442"/>
                    </a:lnTo>
                    <a:lnTo>
                      <a:pt x="371038" y="459751"/>
                    </a:lnTo>
                    <a:lnTo>
                      <a:pt x="374734" y="456061"/>
                    </a:lnTo>
                    <a:lnTo>
                      <a:pt x="385802" y="448679"/>
                    </a:lnTo>
                    <a:lnTo>
                      <a:pt x="396870" y="441298"/>
                    </a:lnTo>
                    <a:lnTo>
                      <a:pt x="404242" y="433917"/>
                    </a:lnTo>
                    <a:lnTo>
                      <a:pt x="418996" y="426537"/>
                    </a:lnTo>
                    <a:lnTo>
                      <a:pt x="422692" y="422846"/>
                    </a:lnTo>
                    <a:lnTo>
                      <a:pt x="426378" y="419156"/>
                    </a:lnTo>
                    <a:lnTo>
                      <a:pt x="437446" y="404393"/>
                    </a:lnTo>
                    <a:lnTo>
                      <a:pt x="444828" y="400703"/>
                    </a:lnTo>
                    <a:lnTo>
                      <a:pt x="444828" y="397012"/>
                    </a:lnTo>
                    <a:lnTo>
                      <a:pt x="444828" y="393321"/>
                    </a:lnTo>
                    <a:lnTo>
                      <a:pt x="452201" y="389631"/>
                    </a:lnTo>
                    <a:lnTo>
                      <a:pt x="463269" y="393321"/>
                    </a:lnTo>
                    <a:lnTo>
                      <a:pt x="474337" y="393321"/>
                    </a:lnTo>
                    <a:lnTo>
                      <a:pt x="489100" y="408084"/>
                    </a:lnTo>
                    <a:lnTo>
                      <a:pt x="503855" y="397012"/>
                    </a:lnTo>
                    <a:lnTo>
                      <a:pt x="514923" y="385940"/>
                    </a:lnTo>
                    <a:lnTo>
                      <a:pt x="518609" y="382249"/>
                    </a:lnTo>
                    <a:lnTo>
                      <a:pt x="522295" y="378559"/>
                    </a:lnTo>
                    <a:lnTo>
                      <a:pt x="522295" y="374868"/>
                    </a:lnTo>
                    <a:lnTo>
                      <a:pt x="533363" y="356415"/>
                    </a:lnTo>
                    <a:lnTo>
                      <a:pt x="529677" y="352725"/>
                    </a:lnTo>
                    <a:lnTo>
                      <a:pt x="525991" y="345344"/>
                    </a:lnTo>
                    <a:lnTo>
                      <a:pt x="522295" y="337963"/>
                    </a:lnTo>
                    <a:lnTo>
                      <a:pt x="507541" y="315819"/>
                    </a:lnTo>
                    <a:lnTo>
                      <a:pt x="500159" y="304748"/>
                    </a:lnTo>
                    <a:lnTo>
                      <a:pt x="500159" y="301057"/>
                    </a:lnTo>
                    <a:lnTo>
                      <a:pt x="500159" y="289985"/>
                    </a:lnTo>
                    <a:lnTo>
                      <a:pt x="503855" y="278913"/>
                    </a:lnTo>
                    <a:lnTo>
                      <a:pt x="496473" y="275223"/>
                    </a:lnTo>
                    <a:lnTo>
                      <a:pt x="485405" y="275223"/>
                    </a:lnTo>
                    <a:lnTo>
                      <a:pt x="474337" y="267841"/>
                    </a:lnTo>
                    <a:lnTo>
                      <a:pt x="478033" y="260461"/>
                    </a:lnTo>
                    <a:lnTo>
                      <a:pt x="466964" y="256771"/>
                    </a:lnTo>
                    <a:lnTo>
                      <a:pt x="466964" y="253080"/>
                    </a:lnTo>
                    <a:lnTo>
                      <a:pt x="463269" y="249389"/>
                    </a:lnTo>
                    <a:lnTo>
                      <a:pt x="455896" y="245699"/>
                    </a:lnTo>
                    <a:lnTo>
                      <a:pt x="452201" y="242008"/>
                    </a:lnTo>
                    <a:lnTo>
                      <a:pt x="448515" y="242008"/>
                    </a:lnTo>
                    <a:lnTo>
                      <a:pt x="441133" y="242008"/>
                    </a:lnTo>
                    <a:lnTo>
                      <a:pt x="433760" y="242008"/>
                    </a:lnTo>
                    <a:lnTo>
                      <a:pt x="426378" y="242008"/>
                    </a:lnTo>
                    <a:lnTo>
                      <a:pt x="422692" y="242008"/>
                    </a:lnTo>
                    <a:lnTo>
                      <a:pt x="418996" y="234627"/>
                    </a:lnTo>
                    <a:lnTo>
                      <a:pt x="415310" y="230936"/>
                    </a:lnTo>
                    <a:lnTo>
                      <a:pt x="411624" y="227246"/>
                    </a:lnTo>
                    <a:lnTo>
                      <a:pt x="411624" y="212483"/>
                    </a:lnTo>
                    <a:lnTo>
                      <a:pt x="411624" y="208793"/>
                    </a:lnTo>
                    <a:lnTo>
                      <a:pt x="411624" y="201411"/>
                    </a:lnTo>
                    <a:lnTo>
                      <a:pt x="411624" y="194030"/>
                    </a:lnTo>
                    <a:lnTo>
                      <a:pt x="415310" y="190340"/>
                    </a:lnTo>
                    <a:lnTo>
                      <a:pt x="418996" y="182958"/>
                    </a:lnTo>
                    <a:lnTo>
                      <a:pt x="418996" y="179268"/>
                    </a:lnTo>
                    <a:lnTo>
                      <a:pt x="422692" y="175578"/>
                    </a:lnTo>
                    <a:lnTo>
                      <a:pt x="426378" y="175578"/>
                    </a:lnTo>
                    <a:lnTo>
                      <a:pt x="430065" y="171888"/>
                    </a:lnTo>
                    <a:lnTo>
                      <a:pt x="433760" y="164506"/>
                    </a:lnTo>
                    <a:lnTo>
                      <a:pt x="433760" y="160816"/>
                    </a:lnTo>
                    <a:lnTo>
                      <a:pt x="433760" y="157125"/>
                    </a:lnTo>
                    <a:lnTo>
                      <a:pt x="433760" y="149744"/>
                    </a:lnTo>
                    <a:lnTo>
                      <a:pt x="430065" y="149744"/>
                    </a:lnTo>
                    <a:lnTo>
                      <a:pt x="426378" y="149744"/>
                    </a:lnTo>
                    <a:lnTo>
                      <a:pt x="426378" y="146053"/>
                    </a:lnTo>
                    <a:lnTo>
                      <a:pt x="430065" y="142363"/>
                    </a:lnTo>
                    <a:lnTo>
                      <a:pt x="433760" y="138672"/>
                    </a:lnTo>
                    <a:lnTo>
                      <a:pt x="437446" y="134981"/>
                    </a:lnTo>
                    <a:lnTo>
                      <a:pt x="437446" y="131291"/>
                    </a:lnTo>
                    <a:lnTo>
                      <a:pt x="437446" y="127600"/>
                    </a:lnTo>
                    <a:lnTo>
                      <a:pt x="441133" y="123910"/>
                    </a:lnTo>
                    <a:lnTo>
                      <a:pt x="441133" y="120219"/>
                    </a:lnTo>
                    <a:lnTo>
                      <a:pt x="444828" y="120219"/>
                    </a:lnTo>
                    <a:lnTo>
                      <a:pt x="448515" y="116528"/>
                    </a:lnTo>
                    <a:lnTo>
                      <a:pt x="444828" y="116528"/>
                    </a:lnTo>
                    <a:lnTo>
                      <a:pt x="444828" y="112838"/>
                    </a:lnTo>
                    <a:lnTo>
                      <a:pt x="444828" y="109147"/>
                    </a:lnTo>
                    <a:lnTo>
                      <a:pt x="444828" y="105457"/>
                    </a:lnTo>
                    <a:lnTo>
                      <a:pt x="448515" y="101766"/>
                    </a:lnTo>
                    <a:lnTo>
                      <a:pt x="452201" y="101766"/>
                    </a:lnTo>
                    <a:lnTo>
                      <a:pt x="455896" y="98075"/>
                    </a:lnTo>
                    <a:lnTo>
                      <a:pt x="455896" y="94385"/>
                    </a:lnTo>
                    <a:lnTo>
                      <a:pt x="459582" y="90695"/>
                    </a:lnTo>
                    <a:lnTo>
                      <a:pt x="463269" y="90695"/>
                    </a:lnTo>
                    <a:lnTo>
                      <a:pt x="463269" y="87004"/>
                    </a:lnTo>
                    <a:lnTo>
                      <a:pt x="459582" y="87004"/>
                    </a:lnTo>
                    <a:lnTo>
                      <a:pt x="459582" y="83314"/>
                    </a:lnTo>
                    <a:lnTo>
                      <a:pt x="459582" y="61170"/>
                    </a:lnTo>
                    <a:lnTo>
                      <a:pt x="455896" y="61170"/>
                    </a:lnTo>
                    <a:lnTo>
                      <a:pt x="455896" y="57480"/>
                    </a:lnTo>
                    <a:lnTo>
                      <a:pt x="448515" y="57480"/>
                    </a:lnTo>
                    <a:lnTo>
                      <a:pt x="444828" y="57480"/>
                    </a:lnTo>
                    <a:lnTo>
                      <a:pt x="441133" y="61170"/>
                    </a:lnTo>
                    <a:lnTo>
                      <a:pt x="437446" y="61170"/>
                    </a:lnTo>
                    <a:lnTo>
                      <a:pt x="433760" y="61170"/>
                    </a:lnTo>
                    <a:lnTo>
                      <a:pt x="437446" y="64861"/>
                    </a:lnTo>
                    <a:lnTo>
                      <a:pt x="437446" y="68551"/>
                    </a:lnTo>
                    <a:lnTo>
                      <a:pt x="433760" y="68551"/>
                    </a:lnTo>
                    <a:lnTo>
                      <a:pt x="433760" y="64861"/>
                    </a:lnTo>
                    <a:lnTo>
                      <a:pt x="430065" y="61170"/>
                    </a:lnTo>
                    <a:lnTo>
                      <a:pt x="430065" y="57480"/>
                    </a:lnTo>
                    <a:lnTo>
                      <a:pt x="426378" y="57480"/>
                    </a:lnTo>
                    <a:lnTo>
                      <a:pt x="430065" y="53789"/>
                    </a:lnTo>
                    <a:lnTo>
                      <a:pt x="426378" y="53789"/>
                    </a:lnTo>
                    <a:lnTo>
                      <a:pt x="422692" y="50098"/>
                    </a:lnTo>
                    <a:lnTo>
                      <a:pt x="422692" y="53789"/>
                    </a:lnTo>
                    <a:lnTo>
                      <a:pt x="418996" y="61170"/>
                    </a:lnTo>
                    <a:lnTo>
                      <a:pt x="418996" y="57480"/>
                    </a:lnTo>
                    <a:lnTo>
                      <a:pt x="418996" y="53789"/>
                    </a:lnTo>
                    <a:lnTo>
                      <a:pt x="411624" y="50098"/>
                    </a:lnTo>
                    <a:lnTo>
                      <a:pt x="407938" y="53789"/>
                    </a:lnTo>
                    <a:lnTo>
                      <a:pt x="407938" y="57480"/>
                    </a:lnTo>
                    <a:lnTo>
                      <a:pt x="415310" y="64861"/>
                    </a:lnTo>
                    <a:lnTo>
                      <a:pt x="415310" y="68551"/>
                    </a:lnTo>
                    <a:lnTo>
                      <a:pt x="411624" y="68551"/>
                    </a:lnTo>
                    <a:lnTo>
                      <a:pt x="411624" y="64861"/>
                    </a:lnTo>
                    <a:lnTo>
                      <a:pt x="407938" y="68551"/>
                    </a:lnTo>
                    <a:lnTo>
                      <a:pt x="407938" y="64861"/>
                    </a:lnTo>
                    <a:lnTo>
                      <a:pt x="404242" y="61170"/>
                    </a:lnTo>
                    <a:lnTo>
                      <a:pt x="404242" y="57480"/>
                    </a:lnTo>
                    <a:lnTo>
                      <a:pt x="404242" y="53789"/>
                    </a:lnTo>
                    <a:lnTo>
                      <a:pt x="404242" y="46408"/>
                    </a:lnTo>
                    <a:lnTo>
                      <a:pt x="400556" y="42717"/>
                    </a:lnTo>
                    <a:lnTo>
                      <a:pt x="400556" y="39027"/>
                    </a:lnTo>
                    <a:lnTo>
                      <a:pt x="404242" y="35336"/>
                    </a:lnTo>
                    <a:lnTo>
                      <a:pt x="400556" y="35336"/>
                    </a:lnTo>
                    <a:lnTo>
                      <a:pt x="400556" y="31645"/>
                    </a:lnTo>
                    <a:lnTo>
                      <a:pt x="400556" y="27955"/>
                    </a:lnTo>
                    <a:lnTo>
                      <a:pt x="396870" y="24264"/>
                    </a:lnTo>
                    <a:lnTo>
                      <a:pt x="400556" y="16883"/>
                    </a:lnTo>
                    <a:lnTo>
                      <a:pt x="400556" y="13192"/>
                    </a:lnTo>
                    <a:lnTo>
                      <a:pt x="400556" y="9502"/>
                    </a:lnTo>
                    <a:lnTo>
                      <a:pt x="407938" y="5812"/>
                    </a:lnTo>
                    <a:close/>
                    <a:moveTo>
                      <a:pt x="430065" y="53789"/>
                    </a:moveTo>
                    <a:lnTo>
                      <a:pt x="430065" y="57480"/>
                    </a:lnTo>
                    <a:lnTo>
                      <a:pt x="433760" y="61170"/>
                    </a:lnTo>
                    <a:lnTo>
                      <a:pt x="430065" y="53789"/>
                    </a:lnTo>
                    <a:close/>
                    <a:moveTo>
                      <a:pt x="24261" y="264151"/>
                    </a:moveTo>
                    <a:lnTo>
                      <a:pt x="13193" y="275223"/>
                    </a:lnTo>
                    <a:lnTo>
                      <a:pt x="9498" y="275223"/>
                    </a:lnTo>
                    <a:lnTo>
                      <a:pt x="5812" y="275223"/>
                    </a:lnTo>
                    <a:lnTo>
                      <a:pt x="9498" y="278913"/>
                    </a:lnTo>
                    <a:lnTo>
                      <a:pt x="13193" y="278913"/>
                    </a:lnTo>
                    <a:lnTo>
                      <a:pt x="16880" y="275223"/>
                    </a:lnTo>
                    <a:lnTo>
                      <a:pt x="24261" y="264151"/>
                    </a:lnTo>
                    <a:close/>
                    <a:moveTo>
                      <a:pt x="50084" y="190340"/>
                    </a:moveTo>
                    <a:lnTo>
                      <a:pt x="50084" y="186649"/>
                    </a:lnTo>
                    <a:lnTo>
                      <a:pt x="46398" y="190340"/>
                    </a:lnTo>
                    <a:lnTo>
                      <a:pt x="50084" y="190340"/>
                    </a:lnTo>
                    <a:close/>
                    <a:moveTo>
                      <a:pt x="407938" y="75933"/>
                    </a:moveTo>
                    <a:lnTo>
                      <a:pt x="411624" y="75933"/>
                    </a:lnTo>
                    <a:lnTo>
                      <a:pt x="411624" y="79623"/>
                    </a:lnTo>
                    <a:lnTo>
                      <a:pt x="407938" y="75933"/>
                    </a:lnTo>
                    <a:close/>
                    <a:moveTo>
                      <a:pt x="400556" y="79623"/>
                    </a:moveTo>
                    <a:lnTo>
                      <a:pt x="404242" y="79623"/>
                    </a:lnTo>
                    <a:lnTo>
                      <a:pt x="400556" y="83314"/>
                    </a:lnTo>
                    <a:lnTo>
                      <a:pt x="400556" y="79623"/>
                    </a:lnTo>
                    <a:close/>
                    <a:moveTo>
                      <a:pt x="39016" y="301057"/>
                    </a:moveTo>
                    <a:lnTo>
                      <a:pt x="42702" y="301057"/>
                    </a:lnTo>
                    <a:lnTo>
                      <a:pt x="39016" y="304748"/>
                    </a:lnTo>
                    <a:lnTo>
                      <a:pt x="39016" y="301057"/>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70" name="Freeform: Shape 69">
                <a:extLst>
                  <a:ext uri="{FF2B5EF4-FFF2-40B4-BE49-F238E27FC236}">
                    <a16:creationId xmlns:a16="http://schemas.microsoft.com/office/drawing/2014/main" id="{E1E40D07-ECED-4DC3-BBC3-6827DD2BE784}"/>
                  </a:ext>
                </a:extLst>
              </p:cNvPr>
              <p:cNvSpPr/>
              <p:nvPr/>
            </p:nvSpPr>
            <p:spPr>
              <a:xfrm>
                <a:off x="4055166" y="1246309"/>
                <a:ext cx="21660" cy="43320"/>
              </a:xfrm>
              <a:custGeom>
                <a:avLst/>
                <a:gdLst>
                  <a:gd name="connsiteX0" fmla="*/ 13193 w 9525"/>
                  <a:gd name="connsiteY0" fmla="*/ 9502 h 19050"/>
                  <a:gd name="connsiteX1" fmla="*/ 13193 w 9525"/>
                  <a:gd name="connsiteY1" fmla="*/ 13193 h 19050"/>
                  <a:gd name="connsiteX2" fmla="*/ 9507 w 9525"/>
                  <a:gd name="connsiteY2" fmla="*/ 16884 h 19050"/>
                  <a:gd name="connsiteX3" fmla="*/ 5812 w 9525"/>
                  <a:gd name="connsiteY3" fmla="*/ 16884 h 19050"/>
                  <a:gd name="connsiteX4" fmla="*/ 5812 w 9525"/>
                  <a:gd name="connsiteY4" fmla="*/ 16884 h 19050"/>
                  <a:gd name="connsiteX5" fmla="*/ 5812 w 9525"/>
                  <a:gd name="connsiteY5" fmla="*/ 13193 h 19050"/>
                  <a:gd name="connsiteX6" fmla="*/ 5812 w 9525"/>
                  <a:gd name="connsiteY6" fmla="*/ 9502 h 19050"/>
                  <a:gd name="connsiteX7" fmla="*/ 5812 w 9525"/>
                  <a:gd name="connsiteY7" fmla="*/ 9502 h 19050"/>
                  <a:gd name="connsiteX8" fmla="*/ 9507 w 9525"/>
                  <a:gd name="connsiteY8" fmla="*/ 5812 h 19050"/>
                  <a:gd name="connsiteX9" fmla="*/ 9507 w 9525"/>
                  <a:gd name="connsiteY9" fmla="*/ 5812 h 19050"/>
                  <a:gd name="connsiteX10" fmla="*/ 13193 w 9525"/>
                  <a:gd name="connsiteY10" fmla="*/ 5812 h 19050"/>
                  <a:gd name="connsiteX11" fmla="*/ 13193 w 9525"/>
                  <a:gd name="connsiteY11" fmla="*/ 950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25" h="19050">
                    <a:moveTo>
                      <a:pt x="13193" y="9502"/>
                    </a:moveTo>
                    <a:lnTo>
                      <a:pt x="13193" y="13193"/>
                    </a:lnTo>
                    <a:lnTo>
                      <a:pt x="9507" y="16884"/>
                    </a:lnTo>
                    <a:lnTo>
                      <a:pt x="5812" y="16884"/>
                    </a:lnTo>
                    <a:lnTo>
                      <a:pt x="5812" y="16884"/>
                    </a:lnTo>
                    <a:lnTo>
                      <a:pt x="5812" y="13193"/>
                    </a:lnTo>
                    <a:lnTo>
                      <a:pt x="5812" y="9502"/>
                    </a:lnTo>
                    <a:lnTo>
                      <a:pt x="5812" y="9502"/>
                    </a:lnTo>
                    <a:lnTo>
                      <a:pt x="9507" y="5812"/>
                    </a:lnTo>
                    <a:lnTo>
                      <a:pt x="9507" y="5812"/>
                    </a:lnTo>
                    <a:lnTo>
                      <a:pt x="13193" y="5812"/>
                    </a:lnTo>
                    <a:lnTo>
                      <a:pt x="13193" y="9502"/>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71" name="Freeform: Shape 70">
                <a:extLst>
                  <a:ext uri="{FF2B5EF4-FFF2-40B4-BE49-F238E27FC236}">
                    <a16:creationId xmlns:a16="http://schemas.microsoft.com/office/drawing/2014/main" id="{946F5703-1D4F-4C6F-9C93-91C5E95313FA}"/>
                  </a:ext>
                </a:extLst>
              </p:cNvPr>
              <p:cNvSpPr/>
              <p:nvPr/>
            </p:nvSpPr>
            <p:spPr>
              <a:xfrm>
                <a:off x="3585361" y="1221131"/>
                <a:ext cx="411540" cy="108300"/>
              </a:xfrm>
              <a:custGeom>
                <a:avLst/>
                <a:gdLst>
                  <a:gd name="connsiteX0" fmla="*/ 64847 w 180975"/>
                  <a:gd name="connsiteY0" fmla="*/ 16883 h 47625"/>
                  <a:gd name="connsiteX1" fmla="*/ 75906 w 180975"/>
                  <a:gd name="connsiteY1" fmla="*/ 16883 h 47625"/>
                  <a:gd name="connsiteX2" fmla="*/ 86974 w 180975"/>
                  <a:gd name="connsiteY2" fmla="*/ 16883 h 47625"/>
                  <a:gd name="connsiteX3" fmla="*/ 134942 w 180975"/>
                  <a:gd name="connsiteY3" fmla="*/ 13193 h 47625"/>
                  <a:gd name="connsiteX4" fmla="*/ 157068 w 180975"/>
                  <a:gd name="connsiteY4" fmla="*/ 9502 h 47625"/>
                  <a:gd name="connsiteX5" fmla="*/ 168137 w 180975"/>
                  <a:gd name="connsiteY5" fmla="*/ 9502 h 47625"/>
                  <a:gd name="connsiteX6" fmla="*/ 175519 w 180975"/>
                  <a:gd name="connsiteY6" fmla="*/ 13193 h 47625"/>
                  <a:gd name="connsiteX7" fmla="*/ 179205 w 180975"/>
                  <a:gd name="connsiteY7" fmla="*/ 13193 h 47625"/>
                  <a:gd name="connsiteX8" fmla="*/ 179205 w 180975"/>
                  <a:gd name="connsiteY8" fmla="*/ 16883 h 47625"/>
                  <a:gd name="connsiteX9" fmla="*/ 179205 w 180975"/>
                  <a:gd name="connsiteY9" fmla="*/ 16883 h 47625"/>
                  <a:gd name="connsiteX10" fmla="*/ 179205 w 180975"/>
                  <a:gd name="connsiteY10" fmla="*/ 20574 h 47625"/>
                  <a:gd name="connsiteX11" fmla="*/ 175519 w 180975"/>
                  <a:gd name="connsiteY11" fmla="*/ 20574 h 47625"/>
                  <a:gd name="connsiteX12" fmla="*/ 164450 w 180975"/>
                  <a:gd name="connsiteY12" fmla="*/ 20574 h 47625"/>
                  <a:gd name="connsiteX13" fmla="*/ 157068 w 180975"/>
                  <a:gd name="connsiteY13" fmla="*/ 20574 h 47625"/>
                  <a:gd name="connsiteX14" fmla="*/ 146001 w 180975"/>
                  <a:gd name="connsiteY14" fmla="*/ 20574 h 47625"/>
                  <a:gd name="connsiteX15" fmla="*/ 138628 w 180975"/>
                  <a:gd name="connsiteY15" fmla="*/ 24264 h 47625"/>
                  <a:gd name="connsiteX16" fmla="*/ 138628 w 180975"/>
                  <a:gd name="connsiteY16" fmla="*/ 24264 h 47625"/>
                  <a:gd name="connsiteX17" fmla="*/ 131246 w 180975"/>
                  <a:gd name="connsiteY17" fmla="*/ 27955 h 47625"/>
                  <a:gd name="connsiteX18" fmla="*/ 127560 w 180975"/>
                  <a:gd name="connsiteY18" fmla="*/ 27955 h 47625"/>
                  <a:gd name="connsiteX19" fmla="*/ 127560 w 180975"/>
                  <a:gd name="connsiteY19" fmla="*/ 27955 h 47625"/>
                  <a:gd name="connsiteX20" fmla="*/ 127560 w 180975"/>
                  <a:gd name="connsiteY20" fmla="*/ 27955 h 47625"/>
                  <a:gd name="connsiteX21" fmla="*/ 112806 w 180975"/>
                  <a:gd name="connsiteY21" fmla="*/ 31645 h 47625"/>
                  <a:gd name="connsiteX22" fmla="*/ 98042 w 180975"/>
                  <a:gd name="connsiteY22" fmla="*/ 35336 h 47625"/>
                  <a:gd name="connsiteX23" fmla="*/ 90670 w 180975"/>
                  <a:gd name="connsiteY23" fmla="*/ 35336 h 47625"/>
                  <a:gd name="connsiteX24" fmla="*/ 86974 w 180975"/>
                  <a:gd name="connsiteY24" fmla="*/ 35336 h 47625"/>
                  <a:gd name="connsiteX25" fmla="*/ 83288 w 180975"/>
                  <a:gd name="connsiteY25" fmla="*/ 35336 h 47625"/>
                  <a:gd name="connsiteX26" fmla="*/ 72220 w 180975"/>
                  <a:gd name="connsiteY26" fmla="*/ 31645 h 47625"/>
                  <a:gd name="connsiteX27" fmla="*/ 68534 w 180975"/>
                  <a:gd name="connsiteY27" fmla="*/ 31645 h 47625"/>
                  <a:gd name="connsiteX28" fmla="*/ 61152 w 180975"/>
                  <a:gd name="connsiteY28" fmla="*/ 31645 h 47625"/>
                  <a:gd name="connsiteX29" fmla="*/ 57466 w 180975"/>
                  <a:gd name="connsiteY29" fmla="*/ 31645 h 47625"/>
                  <a:gd name="connsiteX30" fmla="*/ 57466 w 180975"/>
                  <a:gd name="connsiteY30" fmla="*/ 35336 h 47625"/>
                  <a:gd name="connsiteX31" fmla="*/ 53779 w 180975"/>
                  <a:gd name="connsiteY31" fmla="*/ 39027 h 47625"/>
                  <a:gd name="connsiteX32" fmla="*/ 50084 w 180975"/>
                  <a:gd name="connsiteY32" fmla="*/ 42717 h 47625"/>
                  <a:gd name="connsiteX33" fmla="*/ 42711 w 180975"/>
                  <a:gd name="connsiteY33" fmla="*/ 42717 h 47625"/>
                  <a:gd name="connsiteX34" fmla="*/ 39016 w 180975"/>
                  <a:gd name="connsiteY34" fmla="*/ 46408 h 47625"/>
                  <a:gd name="connsiteX35" fmla="*/ 35330 w 180975"/>
                  <a:gd name="connsiteY35" fmla="*/ 46408 h 47625"/>
                  <a:gd name="connsiteX36" fmla="*/ 31643 w 180975"/>
                  <a:gd name="connsiteY36" fmla="*/ 46408 h 47625"/>
                  <a:gd name="connsiteX37" fmla="*/ 35330 w 180975"/>
                  <a:gd name="connsiteY37" fmla="*/ 46408 h 47625"/>
                  <a:gd name="connsiteX38" fmla="*/ 31643 w 180975"/>
                  <a:gd name="connsiteY38" fmla="*/ 50098 h 47625"/>
                  <a:gd name="connsiteX39" fmla="*/ 27948 w 180975"/>
                  <a:gd name="connsiteY39" fmla="*/ 46408 h 47625"/>
                  <a:gd name="connsiteX40" fmla="*/ 20575 w 180975"/>
                  <a:gd name="connsiteY40" fmla="*/ 46408 h 47625"/>
                  <a:gd name="connsiteX41" fmla="*/ 16880 w 180975"/>
                  <a:gd name="connsiteY41" fmla="*/ 42717 h 47625"/>
                  <a:gd name="connsiteX42" fmla="*/ 9507 w 180975"/>
                  <a:gd name="connsiteY42" fmla="*/ 39027 h 47625"/>
                  <a:gd name="connsiteX43" fmla="*/ 5812 w 180975"/>
                  <a:gd name="connsiteY43" fmla="*/ 31645 h 47625"/>
                  <a:gd name="connsiteX44" fmla="*/ 5812 w 180975"/>
                  <a:gd name="connsiteY44" fmla="*/ 27955 h 47625"/>
                  <a:gd name="connsiteX45" fmla="*/ 9507 w 180975"/>
                  <a:gd name="connsiteY45" fmla="*/ 24264 h 47625"/>
                  <a:gd name="connsiteX46" fmla="*/ 13193 w 180975"/>
                  <a:gd name="connsiteY46" fmla="*/ 16883 h 47625"/>
                  <a:gd name="connsiteX47" fmla="*/ 16880 w 180975"/>
                  <a:gd name="connsiteY47" fmla="*/ 13193 h 47625"/>
                  <a:gd name="connsiteX48" fmla="*/ 24261 w 180975"/>
                  <a:gd name="connsiteY48" fmla="*/ 5812 h 47625"/>
                  <a:gd name="connsiteX49" fmla="*/ 27948 w 180975"/>
                  <a:gd name="connsiteY49" fmla="*/ 5812 h 47625"/>
                  <a:gd name="connsiteX50" fmla="*/ 31643 w 180975"/>
                  <a:gd name="connsiteY50" fmla="*/ 5812 h 47625"/>
                  <a:gd name="connsiteX51" fmla="*/ 35330 w 180975"/>
                  <a:gd name="connsiteY51" fmla="*/ 9502 h 47625"/>
                  <a:gd name="connsiteX52" fmla="*/ 39016 w 180975"/>
                  <a:gd name="connsiteY52" fmla="*/ 9502 h 47625"/>
                  <a:gd name="connsiteX53" fmla="*/ 42711 w 180975"/>
                  <a:gd name="connsiteY53" fmla="*/ 13193 h 47625"/>
                  <a:gd name="connsiteX54" fmla="*/ 39016 w 180975"/>
                  <a:gd name="connsiteY54" fmla="*/ 13193 h 47625"/>
                  <a:gd name="connsiteX55" fmla="*/ 39016 w 180975"/>
                  <a:gd name="connsiteY55" fmla="*/ 13193 h 47625"/>
                  <a:gd name="connsiteX56" fmla="*/ 35330 w 180975"/>
                  <a:gd name="connsiteY56" fmla="*/ 9502 h 47625"/>
                  <a:gd name="connsiteX57" fmla="*/ 35330 w 180975"/>
                  <a:gd name="connsiteY57" fmla="*/ 9502 h 47625"/>
                  <a:gd name="connsiteX58" fmla="*/ 31643 w 180975"/>
                  <a:gd name="connsiteY58" fmla="*/ 9502 h 47625"/>
                  <a:gd name="connsiteX59" fmla="*/ 24261 w 180975"/>
                  <a:gd name="connsiteY59" fmla="*/ 9502 h 47625"/>
                  <a:gd name="connsiteX60" fmla="*/ 20575 w 180975"/>
                  <a:gd name="connsiteY60" fmla="*/ 13193 h 47625"/>
                  <a:gd name="connsiteX61" fmla="*/ 27948 w 180975"/>
                  <a:gd name="connsiteY61" fmla="*/ 13193 h 47625"/>
                  <a:gd name="connsiteX62" fmla="*/ 31643 w 180975"/>
                  <a:gd name="connsiteY62" fmla="*/ 13193 h 47625"/>
                  <a:gd name="connsiteX63" fmla="*/ 31643 w 180975"/>
                  <a:gd name="connsiteY63" fmla="*/ 13193 h 47625"/>
                  <a:gd name="connsiteX64" fmla="*/ 46398 w 180975"/>
                  <a:gd name="connsiteY64" fmla="*/ 16883 h 47625"/>
                  <a:gd name="connsiteX65" fmla="*/ 64847 w 180975"/>
                  <a:gd name="connsiteY65" fmla="*/ 1688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80975" h="47625">
                    <a:moveTo>
                      <a:pt x="64847" y="16883"/>
                    </a:moveTo>
                    <a:lnTo>
                      <a:pt x="75906" y="16883"/>
                    </a:lnTo>
                    <a:lnTo>
                      <a:pt x="86974" y="16883"/>
                    </a:lnTo>
                    <a:lnTo>
                      <a:pt x="134942" y="13193"/>
                    </a:lnTo>
                    <a:lnTo>
                      <a:pt x="157068" y="9502"/>
                    </a:lnTo>
                    <a:lnTo>
                      <a:pt x="168137" y="9502"/>
                    </a:lnTo>
                    <a:lnTo>
                      <a:pt x="175519" y="13193"/>
                    </a:lnTo>
                    <a:lnTo>
                      <a:pt x="179205" y="13193"/>
                    </a:lnTo>
                    <a:lnTo>
                      <a:pt x="179205" y="16883"/>
                    </a:lnTo>
                    <a:lnTo>
                      <a:pt x="179205" y="16883"/>
                    </a:lnTo>
                    <a:lnTo>
                      <a:pt x="179205" y="20574"/>
                    </a:lnTo>
                    <a:lnTo>
                      <a:pt x="175519" y="20574"/>
                    </a:lnTo>
                    <a:lnTo>
                      <a:pt x="164450" y="20574"/>
                    </a:lnTo>
                    <a:lnTo>
                      <a:pt x="157068" y="20574"/>
                    </a:lnTo>
                    <a:lnTo>
                      <a:pt x="146001" y="20574"/>
                    </a:lnTo>
                    <a:lnTo>
                      <a:pt x="138628" y="24264"/>
                    </a:lnTo>
                    <a:lnTo>
                      <a:pt x="138628" y="24264"/>
                    </a:lnTo>
                    <a:lnTo>
                      <a:pt x="131246" y="27955"/>
                    </a:lnTo>
                    <a:lnTo>
                      <a:pt x="127560" y="27955"/>
                    </a:lnTo>
                    <a:lnTo>
                      <a:pt x="127560" y="27955"/>
                    </a:lnTo>
                    <a:lnTo>
                      <a:pt x="127560" y="27955"/>
                    </a:lnTo>
                    <a:lnTo>
                      <a:pt x="112806" y="31645"/>
                    </a:lnTo>
                    <a:lnTo>
                      <a:pt x="98042" y="35336"/>
                    </a:lnTo>
                    <a:lnTo>
                      <a:pt x="90670" y="35336"/>
                    </a:lnTo>
                    <a:lnTo>
                      <a:pt x="86974" y="35336"/>
                    </a:lnTo>
                    <a:lnTo>
                      <a:pt x="83288" y="35336"/>
                    </a:lnTo>
                    <a:lnTo>
                      <a:pt x="72220" y="31645"/>
                    </a:lnTo>
                    <a:lnTo>
                      <a:pt x="68534" y="31645"/>
                    </a:lnTo>
                    <a:lnTo>
                      <a:pt x="61152" y="31645"/>
                    </a:lnTo>
                    <a:lnTo>
                      <a:pt x="57466" y="31645"/>
                    </a:lnTo>
                    <a:lnTo>
                      <a:pt x="57466" y="35336"/>
                    </a:lnTo>
                    <a:lnTo>
                      <a:pt x="53779" y="39027"/>
                    </a:lnTo>
                    <a:lnTo>
                      <a:pt x="50084" y="42717"/>
                    </a:lnTo>
                    <a:lnTo>
                      <a:pt x="42711" y="42717"/>
                    </a:lnTo>
                    <a:lnTo>
                      <a:pt x="39016" y="46408"/>
                    </a:lnTo>
                    <a:lnTo>
                      <a:pt x="35330" y="46408"/>
                    </a:lnTo>
                    <a:lnTo>
                      <a:pt x="31643" y="46408"/>
                    </a:lnTo>
                    <a:lnTo>
                      <a:pt x="35330" y="46408"/>
                    </a:lnTo>
                    <a:lnTo>
                      <a:pt x="31643" y="50098"/>
                    </a:lnTo>
                    <a:lnTo>
                      <a:pt x="27948" y="46408"/>
                    </a:lnTo>
                    <a:lnTo>
                      <a:pt x="20575" y="46408"/>
                    </a:lnTo>
                    <a:lnTo>
                      <a:pt x="16880" y="42717"/>
                    </a:lnTo>
                    <a:lnTo>
                      <a:pt x="9507" y="39027"/>
                    </a:lnTo>
                    <a:lnTo>
                      <a:pt x="5812" y="31645"/>
                    </a:lnTo>
                    <a:lnTo>
                      <a:pt x="5812" y="27955"/>
                    </a:lnTo>
                    <a:lnTo>
                      <a:pt x="9507" y="24264"/>
                    </a:lnTo>
                    <a:lnTo>
                      <a:pt x="13193" y="16883"/>
                    </a:lnTo>
                    <a:lnTo>
                      <a:pt x="16880" y="13193"/>
                    </a:lnTo>
                    <a:lnTo>
                      <a:pt x="24261" y="5812"/>
                    </a:lnTo>
                    <a:lnTo>
                      <a:pt x="27948" y="5812"/>
                    </a:lnTo>
                    <a:lnTo>
                      <a:pt x="31643" y="5812"/>
                    </a:lnTo>
                    <a:lnTo>
                      <a:pt x="35330" y="9502"/>
                    </a:lnTo>
                    <a:lnTo>
                      <a:pt x="39016" y="9502"/>
                    </a:lnTo>
                    <a:lnTo>
                      <a:pt x="42711" y="13193"/>
                    </a:lnTo>
                    <a:lnTo>
                      <a:pt x="39016" y="13193"/>
                    </a:lnTo>
                    <a:lnTo>
                      <a:pt x="39016" y="13193"/>
                    </a:lnTo>
                    <a:lnTo>
                      <a:pt x="35330" y="9502"/>
                    </a:lnTo>
                    <a:lnTo>
                      <a:pt x="35330" y="9502"/>
                    </a:lnTo>
                    <a:lnTo>
                      <a:pt x="31643" y="9502"/>
                    </a:lnTo>
                    <a:lnTo>
                      <a:pt x="24261" y="9502"/>
                    </a:lnTo>
                    <a:lnTo>
                      <a:pt x="20575" y="13193"/>
                    </a:lnTo>
                    <a:lnTo>
                      <a:pt x="27948" y="13193"/>
                    </a:lnTo>
                    <a:lnTo>
                      <a:pt x="31643" y="13193"/>
                    </a:lnTo>
                    <a:lnTo>
                      <a:pt x="31643" y="13193"/>
                    </a:lnTo>
                    <a:lnTo>
                      <a:pt x="46398" y="16883"/>
                    </a:lnTo>
                    <a:lnTo>
                      <a:pt x="64847" y="16883"/>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72" name="Freeform: Shape 71">
                <a:extLst>
                  <a:ext uri="{FF2B5EF4-FFF2-40B4-BE49-F238E27FC236}">
                    <a16:creationId xmlns:a16="http://schemas.microsoft.com/office/drawing/2014/main" id="{F97F3383-C3C0-4EF3-A13E-ECF7AB377442}"/>
                  </a:ext>
                </a:extLst>
              </p:cNvPr>
              <p:cNvSpPr/>
              <p:nvPr/>
            </p:nvSpPr>
            <p:spPr>
              <a:xfrm>
                <a:off x="4139055" y="1145599"/>
                <a:ext cx="259920" cy="129960"/>
              </a:xfrm>
              <a:custGeom>
                <a:avLst/>
                <a:gdLst>
                  <a:gd name="connsiteX0" fmla="*/ 112806 w 114300"/>
                  <a:gd name="connsiteY0" fmla="*/ 9502 h 57150"/>
                  <a:gd name="connsiteX1" fmla="*/ 112806 w 114300"/>
                  <a:gd name="connsiteY1" fmla="*/ 16883 h 57150"/>
                  <a:gd name="connsiteX2" fmla="*/ 109110 w 114300"/>
                  <a:gd name="connsiteY2" fmla="*/ 16883 h 57150"/>
                  <a:gd name="connsiteX3" fmla="*/ 105424 w 114300"/>
                  <a:gd name="connsiteY3" fmla="*/ 16883 h 57150"/>
                  <a:gd name="connsiteX4" fmla="*/ 101738 w 114300"/>
                  <a:gd name="connsiteY4" fmla="*/ 16883 h 57150"/>
                  <a:gd name="connsiteX5" fmla="*/ 98042 w 114300"/>
                  <a:gd name="connsiteY5" fmla="*/ 16883 h 57150"/>
                  <a:gd name="connsiteX6" fmla="*/ 90670 w 114300"/>
                  <a:gd name="connsiteY6" fmla="*/ 20574 h 57150"/>
                  <a:gd name="connsiteX7" fmla="*/ 90670 w 114300"/>
                  <a:gd name="connsiteY7" fmla="*/ 20574 h 57150"/>
                  <a:gd name="connsiteX8" fmla="*/ 79602 w 114300"/>
                  <a:gd name="connsiteY8" fmla="*/ 24264 h 57150"/>
                  <a:gd name="connsiteX9" fmla="*/ 75906 w 114300"/>
                  <a:gd name="connsiteY9" fmla="*/ 27955 h 57150"/>
                  <a:gd name="connsiteX10" fmla="*/ 75906 w 114300"/>
                  <a:gd name="connsiteY10" fmla="*/ 31646 h 57150"/>
                  <a:gd name="connsiteX11" fmla="*/ 68534 w 114300"/>
                  <a:gd name="connsiteY11" fmla="*/ 35336 h 57150"/>
                  <a:gd name="connsiteX12" fmla="*/ 64838 w 114300"/>
                  <a:gd name="connsiteY12" fmla="*/ 35336 h 57150"/>
                  <a:gd name="connsiteX13" fmla="*/ 57466 w 114300"/>
                  <a:gd name="connsiteY13" fmla="*/ 35336 h 57150"/>
                  <a:gd name="connsiteX14" fmla="*/ 57466 w 114300"/>
                  <a:gd name="connsiteY14" fmla="*/ 35336 h 57150"/>
                  <a:gd name="connsiteX15" fmla="*/ 53770 w 114300"/>
                  <a:gd name="connsiteY15" fmla="*/ 35336 h 57150"/>
                  <a:gd name="connsiteX16" fmla="*/ 53770 w 114300"/>
                  <a:gd name="connsiteY16" fmla="*/ 35336 h 57150"/>
                  <a:gd name="connsiteX17" fmla="*/ 42702 w 114300"/>
                  <a:gd name="connsiteY17" fmla="*/ 39027 h 57150"/>
                  <a:gd name="connsiteX18" fmla="*/ 39016 w 114300"/>
                  <a:gd name="connsiteY18" fmla="*/ 39027 h 57150"/>
                  <a:gd name="connsiteX19" fmla="*/ 39016 w 114300"/>
                  <a:gd name="connsiteY19" fmla="*/ 39027 h 57150"/>
                  <a:gd name="connsiteX20" fmla="*/ 27948 w 114300"/>
                  <a:gd name="connsiteY20" fmla="*/ 39027 h 57150"/>
                  <a:gd name="connsiteX21" fmla="*/ 24261 w 114300"/>
                  <a:gd name="connsiteY21" fmla="*/ 39027 h 57150"/>
                  <a:gd name="connsiteX22" fmla="*/ 20575 w 114300"/>
                  <a:gd name="connsiteY22" fmla="*/ 46408 h 57150"/>
                  <a:gd name="connsiteX23" fmla="*/ 20575 w 114300"/>
                  <a:gd name="connsiteY23" fmla="*/ 50098 h 57150"/>
                  <a:gd name="connsiteX24" fmla="*/ 16879 w 114300"/>
                  <a:gd name="connsiteY24" fmla="*/ 50098 h 57150"/>
                  <a:gd name="connsiteX25" fmla="*/ 16879 w 114300"/>
                  <a:gd name="connsiteY25" fmla="*/ 53789 h 57150"/>
                  <a:gd name="connsiteX26" fmla="*/ 16879 w 114300"/>
                  <a:gd name="connsiteY26" fmla="*/ 53789 h 57150"/>
                  <a:gd name="connsiteX27" fmla="*/ 13193 w 114300"/>
                  <a:gd name="connsiteY27" fmla="*/ 53789 h 57150"/>
                  <a:gd name="connsiteX28" fmla="*/ 13193 w 114300"/>
                  <a:gd name="connsiteY28" fmla="*/ 53789 h 57150"/>
                  <a:gd name="connsiteX29" fmla="*/ 9507 w 114300"/>
                  <a:gd name="connsiteY29" fmla="*/ 53789 h 57150"/>
                  <a:gd name="connsiteX30" fmla="*/ 9507 w 114300"/>
                  <a:gd name="connsiteY30" fmla="*/ 57480 h 57150"/>
                  <a:gd name="connsiteX31" fmla="*/ 9507 w 114300"/>
                  <a:gd name="connsiteY31" fmla="*/ 57480 h 57150"/>
                  <a:gd name="connsiteX32" fmla="*/ 5812 w 114300"/>
                  <a:gd name="connsiteY32" fmla="*/ 50098 h 57150"/>
                  <a:gd name="connsiteX33" fmla="*/ 5812 w 114300"/>
                  <a:gd name="connsiteY33" fmla="*/ 50098 h 57150"/>
                  <a:gd name="connsiteX34" fmla="*/ 5812 w 114300"/>
                  <a:gd name="connsiteY34" fmla="*/ 46408 h 57150"/>
                  <a:gd name="connsiteX35" fmla="*/ 9507 w 114300"/>
                  <a:gd name="connsiteY35" fmla="*/ 46408 h 57150"/>
                  <a:gd name="connsiteX36" fmla="*/ 13193 w 114300"/>
                  <a:gd name="connsiteY36" fmla="*/ 42717 h 57150"/>
                  <a:gd name="connsiteX37" fmla="*/ 9507 w 114300"/>
                  <a:gd name="connsiteY37" fmla="*/ 39027 h 57150"/>
                  <a:gd name="connsiteX38" fmla="*/ 9507 w 114300"/>
                  <a:gd name="connsiteY38" fmla="*/ 35336 h 57150"/>
                  <a:gd name="connsiteX39" fmla="*/ 9507 w 114300"/>
                  <a:gd name="connsiteY39" fmla="*/ 27955 h 57150"/>
                  <a:gd name="connsiteX40" fmla="*/ 13193 w 114300"/>
                  <a:gd name="connsiteY40" fmla="*/ 24264 h 57150"/>
                  <a:gd name="connsiteX41" fmla="*/ 20575 w 114300"/>
                  <a:gd name="connsiteY41" fmla="*/ 20574 h 57150"/>
                  <a:gd name="connsiteX42" fmla="*/ 20575 w 114300"/>
                  <a:gd name="connsiteY42" fmla="*/ 16883 h 57150"/>
                  <a:gd name="connsiteX43" fmla="*/ 20575 w 114300"/>
                  <a:gd name="connsiteY43" fmla="*/ 16883 h 57150"/>
                  <a:gd name="connsiteX44" fmla="*/ 16879 w 114300"/>
                  <a:gd name="connsiteY44" fmla="*/ 16883 h 57150"/>
                  <a:gd name="connsiteX45" fmla="*/ 13193 w 114300"/>
                  <a:gd name="connsiteY45" fmla="*/ 16883 h 57150"/>
                  <a:gd name="connsiteX46" fmla="*/ 9507 w 114300"/>
                  <a:gd name="connsiteY46" fmla="*/ 16883 h 57150"/>
                  <a:gd name="connsiteX47" fmla="*/ 9507 w 114300"/>
                  <a:gd name="connsiteY47" fmla="*/ 16883 h 57150"/>
                  <a:gd name="connsiteX48" fmla="*/ 5812 w 114300"/>
                  <a:gd name="connsiteY48" fmla="*/ 16883 h 57150"/>
                  <a:gd name="connsiteX49" fmla="*/ 9507 w 114300"/>
                  <a:gd name="connsiteY49" fmla="*/ 16883 h 57150"/>
                  <a:gd name="connsiteX50" fmla="*/ 9507 w 114300"/>
                  <a:gd name="connsiteY50" fmla="*/ 16883 h 57150"/>
                  <a:gd name="connsiteX51" fmla="*/ 13193 w 114300"/>
                  <a:gd name="connsiteY51" fmla="*/ 13193 h 57150"/>
                  <a:gd name="connsiteX52" fmla="*/ 20575 w 114300"/>
                  <a:gd name="connsiteY52" fmla="*/ 16883 h 57150"/>
                  <a:gd name="connsiteX53" fmla="*/ 31643 w 114300"/>
                  <a:gd name="connsiteY53" fmla="*/ 16883 h 57150"/>
                  <a:gd name="connsiteX54" fmla="*/ 68534 w 114300"/>
                  <a:gd name="connsiteY54" fmla="*/ 13193 h 57150"/>
                  <a:gd name="connsiteX55" fmla="*/ 79602 w 114300"/>
                  <a:gd name="connsiteY55" fmla="*/ 13193 h 57150"/>
                  <a:gd name="connsiteX56" fmla="*/ 101738 w 114300"/>
                  <a:gd name="connsiteY56" fmla="*/ 9502 h 57150"/>
                  <a:gd name="connsiteX57" fmla="*/ 109110 w 114300"/>
                  <a:gd name="connsiteY57" fmla="*/ 5812 h 57150"/>
                  <a:gd name="connsiteX58" fmla="*/ 112806 w 114300"/>
                  <a:gd name="connsiteY58" fmla="*/ 950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14300" h="57150">
                    <a:moveTo>
                      <a:pt x="112806" y="9502"/>
                    </a:moveTo>
                    <a:lnTo>
                      <a:pt x="112806" y="16883"/>
                    </a:lnTo>
                    <a:lnTo>
                      <a:pt x="109110" y="16883"/>
                    </a:lnTo>
                    <a:lnTo>
                      <a:pt x="105424" y="16883"/>
                    </a:lnTo>
                    <a:lnTo>
                      <a:pt x="101738" y="16883"/>
                    </a:lnTo>
                    <a:lnTo>
                      <a:pt x="98042" y="16883"/>
                    </a:lnTo>
                    <a:lnTo>
                      <a:pt x="90670" y="20574"/>
                    </a:lnTo>
                    <a:lnTo>
                      <a:pt x="90670" y="20574"/>
                    </a:lnTo>
                    <a:lnTo>
                      <a:pt x="79602" y="24264"/>
                    </a:lnTo>
                    <a:lnTo>
                      <a:pt x="75906" y="27955"/>
                    </a:lnTo>
                    <a:lnTo>
                      <a:pt x="75906" y="31646"/>
                    </a:lnTo>
                    <a:lnTo>
                      <a:pt x="68534" y="35336"/>
                    </a:lnTo>
                    <a:lnTo>
                      <a:pt x="64838" y="35336"/>
                    </a:lnTo>
                    <a:lnTo>
                      <a:pt x="57466" y="35336"/>
                    </a:lnTo>
                    <a:lnTo>
                      <a:pt x="57466" y="35336"/>
                    </a:lnTo>
                    <a:lnTo>
                      <a:pt x="53770" y="35336"/>
                    </a:lnTo>
                    <a:lnTo>
                      <a:pt x="53770" y="35336"/>
                    </a:lnTo>
                    <a:lnTo>
                      <a:pt x="42702" y="39027"/>
                    </a:lnTo>
                    <a:lnTo>
                      <a:pt x="39016" y="39027"/>
                    </a:lnTo>
                    <a:lnTo>
                      <a:pt x="39016" y="39027"/>
                    </a:lnTo>
                    <a:lnTo>
                      <a:pt x="27948" y="39027"/>
                    </a:lnTo>
                    <a:lnTo>
                      <a:pt x="24261" y="39027"/>
                    </a:lnTo>
                    <a:lnTo>
                      <a:pt x="20575" y="46408"/>
                    </a:lnTo>
                    <a:lnTo>
                      <a:pt x="20575" y="50098"/>
                    </a:lnTo>
                    <a:lnTo>
                      <a:pt x="16879" y="50098"/>
                    </a:lnTo>
                    <a:lnTo>
                      <a:pt x="16879" y="53789"/>
                    </a:lnTo>
                    <a:lnTo>
                      <a:pt x="16879" y="53789"/>
                    </a:lnTo>
                    <a:lnTo>
                      <a:pt x="13193" y="53789"/>
                    </a:lnTo>
                    <a:lnTo>
                      <a:pt x="13193" y="53789"/>
                    </a:lnTo>
                    <a:lnTo>
                      <a:pt x="9507" y="53789"/>
                    </a:lnTo>
                    <a:lnTo>
                      <a:pt x="9507" y="57480"/>
                    </a:lnTo>
                    <a:lnTo>
                      <a:pt x="9507" y="57480"/>
                    </a:lnTo>
                    <a:lnTo>
                      <a:pt x="5812" y="50098"/>
                    </a:lnTo>
                    <a:lnTo>
                      <a:pt x="5812" y="50098"/>
                    </a:lnTo>
                    <a:lnTo>
                      <a:pt x="5812" y="46408"/>
                    </a:lnTo>
                    <a:lnTo>
                      <a:pt x="9507" y="46408"/>
                    </a:lnTo>
                    <a:lnTo>
                      <a:pt x="13193" y="42717"/>
                    </a:lnTo>
                    <a:lnTo>
                      <a:pt x="9507" y="39027"/>
                    </a:lnTo>
                    <a:lnTo>
                      <a:pt x="9507" y="35336"/>
                    </a:lnTo>
                    <a:lnTo>
                      <a:pt x="9507" y="27955"/>
                    </a:lnTo>
                    <a:lnTo>
                      <a:pt x="13193" y="24264"/>
                    </a:lnTo>
                    <a:lnTo>
                      <a:pt x="20575" y="20574"/>
                    </a:lnTo>
                    <a:lnTo>
                      <a:pt x="20575" y="16883"/>
                    </a:lnTo>
                    <a:lnTo>
                      <a:pt x="20575" y="16883"/>
                    </a:lnTo>
                    <a:lnTo>
                      <a:pt x="16879" y="16883"/>
                    </a:lnTo>
                    <a:lnTo>
                      <a:pt x="13193" y="16883"/>
                    </a:lnTo>
                    <a:lnTo>
                      <a:pt x="9507" y="16883"/>
                    </a:lnTo>
                    <a:lnTo>
                      <a:pt x="9507" y="16883"/>
                    </a:lnTo>
                    <a:lnTo>
                      <a:pt x="5812" y="16883"/>
                    </a:lnTo>
                    <a:lnTo>
                      <a:pt x="9507" y="16883"/>
                    </a:lnTo>
                    <a:lnTo>
                      <a:pt x="9507" y="16883"/>
                    </a:lnTo>
                    <a:lnTo>
                      <a:pt x="13193" y="13193"/>
                    </a:lnTo>
                    <a:lnTo>
                      <a:pt x="20575" y="16883"/>
                    </a:lnTo>
                    <a:lnTo>
                      <a:pt x="31643" y="16883"/>
                    </a:lnTo>
                    <a:lnTo>
                      <a:pt x="68534" y="13193"/>
                    </a:lnTo>
                    <a:lnTo>
                      <a:pt x="79602" y="13193"/>
                    </a:lnTo>
                    <a:lnTo>
                      <a:pt x="101738" y="9502"/>
                    </a:lnTo>
                    <a:lnTo>
                      <a:pt x="109110" y="5812"/>
                    </a:lnTo>
                    <a:lnTo>
                      <a:pt x="112806" y="9502"/>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73" name="Freeform: Shape 72">
                <a:extLst>
                  <a:ext uri="{FF2B5EF4-FFF2-40B4-BE49-F238E27FC236}">
                    <a16:creationId xmlns:a16="http://schemas.microsoft.com/office/drawing/2014/main" id="{97C84E65-45DF-40D5-A303-1F6230D50082}"/>
                  </a:ext>
                </a:extLst>
              </p:cNvPr>
              <p:cNvSpPr/>
              <p:nvPr/>
            </p:nvSpPr>
            <p:spPr>
              <a:xfrm>
                <a:off x="3182688" y="1623963"/>
                <a:ext cx="43320" cy="21660"/>
              </a:xfrm>
              <a:custGeom>
                <a:avLst/>
                <a:gdLst>
                  <a:gd name="connsiteX0" fmla="*/ 9501 w 19050"/>
                  <a:gd name="connsiteY0" fmla="*/ 9503 h 9525"/>
                  <a:gd name="connsiteX1" fmla="*/ 9501 w 19050"/>
                  <a:gd name="connsiteY1" fmla="*/ 9503 h 9525"/>
                  <a:gd name="connsiteX2" fmla="*/ 9501 w 19050"/>
                  <a:gd name="connsiteY2" fmla="*/ 9503 h 9525"/>
                  <a:gd name="connsiteX3" fmla="*/ 5812 w 19050"/>
                  <a:gd name="connsiteY3" fmla="*/ 5812 h 9525"/>
                  <a:gd name="connsiteX4" fmla="*/ 9501 w 19050"/>
                  <a:gd name="connsiteY4" fmla="*/ 5812 h 9525"/>
                  <a:gd name="connsiteX5" fmla="*/ 9501 w 19050"/>
                  <a:gd name="connsiteY5" fmla="*/ 5812 h 9525"/>
                  <a:gd name="connsiteX6" fmla="*/ 16877 w 19050"/>
                  <a:gd name="connsiteY6" fmla="*/ 5812 h 9525"/>
                  <a:gd name="connsiteX7" fmla="*/ 20573 w 19050"/>
                  <a:gd name="connsiteY7" fmla="*/ 5812 h 9525"/>
                  <a:gd name="connsiteX8" fmla="*/ 20573 w 19050"/>
                  <a:gd name="connsiteY8" fmla="*/ 5812 h 9525"/>
                  <a:gd name="connsiteX9" fmla="*/ 16877 w 19050"/>
                  <a:gd name="connsiteY9" fmla="*/ 5812 h 9525"/>
                  <a:gd name="connsiteX10" fmla="*/ 16877 w 19050"/>
                  <a:gd name="connsiteY10" fmla="*/ 9503 h 9525"/>
                  <a:gd name="connsiteX11" fmla="*/ 13191 w 19050"/>
                  <a:gd name="connsiteY11" fmla="*/ 9503 h 9525"/>
                  <a:gd name="connsiteX12" fmla="*/ 13191 w 19050"/>
                  <a:gd name="connsiteY12" fmla="*/ 9503 h 9525"/>
                  <a:gd name="connsiteX13" fmla="*/ 9501 w 19050"/>
                  <a:gd name="connsiteY13" fmla="*/ 9503 h 9525"/>
                  <a:gd name="connsiteX14" fmla="*/ 9501 w 19050"/>
                  <a:gd name="connsiteY14" fmla="*/ 5812 h 9525"/>
                  <a:gd name="connsiteX15" fmla="*/ 9501 w 19050"/>
                  <a:gd name="connsiteY15" fmla="*/ 5812 h 9525"/>
                  <a:gd name="connsiteX16" fmla="*/ 9501 w 19050"/>
                  <a:gd name="connsiteY16" fmla="*/ 5812 h 9525"/>
                  <a:gd name="connsiteX17" fmla="*/ 9501 w 19050"/>
                  <a:gd name="connsiteY17" fmla="*/ 5812 h 9525"/>
                  <a:gd name="connsiteX18" fmla="*/ 9501 w 19050"/>
                  <a:gd name="connsiteY18" fmla="*/ 9503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050" h="9525">
                    <a:moveTo>
                      <a:pt x="9501" y="9503"/>
                    </a:moveTo>
                    <a:lnTo>
                      <a:pt x="9501" y="9503"/>
                    </a:lnTo>
                    <a:lnTo>
                      <a:pt x="9501" y="9503"/>
                    </a:lnTo>
                    <a:lnTo>
                      <a:pt x="5812" y="5812"/>
                    </a:lnTo>
                    <a:lnTo>
                      <a:pt x="9501" y="5812"/>
                    </a:lnTo>
                    <a:lnTo>
                      <a:pt x="9501" y="5812"/>
                    </a:lnTo>
                    <a:lnTo>
                      <a:pt x="16877" y="5812"/>
                    </a:lnTo>
                    <a:lnTo>
                      <a:pt x="20573" y="5812"/>
                    </a:lnTo>
                    <a:lnTo>
                      <a:pt x="20573" y="5812"/>
                    </a:lnTo>
                    <a:lnTo>
                      <a:pt x="16877" y="5812"/>
                    </a:lnTo>
                    <a:lnTo>
                      <a:pt x="16877" y="9503"/>
                    </a:lnTo>
                    <a:lnTo>
                      <a:pt x="13191" y="9503"/>
                    </a:lnTo>
                    <a:lnTo>
                      <a:pt x="13191" y="9503"/>
                    </a:lnTo>
                    <a:lnTo>
                      <a:pt x="9501" y="9503"/>
                    </a:lnTo>
                    <a:lnTo>
                      <a:pt x="9501" y="5812"/>
                    </a:lnTo>
                    <a:lnTo>
                      <a:pt x="9501" y="5812"/>
                    </a:lnTo>
                    <a:lnTo>
                      <a:pt x="9501" y="5812"/>
                    </a:lnTo>
                    <a:lnTo>
                      <a:pt x="9501" y="5812"/>
                    </a:lnTo>
                    <a:lnTo>
                      <a:pt x="9501" y="9503"/>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74" name="Freeform: Shape 73">
                <a:extLst>
                  <a:ext uri="{FF2B5EF4-FFF2-40B4-BE49-F238E27FC236}">
                    <a16:creationId xmlns:a16="http://schemas.microsoft.com/office/drawing/2014/main" id="{24FB110E-4F71-47D5-B311-B8B9368D043C}"/>
                  </a:ext>
                </a:extLst>
              </p:cNvPr>
              <p:cNvSpPr/>
              <p:nvPr/>
            </p:nvSpPr>
            <p:spPr>
              <a:xfrm>
                <a:off x="3090406" y="1263091"/>
                <a:ext cx="454860" cy="216600"/>
              </a:xfrm>
              <a:custGeom>
                <a:avLst/>
                <a:gdLst>
                  <a:gd name="connsiteX0" fmla="*/ 138621 w 200025"/>
                  <a:gd name="connsiteY0" fmla="*/ 42717 h 95250"/>
                  <a:gd name="connsiteX1" fmla="*/ 123866 w 200025"/>
                  <a:gd name="connsiteY1" fmla="*/ 42717 h 95250"/>
                  <a:gd name="connsiteX2" fmla="*/ 116484 w 200025"/>
                  <a:gd name="connsiteY2" fmla="*/ 46408 h 95250"/>
                  <a:gd name="connsiteX3" fmla="*/ 112798 w 200025"/>
                  <a:gd name="connsiteY3" fmla="*/ 46408 h 95250"/>
                  <a:gd name="connsiteX4" fmla="*/ 109112 w 200025"/>
                  <a:gd name="connsiteY4" fmla="*/ 50098 h 95250"/>
                  <a:gd name="connsiteX5" fmla="*/ 109112 w 200025"/>
                  <a:gd name="connsiteY5" fmla="*/ 50098 h 95250"/>
                  <a:gd name="connsiteX6" fmla="*/ 101730 w 200025"/>
                  <a:gd name="connsiteY6" fmla="*/ 57480 h 95250"/>
                  <a:gd name="connsiteX7" fmla="*/ 98044 w 200025"/>
                  <a:gd name="connsiteY7" fmla="*/ 61170 h 95250"/>
                  <a:gd name="connsiteX8" fmla="*/ 98044 w 200025"/>
                  <a:gd name="connsiteY8" fmla="*/ 61170 h 95250"/>
                  <a:gd name="connsiteX9" fmla="*/ 94348 w 200025"/>
                  <a:gd name="connsiteY9" fmla="*/ 61170 h 95250"/>
                  <a:gd name="connsiteX10" fmla="*/ 90662 w 200025"/>
                  <a:gd name="connsiteY10" fmla="*/ 61170 h 95250"/>
                  <a:gd name="connsiteX11" fmla="*/ 90662 w 200025"/>
                  <a:gd name="connsiteY11" fmla="*/ 64861 h 95250"/>
                  <a:gd name="connsiteX12" fmla="*/ 86976 w 200025"/>
                  <a:gd name="connsiteY12" fmla="*/ 64861 h 95250"/>
                  <a:gd name="connsiteX13" fmla="*/ 83280 w 200025"/>
                  <a:gd name="connsiteY13" fmla="*/ 61170 h 95250"/>
                  <a:gd name="connsiteX14" fmla="*/ 83280 w 200025"/>
                  <a:gd name="connsiteY14" fmla="*/ 64861 h 95250"/>
                  <a:gd name="connsiteX15" fmla="*/ 79594 w 200025"/>
                  <a:gd name="connsiteY15" fmla="*/ 64861 h 95250"/>
                  <a:gd name="connsiteX16" fmla="*/ 75908 w 200025"/>
                  <a:gd name="connsiteY16" fmla="*/ 68552 h 95250"/>
                  <a:gd name="connsiteX17" fmla="*/ 75908 w 200025"/>
                  <a:gd name="connsiteY17" fmla="*/ 68552 h 95250"/>
                  <a:gd name="connsiteX18" fmla="*/ 75908 w 200025"/>
                  <a:gd name="connsiteY18" fmla="*/ 68552 h 95250"/>
                  <a:gd name="connsiteX19" fmla="*/ 72222 w 200025"/>
                  <a:gd name="connsiteY19" fmla="*/ 68552 h 95250"/>
                  <a:gd name="connsiteX20" fmla="*/ 72222 w 200025"/>
                  <a:gd name="connsiteY20" fmla="*/ 72242 h 95250"/>
                  <a:gd name="connsiteX21" fmla="*/ 72222 w 200025"/>
                  <a:gd name="connsiteY21" fmla="*/ 72242 h 95250"/>
                  <a:gd name="connsiteX22" fmla="*/ 68526 w 200025"/>
                  <a:gd name="connsiteY22" fmla="*/ 68552 h 95250"/>
                  <a:gd name="connsiteX23" fmla="*/ 64840 w 200025"/>
                  <a:gd name="connsiteY23" fmla="*/ 68552 h 95250"/>
                  <a:gd name="connsiteX24" fmla="*/ 64840 w 200025"/>
                  <a:gd name="connsiteY24" fmla="*/ 68552 h 95250"/>
                  <a:gd name="connsiteX25" fmla="*/ 61154 w 200025"/>
                  <a:gd name="connsiteY25" fmla="*/ 68552 h 95250"/>
                  <a:gd name="connsiteX26" fmla="*/ 57458 w 200025"/>
                  <a:gd name="connsiteY26" fmla="*/ 68552 h 95250"/>
                  <a:gd name="connsiteX27" fmla="*/ 57458 w 200025"/>
                  <a:gd name="connsiteY27" fmla="*/ 68552 h 95250"/>
                  <a:gd name="connsiteX28" fmla="*/ 53772 w 200025"/>
                  <a:gd name="connsiteY28" fmla="*/ 72242 h 95250"/>
                  <a:gd name="connsiteX29" fmla="*/ 50082 w 200025"/>
                  <a:gd name="connsiteY29" fmla="*/ 75933 h 95250"/>
                  <a:gd name="connsiteX30" fmla="*/ 46393 w 200025"/>
                  <a:gd name="connsiteY30" fmla="*/ 72242 h 95250"/>
                  <a:gd name="connsiteX31" fmla="*/ 42704 w 200025"/>
                  <a:gd name="connsiteY31" fmla="*/ 75933 h 95250"/>
                  <a:gd name="connsiteX32" fmla="*/ 39015 w 200025"/>
                  <a:gd name="connsiteY32" fmla="*/ 75933 h 95250"/>
                  <a:gd name="connsiteX33" fmla="*/ 35326 w 200025"/>
                  <a:gd name="connsiteY33" fmla="*/ 79623 h 95250"/>
                  <a:gd name="connsiteX34" fmla="*/ 35326 w 200025"/>
                  <a:gd name="connsiteY34" fmla="*/ 83314 h 95250"/>
                  <a:gd name="connsiteX35" fmla="*/ 35326 w 200025"/>
                  <a:gd name="connsiteY35" fmla="*/ 83314 h 95250"/>
                  <a:gd name="connsiteX36" fmla="*/ 35326 w 200025"/>
                  <a:gd name="connsiteY36" fmla="*/ 83314 h 95250"/>
                  <a:gd name="connsiteX37" fmla="*/ 31637 w 200025"/>
                  <a:gd name="connsiteY37" fmla="*/ 83314 h 95250"/>
                  <a:gd name="connsiteX38" fmla="*/ 24258 w 200025"/>
                  <a:gd name="connsiteY38" fmla="*/ 87004 h 95250"/>
                  <a:gd name="connsiteX39" fmla="*/ 27947 w 200025"/>
                  <a:gd name="connsiteY39" fmla="*/ 87004 h 95250"/>
                  <a:gd name="connsiteX40" fmla="*/ 24258 w 200025"/>
                  <a:gd name="connsiteY40" fmla="*/ 90694 h 95250"/>
                  <a:gd name="connsiteX41" fmla="*/ 20569 w 200025"/>
                  <a:gd name="connsiteY41" fmla="*/ 90694 h 95250"/>
                  <a:gd name="connsiteX42" fmla="*/ 13191 w 200025"/>
                  <a:gd name="connsiteY42" fmla="*/ 90694 h 95250"/>
                  <a:gd name="connsiteX43" fmla="*/ 9502 w 200025"/>
                  <a:gd name="connsiteY43" fmla="*/ 83314 h 95250"/>
                  <a:gd name="connsiteX44" fmla="*/ 5812 w 200025"/>
                  <a:gd name="connsiteY44" fmla="*/ 83314 h 95250"/>
                  <a:gd name="connsiteX45" fmla="*/ 5812 w 200025"/>
                  <a:gd name="connsiteY45" fmla="*/ 83314 h 95250"/>
                  <a:gd name="connsiteX46" fmla="*/ 5812 w 200025"/>
                  <a:gd name="connsiteY46" fmla="*/ 79623 h 95250"/>
                  <a:gd name="connsiteX47" fmla="*/ 9502 w 200025"/>
                  <a:gd name="connsiteY47" fmla="*/ 75933 h 95250"/>
                  <a:gd name="connsiteX48" fmla="*/ 16880 w 200025"/>
                  <a:gd name="connsiteY48" fmla="*/ 64861 h 95250"/>
                  <a:gd name="connsiteX49" fmla="*/ 24258 w 200025"/>
                  <a:gd name="connsiteY49" fmla="*/ 53789 h 95250"/>
                  <a:gd name="connsiteX50" fmla="*/ 24258 w 200025"/>
                  <a:gd name="connsiteY50" fmla="*/ 53789 h 95250"/>
                  <a:gd name="connsiteX51" fmla="*/ 31637 w 200025"/>
                  <a:gd name="connsiteY51" fmla="*/ 50098 h 95250"/>
                  <a:gd name="connsiteX52" fmla="*/ 39015 w 200025"/>
                  <a:gd name="connsiteY52" fmla="*/ 46408 h 95250"/>
                  <a:gd name="connsiteX53" fmla="*/ 53772 w 200025"/>
                  <a:gd name="connsiteY53" fmla="*/ 42717 h 95250"/>
                  <a:gd name="connsiteX54" fmla="*/ 75908 w 200025"/>
                  <a:gd name="connsiteY54" fmla="*/ 39027 h 95250"/>
                  <a:gd name="connsiteX55" fmla="*/ 83280 w 200025"/>
                  <a:gd name="connsiteY55" fmla="*/ 39027 h 95250"/>
                  <a:gd name="connsiteX56" fmla="*/ 105416 w 200025"/>
                  <a:gd name="connsiteY56" fmla="*/ 31645 h 95250"/>
                  <a:gd name="connsiteX57" fmla="*/ 123866 w 200025"/>
                  <a:gd name="connsiteY57" fmla="*/ 24264 h 95250"/>
                  <a:gd name="connsiteX58" fmla="*/ 164443 w 200025"/>
                  <a:gd name="connsiteY58" fmla="*/ 9502 h 95250"/>
                  <a:gd name="connsiteX59" fmla="*/ 175511 w 200025"/>
                  <a:gd name="connsiteY59" fmla="*/ 9502 h 95250"/>
                  <a:gd name="connsiteX60" fmla="*/ 186579 w 200025"/>
                  <a:gd name="connsiteY60" fmla="*/ 5812 h 95250"/>
                  <a:gd name="connsiteX61" fmla="*/ 190275 w 200025"/>
                  <a:gd name="connsiteY61" fmla="*/ 9502 h 95250"/>
                  <a:gd name="connsiteX62" fmla="*/ 193961 w 200025"/>
                  <a:gd name="connsiteY62" fmla="*/ 9502 h 95250"/>
                  <a:gd name="connsiteX63" fmla="*/ 197647 w 200025"/>
                  <a:gd name="connsiteY63" fmla="*/ 13192 h 95250"/>
                  <a:gd name="connsiteX64" fmla="*/ 197647 w 200025"/>
                  <a:gd name="connsiteY64" fmla="*/ 13192 h 95250"/>
                  <a:gd name="connsiteX65" fmla="*/ 197647 w 200025"/>
                  <a:gd name="connsiteY65" fmla="*/ 20574 h 95250"/>
                  <a:gd name="connsiteX66" fmla="*/ 197647 w 200025"/>
                  <a:gd name="connsiteY66" fmla="*/ 24264 h 95250"/>
                  <a:gd name="connsiteX67" fmla="*/ 197647 w 200025"/>
                  <a:gd name="connsiteY67" fmla="*/ 24264 h 95250"/>
                  <a:gd name="connsiteX68" fmla="*/ 197647 w 200025"/>
                  <a:gd name="connsiteY68" fmla="*/ 20574 h 95250"/>
                  <a:gd name="connsiteX69" fmla="*/ 197647 w 200025"/>
                  <a:gd name="connsiteY69" fmla="*/ 16883 h 95250"/>
                  <a:gd name="connsiteX70" fmla="*/ 193961 w 200025"/>
                  <a:gd name="connsiteY70" fmla="*/ 13192 h 95250"/>
                  <a:gd name="connsiteX71" fmla="*/ 193961 w 200025"/>
                  <a:gd name="connsiteY71" fmla="*/ 13192 h 95250"/>
                  <a:gd name="connsiteX72" fmla="*/ 193961 w 200025"/>
                  <a:gd name="connsiteY72" fmla="*/ 16883 h 95250"/>
                  <a:gd name="connsiteX73" fmla="*/ 190275 w 200025"/>
                  <a:gd name="connsiteY73" fmla="*/ 20574 h 95250"/>
                  <a:gd name="connsiteX74" fmla="*/ 190275 w 200025"/>
                  <a:gd name="connsiteY74" fmla="*/ 20574 h 95250"/>
                  <a:gd name="connsiteX75" fmla="*/ 186579 w 200025"/>
                  <a:gd name="connsiteY75" fmla="*/ 24264 h 95250"/>
                  <a:gd name="connsiteX76" fmla="*/ 179207 w 200025"/>
                  <a:gd name="connsiteY76" fmla="*/ 24264 h 95250"/>
                  <a:gd name="connsiteX77" fmla="*/ 175511 w 200025"/>
                  <a:gd name="connsiteY77" fmla="*/ 24264 h 95250"/>
                  <a:gd name="connsiteX78" fmla="*/ 168139 w 200025"/>
                  <a:gd name="connsiteY78" fmla="*/ 27955 h 95250"/>
                  <a:gd name="connsiteX79" fmla="*/ 168139 w 200025"/>
                  <a:gd name="connsiteY79" fmla="*/ 27955 h 95250"/>
                  <a:gd name="connsiteX80" fmla="*/ 168139 w 200025"/>
                  <a:gd name="connsiteY80" fmla="*/ 27955 h 95250"/>
                  <a:gd name="connsiteX81" fmla="*/ 164443 w 200025"/>
                  <a:gd name="connsiteY81" fmla="*/ 24264 h 95250"/>
                  <a:gd name="connsiteX82" fmla="*/ 164443 w 200025"/>
                  <a:gd name="connsiteY82" fmla="*/ 24264 h 95250"/>
                  <a:gd name="connsiteX83" fmla="*/ 164443 w 200025"/>
                  <a:gd name="connsiteY83" fmla="*/ 24264 h 95250"/>
                  <a:gd name="connsiteX84" fmla="*/ 164443 w 200025"/>
                  <a:gd name="connsiteY84" fmla="*/ 24264 h 95250"/>
                  <a:gd name="connsiteX85" fmla="*/ 164443 w 200025"/>
                  <a:gd name="connsiteY85" fmla="*/ 27955 h 95250"/>
                  <a:gd name="connsiteX86" fmla="*/ 168139 w 200025"/>
                  <a:gd name="connsiteY86" fmla="*/ 27955 h 95250"/>
                  <a:gd name="connsiteX87" fmla="*/ 164443 w 200025"/>
                  <a:gd name="connsiteY87" fmla="*/ 31645 h 95250"/>
                  <a:gd name="connsiteX88" fmla="*/ 160757 w 200025"/>
                  <a:gd name="connsiteY88" fmla="*/ 31645 h 95250"/>
                  <a:gd name="connsiteX89" fmla="*/ 160757 w 200025"/>
                  <a:gd name="connsiteY89" fmla="*/ 31645 h 95250"/>
                  <a:gd name="connsiteX90" fmla="*/ 157070 w 200025"/>
                  <a:gd name="connsiteY90" fmla="*/ 31645 h 95250"/>
                  <a:gd name="connsiteX91" fmla="*/ 157070 w 200025"/>
                  <a:gd name="connsiteY91" fmla="*/ 27955 h 95250"/>
                  <a:gd name="connsiteX92" fmla="*/ 153375 w 200025"/>
                  <a:gd name="connsiteY92" fmla="*/ 27955 h 95250"/>
                  <a:gd name="connsiteX93" fmla="*/ 153375 w 200025"/>
                  <a:gd name="connsiteY93" fmla="*/ 27955 h 95250"/>
                  <a:gd name="connsiteX94" fmla="*/ 157070 w 200025"/>
                  <a:gd name="connsiteY94" fmla="*/ 31645 h 95250"/>
                  <a:gd name="connsiteX95" fmla="*/ 157070 w 200025"/>
                  <a:gd name="connsiteY95" fmla="*/ 35336 h 95250"/>
                  <a:gd name="connsiteX96" fmla="*/ 153375 w 200025"/>
                  <a:gd name="connsiteY96" fmla="*/ 35336 h 95250"/>
                  <a:gd name="connsiteX97" fmla="*/ 149689 w 200025"/>
                  <a:gd name="connsiteY97" fmla="*/ 35336 h 95250"/>
                  <a:gd name="connsiteX98" fmla="*/ 149689 w 200025"/>
                  <a:gd name="connsiteY98" fmla="*/ 35336 h 95250"/>
                  <a:gd name="connsiteX99" fmla="*/ 146002 w 200025"/>
                  <a:gd name="connsiteY99" fmla="*/ 31645 h 95250"/>
                  <a:gd name="connsiteX100" fmla="*/ 146002 w 200025"/>
                  <a:gd name="connsiteY100" fmla="*/ 31645 h 95250"/>
                  <a:gd name="connsiteX101" fmla="*/ 146002 w 200025"/>
                  <a:gd name="connsiteY101" fmla="*/ 31645 h 95250"/>
                  <a:gd name="connsiteX102" fmla="*/ 149689 w 200025"/>
                  <a:gd name="connsiteY102" fmla="*/ 35336 h 95250"/>
                  <a:gd name="connsiteX103" fmla="*/ 153375 w 200025"/>
                  <a:gd name="connsiteY103" fmla="*/ 39027 h 95250"/>
                  <a:gd name="connsiteX104" fmla="*/ 157070 w 200025"/>
                  <a:gd name="connsiteY104" fmla="*/ 39027 h 95250"/>
                  <a:gd name="connsiteX105" fmla="*/ 160757 w 200025"/>
                  <a:gd name="connsiteY105" fmla="*/ 39027 h 95250"/>
                  <a:gd name="connsiteX106" fmla="*/ 160757 w 200025"/>
                  <a:gd name="connsiteY106" fmla="*/ 39027 h 95250"/>
                  <a:gd name="connsiteX107" fmla="*/ 157070 w 200025"/>
                  <a:gd name="connsiteY107" fmla="*/ 42717 h 95250"/>
                  <a:gd name="connsiteX108" fmla="*/ 149689 w 200025"/>
                  <a:gd name="connsiteY108" fmla="*/ 42717 h 95250"/>
                  <a:gd name="connsiteX109" fmla="*/ 142316 w 200025"/>
                  <a:gd name="connsiteY109" fmla="*/ 42717 h 95250"/>
                  <a:gd name="connsiteX110" fmla="*/ 138621 w 200025"/>
                  <a:gd name="connsiteY110" fmla="*/ 42717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00025" h="95250">
                    <a:moveTo>
                      <a:pt x="138621" y="42717"/>
                    </a:moveTo>
                    <a:lnTo>
                      <a:pt x="123866" y="42717"/>
                    </a:lnTo>
                    <a:lnTo>
                      <a:pt x="116484" y="46408"/>
                    </a:lnTo>
                    <a:lnTo>
                      <a:pt x="112798" y="46408"/>
                    </a:lnTo>
                    <a:lnTo>
                      <a:pt x="109112" y="50098"/>
                    </a:lnTo>
                    <a:lnTo>
                      <a:pt x="109112" y="50098"/>
                    </a:lnTo>
                    <a:lnTo>
                      <a:pt x="101730" y="57480"/>
                    </a:lnTo>
                    <a:lnTo>
                      <a:pt x="98044" y="61170"/>
                    </a:lnTo>
                    <a:lnTo>
                      <a:pt x="98044" y="61170"/>
                    </a:lnTo>
                    <a:lnTo>
                      <a:pt x="94348" y="61170"/>
                    </a:lnTo>
                    <a:lnTo>
                      <a:pt x="90662" y="61170"/>
                    </a:lnTo>
                    <a:lnTo>
                      <a:pt x="90662" y="64861"/>
                    </a:lnTo>
                    <a:lnTo>
                      <a:pt x="86976" y="64861"/>
                    </a:lnTo>
                    <a:lnTo>
                      <a:pt x="83280" y="61170"/>
                    </a:lnTo>
                    <a:lnTo>
                      <a:pt x="83280" y="64861"/>
                    </a:lnTo>
                    <a:lnTo>
                      <a:pt x="79594" y="64861"/>
                    </a:lnTo>
                    <a:lnTo>
                      <a:pt x="75908" y="68552"/>
                    </a:lnTo>
                    <a:lnTo>
                      <a:pt x="75908" y="68552"/>
                    </a:lnTo>
                    <a:lnTo>
                      <a:pt x="75908" y="68552"/>
                    </a:lnTo>
                    <a:lnTo>
                      <a:pt x="72222" y="68552"/>
                    </a:lnTo>
                    <a:lnTo>
                      <a:pt x="72222" y="72242"/>
                    </a:lnTo>
                    <a:lnTo>
                      <a:pt x="72222" y="72242"/>
                    </a:lnTo>
                    <a:lnTo>
                      <a:pt x="68526" y="68552"/>
                    </a:lnTo>
                    <a:lnTo>
                      <a:pt x="64840" y="68552"/>
                    </a:lnTo>
                    <a:lnTo>
                      <a:pt x="64840" y="68552"/>
                    </a:lnTo>
                    <a:lnTo>
                      <a:pt x="61154" y="68552"/>
                    </a:lnTo>
                    <a:lnTo>
                      <a:pt x="57458" y="68552"/>
                    </a:lnTo>
                    <a:lnTo>
                      <a:pt x="57458" y="68552"/>
                    </a:lnTo>
                    <a:lnTo>
                      <a:pt x="53772" y="72242"/>
                    </a:lnTo>
                    <a:lnTo>
                      <a:pt x="50082" y="75933"/>
                    </a:lnTo>
                    <a:lnTo>
                      <a:pt x="46393" y="72242"/>
                    </a:lnTo>
                    <a:lnTo>
                      <a:pt x="42704" y="75933"/>
                    </a:lnTo>
                    <a:lnTo>
                      <a:pt x="39015" y="75933"/>
                    </a:lnTo>
                    <a:lnTo>
                      <a:pt x="35326" y="79623"/>
                    </a:lnTo>
                    <a:lnTo>
                      <a:pt x="35326" y="83314"/>
                    </a:lnTo>
                    <a:lnTo>
                      <a:pt x="35326" y="83314"/>
                    </a:lnTo>
                    <a:lnTo>
                      <a:pt x="35326" y="83314"/>
                    </a:lnTo>
                    <a:lnTo>
                      <a:pt x="31637" y="83314"/>
                    </a:lnTo>
                    <a:lnTo>
                      <a:pt x="24258" y="87004"/>
                    </a:lnTo>
                    <a:lnTo>
                      <a:pt x="27947" y="87004"/>
                    </a:lnTo>
                    <a:lnTo>
                      <a:pt x="24258" y="90694"/>
                    </a:lnTo>
                    <a:lnTo>
                      <a:pt x="20569" y="90694"/>
                    </a:lnTo>
                    <a:lnTo>
                      <a:pt x="13191" y="90694"/>
                    </a:lnTo>
                    <a:lnTo>
                      <a:pt x="9502" y="83314"/>
                    </a:lnTo>
                    <a:lnTo>
                      <a:pt x="5812" y="83314"/>
                    </a:lnTo>
                    <a:lnTo>
                      <a:pt x="5812" y="83314"/>
                    </a:lnTo>
                    <a:lnTo>
                      <a:pt x="5812" y="79623"/>
                    </a:lnTo>
                    <a:lnTo>
                      <a:pt x="9502" y="75933"/>
                    </a:lnTo>
                    <a:lnTo>
                      <a:pt x="16880" y="64861"/>
                    </a:lnTo>
                    <a:lnTo>
                      <a:pt x="24258" y="53789"/>
                    </a:lnTo>
                    <a:lnTo>
                      <a:pt x="24258" y="53789"/>
                    </a:lnTo>
                    <a:lnTo>
                      <a:pt x="31637" y="50098"/>
                    </a:lnTo>
                    <a:lnTo>
                      <a:pt x="39015" y="46408"/>
                    </a:lnTo>
                    <a:lnTo>
                      <a:pt x="53772" y="42717"/>
                    </a:lnTo>
                    <a:lnTo>
                      <a:pt x="75908" y="39027"/>
                    </a:lnTo>
                    <a:lnTo>
                      <a:pt x="83280" y="39027"/>
                    </a:lnTo>
                    <a:lnTo>
                      <a:pt x="105416" y="31645"/>
                    </a:lnTo>
                    <a:lnTo>
                      <a:pt x="123866" y="24264"/>
                    </a:lnTo>
                    <a:lnTo>
                      <a:pt x="164443" y="9502"/>
                    </a:lnTo>
                    <a:lnTo>
                      <a:pt x="175511" y="9502"/>
                    </a:lnTo>
                    <a:lnTo>
                      <a:pt x="186579" y="5812"/>
                    </a:lnTo>
                    <a:lnTo>
                      <a:pt x="190275" y="9502"/>
                    </a:lnTo>
                    <a:lnTo>
                      <a:pt x="193961" y="9502"/>
                    </a:lnTo>
                    <a:lnTo>
                      <a:pt x="197647" y="13192"/>
                    </a:lnTo>
                    <a:lnTo>
                      <a:pt x="197647" y="13192"/>
                    </a:lnTo>
                    <a:lnTo>
                      <a:pt x="197647" y="20574"/>
                    </a:lnTo>
                    <a:lnTo>
                      <a:pt x="197647" y="24264"/>
                    </a:lnTo>
                    <a:lnTo>
                      <a:pt x="197647" y="24264"/>
                    </a:lnTo>
                    <a:lnTo>
                      <a:pt x="197647" y="20574"/>
                    </a:lnTo>
                    <a:lnTo>
                      <a:pt x="197647" y="16883"/>
                    </a:lnTo>
                    <a:lnTo>
                      <a:pt x="193961" y="13192"/>
                    </a:lnTo>
                    <a:lnTo>
                      <a:pt x="193961" y="13192"/>
                    </a:lnTo>
                    <a:lnTo>
                      <a:pt x="193961" y="16883"/>
                    </a:lnTo>
                    <a:lnTo>
                      <a:pt x="190275" y="20574"/>
                    </a:lnTo>
                    <a:lnTo>
                      <a:pt x="190275" y="20574"/>
                    </a:lnTo>
                    <a:lnTo>
                      <a:pt x="186579" y="24264"/>
                    </a:lnTo>
                    <a:lnTo>
                      <a:pt x="179207" y="24264"/>
                    </a:lnTo>
                    <a:lnTo>
                      <a:pt x="175511" y="24264"/>
                    </a:lnTo>
                    <a:lnTo>
                      <a:pt x="168139" y="27955"/>
                    </a:lnTo>
                    <a:lnTo>
                      <a:pt x="168139" y="27955"/>
                    </a:lnTo>
                    <a:lnTo>
                      <a:pt x="168139" y="27955"/>
                    </a:lnTo>
                    <a:lnTo>
                      <a:pt x="164443" y="24264"/>
                    </a:lnTo>
                    <a:lnTo>
                      <a:pt x="164443" y="24264"/>
                    </a:lnTo>
                    <a:lnTo>
                      <a:pt x="164443" y="24264"/>
                    </a:lnTo>
                    <a:lnTo>
                      <a:pt x="164443" y="24264"/>
                    </a:lnTo>
                    <a:lnTo>
                      <a:pt x="164443" y="27955"/>
                    </a:lnTo>
                    <a:lnTo>
                      <a:pt x="168139" y="27955"/>
                    </a:lnTo>
                    <a:lnTo>
                      <a:pt x="164443" y="31645"/>
                    </a:lnTo>
                    <a:lnTo>
                      <a:pt x="160757" y="31645"/>
                    </a:lnTo>
                    <a:lnTo>
                      <a:pt x="160757" y="31645"/>
                    </a:lnTo>
                    <a:lnTo>
                      <a:pt x="157070" y="31645"/>
                    </a:lnTo>
                    <a:lnTo>
                      <a:pt x="157070" y="27955"/>
                    </a:lnTo>
                    <a:lnTo>
                      <a:pt x="153375" y="27955"/>
                    </a:lnTo>
                    <a:lnTo>
                      <a:pt x="153375" y="27955"/>
                    </a:lnTo>
                    <a:lnTo>
                      <a:pt x="157070" y="31645"/>
                    </a:lnTo>
                    <a:lnTo>
                      <a:pt x="157070" y="35336"/>
                    </a:lnTo>
                    <a:lnTo>
                      <a:pt x="153375" y="35336"/>
                    </a:lnTo>
                    <a:lnTo>
                      <a:pt x="149689" y="35336"/>
                    </a:lnTo>
                    <a:lnTo>
                      <a:pt x="149689" y="35336"/>
                    </a:lnTo>
                    <a:lnTo>
                      <a:pt x="146002" y="31645"/>
                    </a:lnTo>
                    <a:lnTo>
                      <a:pt x="146002" y="31645"/>
                    </a:lnTo>
                    <a:lnTo>
                      <a:pt x="146002" y="31645"/>
                    </a:lnTo>
                    <a:lnTo>
                      <a:pt x="149689" y="35336"/>
                    </a:lnTo>
                    <a:lnTo>
                      <a:pt x="153375" y="39027"/>
                    </a:lnTo>
                    <a:lnTo>
                      <a:pt x="157070" y="39027"/>
                    </a:lnTo>
                    <a:lnTo>
                      <a:pt x="160757" y="39027"/>
                    </a:lnTo>
                    <a:lnTo>
                      <a:pt x="160757" y="39027"/>
                    </a:lnTo>
                    <a:lnTo>
                      <a:pt x="157070" y="42717"/>
                    </a:lnTo>
                    <a:lnTo>
                      <a:pt x="149689" y="42717"/>
                    </a:lnTo>
                    <a:lnTo>
                      <a:pt x="142316" y="42717"/>
                    </a:lnTo>
                    <a:lnTo>
                      <a:pt x="138621" y="42717"/>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76" name="Freeform: Shape 75">
                <a:extLst>
                  <a:ext uri="{FF2B5EF4-FFF2-40B4-BE49-F238E27FC236}">
                    <a16:creationId xmlns:a16="http://schemas.microsoft.com/office/drawing/2014/main" id="{AA437B29-8041-4128-9849-D0C29CEC4878}"/>
                  </a:ext>
                </a:extLst>
              </p:cNvPr>
              <p:cNvSpPr/>
              <p:nvPr/>
            </p:nvSpPr>
            <p:spPr>
              <a:xfrm>
                <a:off x="3048462" y="1540039"/>
                <a:ext cx="64980" cy="43320"/>
              </a:xfrm>
              <a:custGeom>
                <a:avLst/>
                <a:gdLst>
                  <a:gd name="connsiteX0" fmla="*/ 27947 w 28575"/>
                  <a:gd name="connsiteY0" fmla="*/ 5812 h 19050"/>
                  <a:gd name="connsiteX1" fmla="*/ 27947 w 28575"/>
                  <a:gd name="connsiteY1" fmla="*/ 5812 h 19050"/>
                  <a:gd name="connsiteX2" fmla="*/ 24257 w 28575"/>
                  <a:gd name="connsiteY2" fmla="*/ 9503 h 19050"/>
                  <a:gd name="connsiteX3" fmla="*/ 20568 w 28575"/>
                  <a:gd name="connsiteY3" fmla="*/ 13193 h 19050"/>
                  <a:gd name="connsiteX4" fmla="*/ 16879 w 28575"/>
                  <a:gd name="connsiteY4" fmla="*/ 13193 h 19050"/>
                  <a:gd name="connsiteX5" fmla="*/ 13190 w 28575"/>
                  <a:gd name="connsiteY5" fmla="*/ 13193 h 19050"/>
                  <a:gd name="connsiteX6" fmla="*/ 9501 w 28575"/>
                  <a:gd name="connsiteY6" fmla="*/ 13193 h 19050"/>
                  <a:gd name="connsiteX7" fmla="*/ 9501 w 28575"/>
                  <a:gd name="connsiteY7" fmla="*/ 13193 h 19050"/>
                  <a:gd name="connsiteX8" fmla="*/ 9501 w 28575"/>
                  <a:gd name="connsiteY8" fmla="*/ 16883 h 19050"/>
                  <a:gd name="connsiteX9" fmla="*/ 9501 w 28575"/>
                  <a:gd name="connsiteY9" fmla="*/ 16883 h 19050"/>
                  <a:gd name="connsiteX10" fmla="*/ 5812 w 28575"/>
                  <a:gd name="connsiteY10" fmla="*/ 16883 h 19050"/>
                  <a:gd name="connsiteX11" fmla="*/ 5812 w 28575"/>
                  <a:gd name="connsiteY11" fmla="*/ 16883 h 19050"/>
                  <a:gd name="connsiteX12" fmla="*/ 5812 w 28575"/>
                  <a:gd name="connsiteY12" fmla="*/ 13193 h 19050"/>
                  <a:gd name="connsiteX13" fmla="*/ 5812 w 28575"/>
                  <a:gd name="connsiteY13" fmla="*/ 13193 h 19050"/>
                  <a:gd name="connsiteX14" fmla="*/ 9501 w 28575"/>
                  <a:gd name="connsiteY14" fmla="*/ 13193 h 19050"/>
                  <a:gd name="connsiteX15" fmla="*/ 5812 w 28575"/>
                  <a:gd name="connsiteY15" fmla="*/ 13193 h 19050"/>
                  <a:gd name="connsiteX16" fmla="*/ 9501 w 28575"/>
                  <a:gd name="connsiteY16" fmla="*/ 9503 h 19050"/>
                  <a:gd name="connsiteX17" fmla="*/ 13190 w 28575"/>
                  <a:gd name="connsiteY17" fmla="*/ 5812 h 19050"/>
                  <a:gd name="connsiteX18" fmla="*/ 20568 w 28575"/>
                  <a:gd name="connsiteY18" fmla="*/ 5812 h 19050"/>
                  <a:gd name="connsiteX19" fmla="*/ 27947 w 28575"/>
                  <a:gd name="connsiteY19" fmla="*/ 5812 h 19050"/>
                  <a:gd name="connsiteX20" fmla="*/ 27947 w 28575"/>
                  <a:gd name="connsiteY20"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575" h="19050">
                    <a:moveTo>
                      <a:pt x="27947" y="5812"/>
                    </a:moveTo>
                    <a:lnTo>
                      <a:pt x="27947" y="5812"/>
                    </a:lnTo>
                    <a:lnTo>
                      <a:pt x="24257" y="9503"/>
                    </a:lnTo>
                    <a:lnTo>
                      <a:pt x="20568" y="13193"/>
                    </a:lnTo>
                    <a:lnTo>
                      <a:pt x="16879" y="13193"/>
                    </a:lnTo>
                    <a:lnTo>
                      <a:pt x="13190" y="13193"/>
                    </a:lnTo>
                    <a:lnTo>
                      <a:pt x="9501" y="13193"/>
                    </a:lnTo>
                    <a:lnTo>
                      <a:pt x="9501" y="13193"/>
                    </a:lnTo>
                    <a:lnTo>
                      <a:pt x="9501" y="16883"/>
                    </a:lnTo>
                    <a:lnTo>
                      <a:pt x="9501" y="16883"/>
                    </a:lnTo>
                    <a:lnTo>
                      <a:pt x="5812" y="16883"/>
                    </a:lnTo>
                    <a:lnTo>
                      <a:pt x="5812" y="16883"/>
                    </a:lnTo>
                    <a:lnTo>
                      <a:pt x="5812" y="13193"/>
                    </a:lnTo>
                    <a:lnTo>
                      <a:pt x="5812" y="13193"/>
                    </a:lnTo>
                    <a:lnTo>
                      <a:pt x="9501" y="13193"/>
                    </a:lnTo>
                    <a:lnTo>
                      <a:pt x="5812" y="13193"/>
                    </a:lnTo>
                    <a:lnTo>
                      <a:pt x="9501" y="9503"/>
                    </a:lnTo>
                    <a:lnTo>
                      <a:pt x="13190" y="5812"/>
                    </a:lnTo>
                    <a:lnTo>
                      <a:pt x="20568" y="5812"/>
                    </a:lnTo>
                    <a:lnTo>
                      <a:pt x="27947" y="5812"/>
                    </a:lnTo>
                    <a:lnTo>
                      <a:pt x="27947" y="5812"/>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77" name="Freeform: Shape 76">
                <a:extLst>
                  <a:ext uri="{FF2B5EF4-FFF2-40B4-BE49-F238E27FC236}">
                    <a16:creationId xmlns:a16="http://schemas.microsoft.com/office/drawing/2014/main" id="{CEEADEBC-9499-45E5-B79C-6FE2D1F86C31}"/>
                  </a:ext>
                </a:extLst>
              </p:cNvPr>
              <p:cNvSpPr/>
              <p:nvPr/>
            </p:nvSpPr>
            <p:spPr>
              <a:xfrm>
                <a:off x="2763225" y="1523254"/>
                <a:ext cx="281580" cy="194940"/>
              </a:xfrm>
              <a:custGeom>
                <a:avLst/>
                <a:gdLst>
                  <a:gd name="connsiteX0" fmla="*/ 105420 w 123825"/>
                  <a:gd name="connsiteY0" fmla="*/ 16883 h 85725"/>
                  <a:gd name="connsiteX1" fmla="*/ 105420 w 123825"/>
                  <a:gd name="connsiteY1" fmla="*/ 20574 h 85725"/>
                  <a:gd name="connsiteX2" fmla="*/ 101730 w 123825"/>
                  <a:gd name="connsiteY2" fmla="*/ 24264 h 85725"/>
                  <a:gd name="connsiteX3" fmla="*/ 94352 w 123825"/>
                  <a:gd name="connsiteY3" fmla="*/ 27955 h 85725"/>
                  <a:gd name="connsiteX4" fmla="*/ 72217 w 123825"/>
                  <a:gd name="connsiteY4" fmla="*/ 35336 h 85725"/>
                  <a:gd name="connsiteX5" fmla="*/ 64839 w 123825"/>
                  <a:gd name="connsiteY5" fmla="*/ 39027 h 85725"/>
                  <a:gd name="connsiteX6" fmla="*/ 64839 w 123825"/>
                  <a:gd name="connsiteY6" fmla="*/ 42717 h 85725"/>
                  <a:gd name="connsiteX7" fmla="*/ 64839 w 123825"/>
                  <a:gd name="connsiteY7" fmla="*/ 50098 h 85725"/>
                  <a:gd name="connsiteX8" fmla="*/ 68528 w 123825"/>
                  <a:gd name="connsiteY8" fmla="*/ 50098 h 85725"/>
                  <a:gd name="connsiteX9" fmla="*/ 68528 w 123825"/>
                  <a:gd name="connsiteY9" fmla="*/ 46408 h 85725"/>
                  <a:gd name="connsiteX10" fmla="*/ 68528 w 123825"/>
                  <a:gd name="connsiteY10" fmla="*/ 46408 h 85725"/>
                  <a:gd name="connsiteX11" fmla="*/ 68528 w 123825"/>
                  <a:gd name="connsiteY11" fmla="*/ 46408 h 85725"/>
                  <a:gd name="connsiteX12" fmla="*/ 68528 w 123825"/>
                  <a:gd name="connsiteY12" fmla="*/ 46408 h 85725"/>
                  <a:gd name="connsiteX13" fmla="*/ 72217 w 123825"/>
                  <a:gd name="connsiteY13" fmla="*/ 46408 h 85725"/>
                  <a:gd name="connsiteX14" fmla="*/ 68528 w 123825"/>
                  <a:gd name="connsiteY14" fmla="*/ 50098 h 85725"/>
                  <a:gd name="connsiteX15" fmla="*/ 64839 w 123825"/>
                  <a:gd name="connsiteY15" fmla="*/ 57480 h 85725"/>
                  <a:gd name="connsiteX16" fmla="*/ 64839 w 123825"/>
                  <a:gd name="connsiteY16" fmla="*/ 57480 h 85725"/>
                  <a:gd name="connsiteX17" fmla="*/ 64839 w 123825"/>
                  <a:gd name="connsiteY17" fmla="*/ 57480 h 85725"/>
                  <a:gd name="connsiteX18" fmla="*/ 53771 w 123825"/>
                  <a:gd name="connsiteY18" fmla="*/ 64861 h 85725"/>
                  <a:gd name="connsiteX19" fmla="*/ 50082 w 123825"/>
                  <a:gd name="connsiteY19" fmla="*/ 68552 h 85725"/>
                  <a:gd name="connsiteX20" fmla="*/ 46393 w 123825"/>
                  <a:gd name="connsiteY20" fmla="*/ 68552 h 85725"/>
                  <a:gd name="connsiteX21" fmla="*/ 46393 w 123825"/>
                  <a:gd name="connsiteY21" fmla="*/ 72242 h 85725"/>
                  <a:gd name="connsiteX22" fmla="*/ 42704 w 123825"/>
                  <a:gd name="connsiteY22" fmla="*/ 75933 h 85725"/>
                  <a:gd name="connsiteX23" fmla="*/ 35326 w 123825"/>
                  <a:gd name="connsiteY23" fmla="*/ 79623 h 85725"/>
                  <a:gd name="connsiteX24" fmla="*/ 35326 w 123825"/>
                  <a:gd name="connsiteY24" fmla="*/ 79623 h 85725"/>
                  <a:gd name="connsiteX25" fmla="*/ 35326 w 123825"/>
                  <a:gd name="connsiteY25" fmla="*/ 79623 h 85725"/>
                  <a:gd name="connsiteX26" fmla="*/ 31636 w 123825"/>
                  <a:gd name="connsiteY26" fmla="*/ 79623 h 85725"/>
                  <a:gd name="connsiteX27" fmla="*/ 24258 w 123825"/>
                  <a:gd name="connsiteY27" fmla="*/ 79623 h 85725"/>
                  <a:gd name="connsiteX28" fmla="*/ 13191 w 123825"/>
                  <a:gd name="connsiteY28" fmla="*/ 79623 h 85725"/>
                  <a:gd name="connsiteX29" fmla="*/ 9502 w 123825"/>
                  <a:gd name="connsiteY29" fmla="*/ 83314 h 85725"/>
                  <a:gd name="connsiteX30" fmla="*/ 9502 w 123825"/>
                  <a:gd name="connsiteY30" fmla="*/ 83314 h 85725"/>
                  <a:gd name="connsiteX31" fmla="*/ 9502 w 123825"/>
                  <a:gd name="connsiteY31" fmla="*/ 87005 h 85725"/>
                  <a:gd name="connsiteX32" fmla="*/ 13191 w 123825"/>
                  <a:gd name="connsiteY32" fmla="*/ 87005 h 85725"/>
                  <a:gd name="connsiteX33" fmla="*/ 9502 w 123825"/>
                  <a:gd name="connsiteY33" fmla="*/ 87005 h 85725"/>
                  <a:gd name="connsiteX34" fmla="*/ 5812 w 123825"/>
                  <a:gd name="connsiteY34" fmla="*/ 87005 h 85725"/>
                  <a:gd name="connsiteX35" fmla="*/ 5812 w 123825"/>
                  <a:gd name="connsiteY35" fmla="*/ 87005 h 85725"/>
                  <a:gd name="connsiteX36" fmla="*/ 5812 w 123825"/>
                  <a:gd name="connsiteY36" fmla="*/ 79623 h 85725"/>
                  <a:gd name="connsiteX37" fmla="*/ 5812 w 123825"/>
                  <a:gd name="connsiteY37" fmla="*/ 75933 h 85725"/>
                  <a:gd name="connsiteX38" fmla="*/ 5812 w 123825"/>
                  <a:gd name="connsiteY38" fmla="*/ 72242 h 85725"/>
                  <a:gd name="connsiteX39" fmla="*/ 27947 w 123825"/>
                  <a:gd name="connsiteY39" fmla="*/ 61170 h 85725"/>
                  <a:gd name="connsiteX40" fmla="*/ 39015 w 123825"/>
                  <a:gd name="connsiteY40" fmla="*/ 50098 h 85725"/>
                  <a:gd name="connsiteX41" fmla="*/ 46393 w 123825"/>
                  <a:gd name="connsiteY41" fmla="*/ 46408 h 85725"/>
                  <a:gd name="connsiteX42" fmla="*/ 53771 w 123825"/>
                  <a:gd name="connsiteY42" fmla="*/ 39027 h 85725"/>
                  <a:gd name="connsiteX43" fmla="*/ 57460 w 123825"/>
                  <a:gd name="connsiteY43" fmla="*/ 35336 h 85725"/>
                  <a:gd name="connsiteX44" fmla="*/ 72217 w 123825"/>
                  <a:gd name="connsiteY44" fmla="*/ 24264 h 85725"/>
                  <a:gd name="connsiteX45" fmla="*/ 79595 w 123825"/>
                  <a:gd name="connsiteY45" fmla="*/ 20574 h 85725"/>
                  <a:gd name="connsiteX46" fmla="*/ 83285 w 123825"/>
                  <a:gd name="connsiteY46" fmla="*/ 16883 h 85725"/>
                  <a:gd name="connsiteX47" fmla="*/ 83285 w 123825"/>
                  <a:gd name="connsiteY47" fmla="*/ 16883 h 85725"/>
                  <a:gd name="connsiteX48" fmla="*/ 94352 w 123825"/>
                  <a:gd name="connsiteY48" fmla="*/ 13192 h 85725"/>
                  <a:gd name="connsiteX49" fmla="*/ 101730 w 123825"/>
                  <a:gd name="connsiteY49" fmla="*/ 9503 h 85725"/>
                  <a:gd name="connsiteX50" fmla="*/ 109109 w 123825"/>
                  <a:gd name="connsiteY50" fmla="*/ 5812 h 85725"/>
                  <a:gd name="connsiteX51" fmla="*/ 112798 w 123825"/>
                  <a:gd name="connsiteY51" fmla="*/ 5812 h 85725"/>
                  <a:gd name="connsiteX52" fmla="*/ 123865 w 123825"/>
                  <a:gd name="connsiteY52" fmla="*/ 9503 h 85725"/>
                  <a:gd name="connsiteX53" fmla="*/ 123865 w 123825"/>
                  <a:gd name="connsiteY53" fmla="*/ 13192 h 85725"/>
                  <a:gd name="connsiteX54" fmla="*/ 120176 w 123825"/>
                  <a:gd name="connsiteY54" fmla="*/ 16883 h 85725"/>
                  <a:gd name="connsiteX55" fmla="*/ 120176 w 123825"/>
                  <a:gd name="connsiteY55" fmla="*/ 16883 h 85725"/>
                  <a:gd name="connsiteX56" fmla="*/ 120176 w 123825"/>
                  <a:gd name="connsiteY56" fmla="*/ 16883 h 85725"/>
                  <a:gd name="connsiteX57" fmla="*/ 116487 w 123825"/>
                  <a:gd name="connsiteY57" fmla="*/ 16883 h 85725"/>
                  <a:gd name="connsiteX58" fmla="*/ 112798 w 123825"/>
                  <a:gd name="connsiteY58" fmla="*/ 16883 h 85725"/>
                  <a:gd name="connsiteX59" fmla="*/ 105420 w 123825"/>
                  <a:gd name="connsiteY59" fmla="*/ 16883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23825" h="85725">
                    <a:moveTo>
                      <a:pt x="105420" y="16883"/>
                    </a:moveTo>
                    <a:lnTo>
                      <a:pt x="105420" y="20574"/>
                    </a:lnTo>
                    <a:lnTo>
                      <a:pt x="101730" y="24264"/>
                    </a:lnTo>
                    <a:lnTo>
                      <a:pt x="94352" y="27955"/>
                    </a:lnTo>
                    <a:lnTo>
                      <a:pt x="72217" y="35336"/>
                    </a:lnTo>
                    <a:lnTo>
                      <a:pt x="64839" y="39027"/>
                    </a:lnTo>
                    <a:lnTo>
                      <a:pt x="64839" y="42717"/>
                    </a:lnTo>
                    <a:lnTo>
                      <a:pt x="64839" y="50098"/>
                    </a:lnTo>
                    <a:lnTo>
                      <a:pt x="68528" y="50098"/>
                    </a:lnTo>
                    <a:lnTo>
                      <a:pt x="68528" y="46408"/>
                    </a:lnTo>
                    <a:lnTo>
                      <a:pt x="68528" y="46408"/>
                    </a:lnTo>
                    <a:lnTo>
                      <a:pt x="68528" y="46408"/>
                    </a:lnTo>
                    <a:lnTo>
                      <a:pt x="68528" y="46408"/>
                    </a:lnTo>
                    <a:lnTo>
                      <a:pt x="72217" y="46408"/>
                    </a:lnTo>
                    <a:lnTo>
                      <a:pt x="68528" y="50098"/>
                    </a:lnTo>
                    <a:lnTo>
                      <a:pt x="64839" y="57480"/>
                    </a:lnTo>
                    <a:lnTo>
                      <a:pt x="64839" y="57480"/>
                    </a:lnTo>
                    <a:lnTo>
                      <a:pt x="64839" y="57480"/>
                    </a:lnTo>
                    <a:lnTo>
                      <a:pt x="53771" y="64861"/>
                    </a:lnTo>
                    <a:lnTo>
                      <a:pt x="50082" y="68552"/>
                    </a:lnTo>
                    <a:lnTo>
                      <a:pt x="46393" y="68552"/>
                    </a:lnTo>
                    <a:lnTo>
                      <a:pt x="46393" y="72242"/>
                    </a:lnTo>
                    <a:lnTo>
                      <a:pt x="42704" y="75933"/>
                    </a:lnTo>
                    <a:lnTo>
                      <a:pt x="35326" y="79623"/>
                    </a:lnTo>
                    <a:lnTo>
                      <a:pt x="35326" y="79623"/>
                    </a:lnTo>
                    <a:lnTo>
                      <a:pt x="35326" y="79623"/>
                    </a:lnTo>
                    <a:lnTo>
                      <a:pt x="31636" y="79623"/>
                    </a:lnTo>
                    <a:lnTo>
                      <a:pt x="24258" y="79623"/>
                    </a:lnTo>
                    <a:lnTo>
                      <a:pt x="13191" y="79623"/>
                    </a:lnTo>
                    <a:lnTo>
                      <a:pt x="9502" y="83314"/>
                    </a:lnTo>
                    <a:lnTo>
                      <a:pt x="9502" y="83314"/>
                    </a:lnTo>
                    <a:lnTo>
                      <a:pt x="9502" y="87005"/>
                    </a:lnTo>
                    <a:lnTo>
                      <a:pt x="13191" y="87005"/>
                    </a:lnTo>
                    <a:lnTo>
                      <a:pt x="9502" y="87005"/>
                    </a:lnTo>
                    <a:lnTo>
                      <a:pt x="5812" y="87005"/>
                    </a:lnTo>
                    <a:lnTo>
                      <a:pt x="5812" y="87005"/>
                    </a:lnTo>
                    <a:lnTo>
                      <a:pt x="5812" y="79623"/>
                    </a:lnTo>
                    <a:lnTo>
                      <a:pt x="5812" y="75933"/>
                    </a:lnTo>
                    <a:lnTo>
                      <a:pt x="5812" y="72242"/>
                    </a:lnTo>
                    <a:lnTo>
                      <a:pt x="27947" y="61170"/>
                    </a:lnTo>
                    <a:lnTo>
                      <a:pt x="39015" y="50098"/>
                    </a:lnTo>
                    <a:lnTo>
                      <a:pt x="46393" y="46408"/>
                    </a:lnTo>
                    <a:lnTo>
                      <a:pt x="53771" y="39027"/>
                    </a:lnTo>
                    <a:lnTo>
                      <a:pt x="57460" y="35336"/>
                    </a:lnTo>
                    <a:lnTo>
                      <a:pt x="72217" y="24264"/>
                    </a:lnTo>
                    <a:lnTo>
                      <a:pt x="79595" y="20574"/>
                    </a:lnTo>
                    <a:lnTo>
                      <a:pt x="83285" y="16883"/>
                    </a:lnTo>
                    <a:lnTo>
                      <a:pt x="83285" y="16883"/>
                    </a:lnTo>
                    <a:lnTo>
                      <a:pt x="94352" y="13192"/>
                    </a:lnTo>
                    <a:lnTo>
                      <a:pt x="101730" y="9503"/>
                    </a:lnTo>
                    <a:lnTo>
                      <a:pt x="109109" y="5812"/>
                    </a:lnTo>
                    <a:lnTo>
                      <a:pt x="112798" y="5812"/>
                    </a:lnTo>
                    <a:lnTo>
                      <a:pt x="123865" y="9503"/>
                    </a:lnTo>
                    <a:lnTo>
                      <a:pt x="123865" y="13192"/>
                    </a:lnTo>
                    <a:lnTo>
                      <a:pt x="120176" y="16883"/>
                    </a:lnTo>
                    <a:lnTo>
                      <a:pt x="120176" y="16883"/>
                    </a:lnTo>
                    <a:lnTo>
                      <a:pt x="120176" y="16883"/>
                    </a:lnTo>
                    <a:lnTo>
                      <a:pt x="116487" y="16883"/>
                    </a:lnTo>
                    <a:lnTo>
                      <a:pt x="112798" y="16883"/>
                    </a:lnTo>
                    <a:lnTo>
                      <a:pt x="105420" y="16883"/>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78" name="Freeform: Shape 77">
                <a:extLst>
                  <a:ext uri="{FF2B5EF4-FFF2-40B4-BE49-F238E27FC236}">
                    <a16:creationId xmlns:a16="http://schemas.microsoft.com/office/drawing/2014/main" id="{ADB3E7ED-7E8D-4D69-9CD6-7AA00B1C6DFC}"/>
                  </a:ext>
                </a:extLst>
              </p:cNvPr>
              <p:cNvSpPr/>
              <p:nvPr/>
            </p:nvSpPr>
            <p:spPr>
              <a:xfrm>
                <a:off x="4382359" y="1153991"/>
                <a:ext cx="21660" cy="21660"/>
              </a:xfrm>
              <a:custGeom>
                <a:avLst/>
                <a:gdLst>
                  <a:gd name="connsiteX0" fmla="*/ 5812 w 9525"/>
                  <a:gd name="connsiteY0" fmla="*/ 5812 h 9525"/>
                  <a:gd name="connsiteX1" fmla="*/ 13184 w 9525"/>
                  <a:gd name="connsiteY1" fmla="*/ 5812 h 9525"/>
                  <a:gd name="connsiteX2" fmla="*/ 13184 w 9525"/>
                  <a:gd name="connsiteY2" fmla="*/ 5812 h 9525"/>
                  <a:gd name="connsiteX3" fmla="*/ 13184 w 9525"/>
                  <a:gd name="connsiteY3" fmla="*/ 9502 h 9525"/>
                  <a:gd name="connsiteX4" fmla="*/ 13184 w 9525"/>
                  <a:gd name="connsiteY4" fmla="*/ 9502 h 9525"/>
                  <a:gd name="connsiteX5" fmla="*/ 5812 w 9525"/>
                  <a:gd name="connsiteY5" fmla="*/ 13193 h 9525"/>
                  <a:gd name="connsiteX6" fmla="*/ 5812 w 9525"/>
                  <a:gd name="connsiteY6"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9525">
                    <a:moveTo>
                      <a:pt x="5812" y="5812"/>
                    </a:moveTo>
                    <a:lnTo>
                      <a:pt x="13184" y="5812"/>
                    </a:lnTo>
                    <a:lnTo>
                      <a:pt x="13184" y="5812"/>
                    </a:lnTo>
                    <a:lnTo>
                      <a:pt x="13184" y="9502"/>
                    </a:lnTo>
                    <a:lnTo>
                      <a:pt x="13184" y="9502"/>
                    </a:lnTo>
                    <a:lnTo>
                      <a:pt x="5812" y="13193"/>
                    </a:lnTo>
                    <a:lnTo>
                      <a:pt x="5812" y="5812"/>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79" name="Freeform: Shape 78">
                <a:extLst>
                  <a:ext uri="{FF2B5EF4-FFF2-40B4-BE49-F238E27FC236}">
                    <a16:creationId xmlns:a16="http://schemas.microsoft.com/office/drawing/2014/main" id="{FCB54F1F-FC11-4E20-A07A-B82B715BB379}"/>
                  </a:ext>
                </a:extLst>
              </p:cNvPr>
              <p:cNvSpPr/>
              <p:nvPr/>
            </p:nvSpPr>
            <p:spPr>
              <a:xfrm>
                <a:off x="4491420" y="1070068"/>
                <a:ext cx="86640" cy="86640"/>
              </a:xfrm>
              <a:custGeom>
                <a:avLst/>
                <a:gdLst>
                  <a:gd name="connsiteX0" fmla="*/ 24252 w 38100"/>
                  <a:gd name="connsiteY0" fmla="*/ 9502 h 38100"/>
                  <a:gd name="connsiteX1" fmla="*/ 24252 w 38100"/>
                  <a:gd name="connsiteY1" fmla="*/ 13193 h 38100"/>
                  <a:gd name="connsiteX2" fmla="*/ 24252 w 38100"/>
                  <a:gd name="connsiteY2" fmla="*/ 13193 h 38100"/>
                  <a:gd name="connsiteX3" fmla="*/ 27948 w 38100"/>
                  <a:gd name="connsiteY3" fmla="*/ 16883 h 38100"/>
                  <a:gd name="connsiteX4" fmla="*/ 31634 w 38100"/>
                  <a:gd name="connsiteY4" fmla="*/ 20574 h 38100"/>
                  <a:gd name="connsiteX5" fmla="*/ 35320 w 38100"/>
                  <a:gd name="connsiteY5" fmla="*/ 24264 h 38100"/>
                  <a:gd name="connsiteX6" fmla="*/ 31634 w 38100"/>
                  <a:gd name="connsiteY6" fmla="*/ 20574 h 38100"/>
                  <a:gd name="connsiteX7" fmla="*/ 27948 w 38100"/>
                  <a:gd name="connsiteY7" fmla="*/ 20574 h 38100"/>
                  <a:gd name="connsiteX8" fmla="*/ 20566 w 38100"/>
                  <a:gd name="connsiteY8" fmla="*/ 20574 h 38100"/>
                  <a:gd name="connsiteX9" fmla="*/ 16880 w 38100"/>
                  <a:gd name="connsiteY9" fmla="*/ 20574 h 38100"/>
                  <a:gd name="connsiteX10" fmla="*/ 16880 w 38100"/>
                  <a:gd name="connsiteY10" fmla="*/ 20574 h 38100"/>
                  <a:gd name="connsiteX11" fmla="*/ 16880 w 38100"/>
                  <a:gd name="connsiteY11" fmla="*/ 24264 h 38100"/>
                  <a:gd name="connsiteX12" fmla="*/ 16880 w 38100"/>
                  <a:gd name="connsiteY12" fmla="*/ 27955 h 38100"/>
                  <a:gd name="connsiteX13" fmla="*/ 20566 w 38100"/>
                  <a:gd name="connsiteY13" fmla="*/ 27955 h 38100"/>
                  <a:gd name="connsiteX14" fmla="*/ 20566 w 38100"/>
                  <a:gd name="connsiteY14" fmla="*/ 27955 h 38100"/>
                  <a:gd name="connsiteX15" fmla="*/ 16880 w 38100"/>
                  <a:gd name="connsiteY15" fmla="*/ 35336 h 38100"/>
                  <a:gd name="connsiteX16" fmla="*/ 13184 w 38100"/>
                  <a:gd name="connsiteY16" fmla="*/ 31646 h 38100"/>
                  <a:gd name="connsiteX17" fmla="*/ 9498 w 38100"/>
                  <a:gd name="connsiteY17" fmla="*/ 20574 h 38100"/>
                  <a:gd name="connsiteX18" fmla="*/ 5812 w 38100"/>
                  <a:gd name="connsiteY18" fmla="*/ 16883 h 38100"/>
                  <a:gd name="connsiteX19" fmla="*/ 5812 w 38100"/>
                  <a:gd name="connsiteY19" fmla="*/ 13193 h 38100"/>
                  <a:gd name="connsiteX20" fmla="*/ 9498 w 38100"/>
                  <a:gd name="connsiteY20" fmla="*/ 5812 h 38100"/>
                  <a:gd name="connsiteX21" fmla="*/ 13184 w 38100"/>
                  <a:gd name="connsiteY21" fmla="*/ 5812 h 38100"/>
                  <a:gd name="connsiteX22" fmla="*/ 16880 w 38100"/>
                  <a:gd name="connsiteY22" fmla="*/ 5812 h 38100"/>
                  <a:gd name="connsiteX23" fmla="*/ 20566 w 38100"/>
                  <a:gd name="connsiteY23" fmla="*/ 5812 h 38100"/>
                  <a:gd name="connsiteX24" fmla="*/ 24252 w 38100"/>
                  <a:gd name="connsiteY24" fmla="*/ 9502 h 38100"/>
                  <a:gd name="connsiteX25" fmla="*/ 24252 w 38100"/>
                  <a:gd name="connsiteY25" fmla="*/ 9502 h 38100"/>
                  <a:gd name="connsiteX26" fmla="*/ 24252 w 38100"/>
                  <a:gd name="connsiteY26" fmla="*/ 9502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8100" h="38100">
                    <a:moveTo>
                      <a:pt x="24252" y="9502"/>
                    </a:moveTo>
                    <a:lnTo>
                      <a:pt x="24252" y="13193"/>
                    </a:lnTo>
                    <a:lnTo>
                      <a:pt x="24252" y="13193"/>
                    </a:lnTo>
                    <a:lnTo>
                      <a:pt x="27948" y="16883"/>
                    </a:lnTo>
                    <a:lnTo>
                      <a:pt x="31634" y="20574"/>
                    </a:lnTo>
                    <a:lnTo>
                      <a:pt x="35320" y="24264"/>
                    </a:lnTo>
                    <a:lnTo>
                      <a:pt x="31634" y="20574"/>
                    </a:lnTo>
                    <a:lnTo>
                      <a:pt x="27948" y="20574"/>
                    </a:lnTo>
                    <a:lnTo>
                      <a:pt x="20566" y="20574"/>
                    </a:lnTo>
                    <a:lnTo>
                      <a:pt x="16880" y="20574"/>
                    </a:lnTo>
                    <a:lnTo>
                      <a:pt x="16880" y="20574"/>
                    </a:lnTo>
                    <a:lnTo>
                      <a:pt x="16880" y="24264"/>
                    </a:lnTo>
                    <a:lnTo>
                      <a:pt x="16880" y="27955"/>
                    </a:lnTo>
                    <a:lnTo>
                      <a:pt x="20566" y="27955"/>
                    </a:lnTo>
                    <a:lnTo>
                      <a:pt x="20566" y="27955"/>
                    </a:lnTo>
                    <a:lnTo>
                      <a:pt x="16880" y="35336"/>
                    </a:lnTo>
                    <a:lnTo>
                      <a:pt x="13184" y="31646"/>
                    </a:lnTo>
                    <a:lnTo>
                      <a:pt x="9498" y="20574"/>
                    </a:lnTo>
                    <a:lnTo>
                      <a:pt x="5812" y="16883"/>
                    </a:lnTo>
                    <a:lnTo>
                      <a:pt x="5812" y="13193"/>
                    </a:lnTo>
                    <a:lnTo>
                      <a:pt x="9498" y="5812"/>
                    </a:lnTo>
                    <a:lnTo>
                      <a:pt x="13184" y="5812"/>
                    </a:lnTo>
                    <a:lnTo>
                      <a:pt x="16880" y="5812"/>
                    </a:lnTo>
                    <a:lnTo>
                      <a:pt x="20566" y="5812"/>
                    </a:lnTo>
                    <a:lnTo>
                      <a:pt x="24252" y="9502"/>
                    </a:lnTo>
                    <a:lnTo>
                      <a:pt x="24252" y="9502"/>
                    </a:lnTo>
                    <a:lnTo>
                      <a:pt x="24252" y="9502"/>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80" name="Freeform: Shape 79">
                <a:extLst>
                  <a:ext uri="{FF2B5EF4-FFF2-40B4-BE49-F238E27FC236}">
                    <a16:creationId xmlns:a16="http://schemas.microsoft.com/office/drawing/2014/main" id="{8502EB0F-8876-4A98-BF64-07124727807F}"/>
                  </a:ext>
                </a:extLst>
              </p:cNvPr>
              <p:cNvSpPr/>
              <p:nvPr/>
            </p:nvSpPr>
            <p:spPr>
              <a:xfrm>
                <a:off x="4608857" y="1086853"/>
                <a:ext cx="64980" cy="21660"/>
              </a:xfrm>
              <a:custGeom>
                <a:avLst/>
                <a:gdLst>
                  <a:gd name="connsiteX0" fmla="*/ 9498 w 28575"/>
                  <a:gd name="connsiteY0" fmla="*/ 5812 h 9525"/>
                  <a:gd name="connsiteX1" fmla="*/ 16880 w 28575"/>
                  <a:gd name="connsiteY1" fmla="*/ 5812 h 9525"/>
                  <a:gd name="connsiteX2" fmla="*/ 24262 w 28575"/>
                  <a:gd name="connsiteY2" fmla="*/ 5812 h 9525"/>
                  <a:gd name="connsiteX3" fmla="*/ 31634 w 28575"/>
                  <a:gd name="connsiteY3" fmla="*/ 9502 h 9525"/>
                  <a:gd name="connsiteX4" fmla="*/ 31634 w 28575"/>
                  <a:gd name="connsiteY4" fmla="*/ 13193 h 9525"/>
                  <a:gd name="connsiteX5" fmla="*/ 31634 w 28575"/>
                  <a:gd name="connsiteY5" fmla="*/ 9502 h 9525"/>
                  <a:gd name="connsiteX6" fmla="*/ 24262 w 28575"/>
                  <a:gd name="connsiteY6" fmla="*/ 9502 h 9525"/>
                  <a:gd name="connsiteX7" fmla="*/ 16880 w 28575"/>
                  <a:gd name="connsiteY7" fmla="*/ 9502 h 9525"/>
                  <a:gd name="connsiteX8" fmla="*/ 13194 w 28575"/>
                  <a:gd name="connsiteY8" fmla="*/ 9502 h 9525"/>
                  <a:gd name="connsiteX9" fmla="*/ 13194 w 28575"/>
                  <a:gd name="connsiteY9" fmla="*/ 9502 h 9525"/>
                  <a:gd name="connsiteX10" fmla="*/ 9498 w 28575"/>
                  <a:gd name="connsiteY10" fmla="*/ 9502 h 9525"/>
                  <a:gd name="connsiteX11" fmla="*/ 5812 w 28575"/>
                  <a:gd name="connsiteY11" fmla="*/ 13193 h 9525"/>
                  <a:gd name="connsiteX12" fmla="*/ 5812 w 28575"/>
                  <a:gd name="connsiteY12" fmla="*/ 13193 h 9525"/>
                  <a:gd name="connsiteX13" fmla="*/ 5812 w 28575"/>
                  <a:gd name="connsiteY13" fmla="*/ 9502 h 9525"/>
                  <a:gd name="connsiteX14" fmla="*/ 9498 w 28575"/>
                  <a:gd name="connsiteY14" fmla="*/ 5812 h 9525"/>
                  <a:gd name="connsiteX15" fmla="*/ 9498 w 28575"/>
                  <a:gd name="connsiteY15"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75" h="9525">
                    <a:moveTo>
                      <a:pt x="9498" y="5812"/>
                    </a:moveTo>
                    <a:lnTo>
                      <a:pt x="16880" y="5812"/>
                    </a:lnTo>
                    <a:lnTo>
                      <a:pt x="24262" y="5812"/>
                    </a:lnTo>
                    <a:lnTo>
                      <a:pt x="31634" y="9502"/>
                    </a:lnTo>
                    <a:lnTo>
                      <a:pt x="31634" y="13193"/>
                    </a:lnTo>
                    <a:lnTo>
                      <a:pt x="31634" y="9502"/>
                    </a:lnTo>
                    <a:lnTo>
                      <a:pt x="24262" y="9502"/>
                    </a:lnTo>
                    <a:lnTo>
                      <a:pt x="16880" y="9502"/>
                    </a:lnTo>
                    <a:lnTo>
                      <a:pt x="13194" y="9502"/>
                    </a:lnTo>
                    <a:lnTo>
                      <a:pt x="13194" y="9502"/>
                    </a:lnTo>
                    <a:lnTo>
                      <a:pt x="9498" y="9502"/>
                    </a:lnTo>
                    <a:lnTo>
                      <a:pt x="5812" y="13193"/>
                    </a:lnTo>
                    <a:lnTo>
                      <a:pt x="5812" y="13193"/>
                    </a:lnTo>
                    <a:lnTo>
                      <a:pt x="5812" y="9502"/>
                    </a:lnTo>
                    <a:lnTo>
                      <a:pt x="9498" y="5812"/>
                    </a:lnTo>
                    <a:lnTo>
                      <a:pt x="9498" y="5812"/>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81" name="Freeform: Shape 80">
                <a:extLst>
                  <a:ext uri="{FF2B5EF4-FFF2-40B4-BE49-F238E27FC236}">
                    <a16:creationId xmlns:a16="http://schemas.microsoft.com/office/drawing/2014/main" id="{F2F7E304-7B0D-45A5-808B-5F2F69C847FF}"/>
                  </a:ext>
                </a:extLst>
              </p:cNvPr>
              <p:cNvSpPr/>
              <p:nvPr/>
            </p:nvSpPr>
            <p:spPr>
              <a:xfrm>
                <a:off x="4206179" y="1397371"/>
                <a:ext cx="43320" cy="21660"/>
              </a:xfrm>
              <a:custGeom>
                <a:avLst/>
                <a:gdLst>
                  <a:gd name="connsiteX0" fmla="*/ 5812 w 19050"/>
                  <a:gd name="connsiteY0" fmla="*/ 5812 h 9525"/>
                  <a:gd name="connsiteX1" fmla="*/ 9498 w 19050"/>
                  <a:gd name="connsiteY1" fmla="*/ 9503 h 9525"/>
                  <a:gd name="connsiteX2" fmla="*/ 9498 w 19050"/>
                  <a:gd name="connsiteY2" fmla="*/ 5812 h 9525"/>
                  <a:gd name="connsiteX3" fmla="*/ 9498 w 19050"/>
                  <a:gd name="connsiteY3" fmla="*/ 5812 h 9525"/>
                  <a:gd name="connsiteX4" fmla="*/ 16879 w 19050"/>
                  <a:gd name="connsiteY4" fmla="*/ 9503 h 9525"/>
                  <a:gd name="connsiteX5" fmla="*/ 16879 w 19050"/>
                  <a:gd name="connsiteY5" fmla="*/ 9503 h 9525"/>
                  <a:gd name="connsiteX6" fmla="*/ 16879 w 19050"/>
                  <a:gd name="connsiteY6" fmla="*/ 13192 h 9525"/>
                  <a:gd name="connsiteX7" fmla="*/ 16879 w 19050"/>
                  <a:gd name="connsiteY7" fmla="*/ 13192 h 9525"/>
                  <a:gd name="connsiteX8" fmla="*/ 13184 w 19050"/>
                  <a:gd name="connsiteY8" fmla="*/ 13192 h 9525"/>
                  <a:gd name="connsiteX9" fmla="*/ 9498 w 19050"/>
                  <a:gd name="connsiteY9" fmla="*/ 13192 h 9525"/>
                  <a:gd name="connsiteX10" fmla="*/ 5812 w 19050"/>
                  <a:gd name="connsiteY10" fmla="*/ 9503 h 9525"/>
                  <a:gd name="connsiteX11" fmla="*/ 5812 w 19050"/>
                  <a:gd name="connsiteY11" fmla="*/ 5812 h 9525"/>
                  <a:gd name="connsiteX12" fmla="*/ 5812 w 19050"/>
                  <a:gd name="connsiteY12"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 h="9525">
                    <a:moveTo>
                      <a:pt x="5812" y="5812"/>
                    </a:moveTo>
                    <a:lnTo>
                      <a:pt x="9498" y="9503"/>
                    </a:lnTo>
                    <a:lnTo>
                      <a:pt x="9498" y="5812"/>
                    </a:lnTo>
                    <a:lnTo>
                      <a:pt x="9498" y="5812"/>
                    </a:lnTo>
                    <a:lnTo>
                      <a:pt x="16879" y="9503"/>
                    </a:lnTo>
                    <a:lnTo>
                      <a:pt x="16879" y="9503"/>
                    </a:lnTo>
                    <a:lnTo>
                      <a:pt x="16879" y="13192"/>
                    </a:lnTo>
                    <a:lnTo>
                      <a:pt x="16879" y="13192"/>
                    </a:lnTo>
                    <a:lnTo>
                      <a:pt x="13184" y="13192"/>
                    </a:lnTo>
                    <a:lnTo>
                      <a:pt x="9498" y="13192"/>
                    </a:lnTo>
                    <a:lnTo>
                      <a:pt x="5812" y="9503"/>
                    </a:lnTo>
                    <a:lnTo>
                      <a:pt x="5812" y="5812"/>
                    </a:lnTo>
                    <a:lnTo>
                      <a:pt x="5812" y="5812"/>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grpSp>
        <p:sp>
          <p:nvSpPr>
            <p:cNvPr id="41" name="Freeform: Shape 40">
              <a:extLst>
                <a:ext uri="{FF2B5EF4-FFF2-40B4-BE49-F238E27FC236}">
                  <a16:creationId xmlns:a16="http://schemas.microsoft.com/office/drawing/2014/main" id="{60FD4BD8-42D7-4414-B02F-5261E802252F}"/>
                </a:ext>
              </a:extLst>
            </p:cNvPr>
            <p:cNvSpPr/>
            <p:nvPr/>
          </p:nvSpPr>
          <p:spPr>
            <a:xfrm>
              <a:off x="3950943" y="4379727"/>
              <a:ext cx="553302" cy="276651"/>
            </a:xfrm>
            <a:custGeom>
              <a:avLst/>
              <a:gdLst>
                <a:gd name="connsiteX0" fmla="*/ 131243 w 247650"/>
                <a:gd name="connsiteY0" fmla="*/ 105462 h 123825"/>
                <a:gd name="connsiteX1" fmla="*/ 127554 w 247650"/>
                <a:gd name="connsiteY1" fmla="*/ 109148 h 123825"/>
                <a:gd name="connsiteX2" fmla="*/ 123865 w 247650"/>
                <a:gd name="connsiteY2" fmla="*/ 109148 h 123825"/>
                <a:gd name="connsiteX3" fmla="*/ 123865 w 247650"/>
                <a:gd name="connsiteY3" fmla="*/ 109148 h 123825"/>
                <a:gd name="connsiteX4" fmla="*/ 120176 w 247650"/>
                <a:gd name="connsiteY4" fmla="*/ 109148 h 123825"/>
                <a:gd name="connsiteX5" fmla="*/ 120176 w 247650"/>
                <a:gd name="connsiteY5" fmla="*/ 109148 h 123825"/>
                <a:gd name="connsiteX6" fmla="*/ 112798 w 247650"/>
                <a:gd name="connsiteY6" fmla="*/ 105462 h 123825"/>
                <a:gd name="connsiteX7" fmla="*/ 109108 w 247650"/>
                <a:gd name="connsiteY7" fmla="*/ 105462 h 123825"/>
                <a:gd name="connsiteX8" fmla="*/ 109108 w 247650"/>
                <a:gd name="connsiteY8" fmla="*/ 105462 h 123825"/>
                <a:gd name="connsiteX9" fmla="*/ 116487 w 247650"/>
                <a:gd name="connsiteY9" fmla="*/ 101766 h 123825"/>
                <a:gd name="connsiteX10" fmla="*/ 116487 w 247650"/>
                <a:gd name="connsiteY10" fmla="*/ 98080 h 123825"/>
                <a:gd name="connsiteX11" fmla="*/ 116487 w 247650"/>
                <a:gd name="connsiteY11" fmla="*/ 101766 h 123825"/>
                <a:gd name="connsiteX12" fmla="*/ 109108 w 247650"/>
                <a:gd name="connsiteY12" fmla="*/ 105462 h 123825"/>
                <a:gd name="connsiteX13" fmla="*/ 105419 w 247650"/>
                <a:gd name="connsiteY13" fmla="*/ 105462 h 123825"/>
                <a:gd name="connsiteX14" fmla="*/ 109108 w 247650"/>
                <a:gd name="connsiteY14" fmla="*/ 98080 h 123825"/>
                <a:gd name="connsiteX15" fmla="*/ 105419 w 247650"/>
                <a:gd name="connsiteY15" fmla="*/ 94385 h 123825"/>
                <a:gd name="connsiteX16" fmla="*/ 105419 w 247650"/>
                <a:gd name="connsiteY16" fmla="*/ 87003 h 123825"/>
                <a:gd name="connsiteX17" fmla="*/ 101730 w 247650"/>
                <a:gd name="connsiteY17" fmla="*/ 87003 h 123825"/>
                <a:gd name="connsiteX18" fmla="*/ 101730 w 247650"/>
                <a:gd name="connsiteY18" fmla="*/ 83317 h 123825"/>
                <a:gd name="connsiteX19" fmla="*/ 101730 w 247650"/>
                <a:gd name="connsiteY19" fmla="*/ 79621 h 123825"/>
                <a:gd name="connsiteX20" fmla="*/ 98041 w 247650"/>
                <a:gd name="connsiteY20" fmla="*/ 72248 h 123825"/>
                <a:gd name="connsiteX21" fmla="*/ 90663 w 247650"/>
                <a:gd name="connsiteY21" fmla="*/ 68553 h 123825"/>
                <a:gd name="connsiteX22" fmla="*/ 86973 w 247650"/>
                <a:gd name="connsiteY22" fmla="*/ 72248 h 123825"/>
                <a:gd name="connsiteX23" fmla="*/ 86973 w 247650"/>
                <a:gd name="connsiteY23" fmla="*/ 68553 h 123825"/>
                <a:gd name="connsiteX24" fmla="*/ 75906 w 247650"/>
                <a:gd name="connsiteY24" fmla="*/ 64867 h 123825"/>
                <a:gd name="connsiteX25" fmla="*/ 75906 w 247650"/>
                <a:gd name="connsiteY25" fmla="*/ 64867 h 123825"/>
                <a:gd name="connsiteX26" fmla="*/ 75906 w 247650"/>
                <a:gd name="connsiteY26" fmla="*/ 64867 h 123825"/>
                <a:gd name="connsiteX27" fmla="*/ 75906 w 247650"/>
                <a:gd name="connsiteY27" fmla="*/ 61171 h 123825"/>
                <a:gd name="connsiteX28" fmla="*/ 75906 w 247650"/>
                <a:gd name="connsiteY28" fmla="*/ 61171 h 123825"/>
                <a:gd name="connsiteX29" fmla="*/ 75906 w 247650"/>
                <a:gd name="connsiteY29" fmla="*/ 57485 h 123825"/>
                <a:gd name="connsiteX30" fmla="*/ 72217 w 247650"/>
                <a:gd name="connsiteY30" fmla="*/ 53789 h 123825"/>
                <a:gd name="connsiteX31" fmla="*/ 64838 w 247650"/>
                <a:gd name="connsiteY31" fmla="*/ 53789 h 123825"/>
                <a:gd name="connsiteX32" fmla="*/ 61149 w 247650"/>
                <a:gd name="connsiteY32" fmla="*/ 53789 h 123825"/>
                <a:gd name="connsiteX33" fmla="*/ 57460 w 247650"/>
                <a:gd name="connsiteY33" fmla="*/ 57485 h 123825"/>
                <a:gd name="connsiteX34" fmla="*/ 57460 w 247650"/>
                <a:gd name="connsiteY34" fmla="*/ 61171 h 123825"/>
                <a:gd name="connsiteX35" fmla="*/ 61149 w 247650"/>
                <a:gd name="connsiteY35" fmla="*/ 61171 h 123825"/>
                <a:gd name="connsiteX36" fmla="*/ 64838 w 247650"/>
                <a:gd name="connsiteY36" fmla="*/ 57485 h 123825"/>
                <a:gd name="connsiteX37" fmla="*/ 68528 w 247650"/>
                <a:gd name="connsiteY37" fmla="*/ 61171 h 123825"/>
                <a:gd name="connsiteX38" fmla="*/ 64838 w 247650"/>
                <a:gd name="connsiteY38" fmla="*/ 57485 h 123825"/>
                <a:gd name="connsiteX39" fmla="*/ 61149 w 247650"/>
                <a:gd name="connsiteY39" fmla="*/ 61171 h 123825"/>
                <a:gd name="connsiteX40" fmla="*/ 53771 w 247650"/>
                <a:gd name="connsiteY40" fmla="*/ 61171 h 123825"/>
                <a:gd name="connsiteX41" fmla="*/ 50082 w 247650"/>
                <a:gd name="connsiteY41" fmla="*/ 68553 h 123825"/>
                <a:gd name="connsiteX42" fmla="*/ 42704 w 247650"/>
                <a:gd name="connsiteY42" fmla="*/ 72248 h 123825"/>
                <a:gd name="connsiteX43" fmla="*/ 42704 w 247650"/>
                <a:gd name="connsiteY43" fmla="*/ 72248 h 123825"/>
                <a:gd name="connsiteX44" fmla="*/ 42704 w 247650"/>
                <a:gd name="connsiteY44" fmla="*/ 72248 h 123825"/>
                <a:gd name="connsiteX45" fmla="*/ 42704 w 247650"/>
                <a:gd name="connsiteY45" fmla="*/ 72248 h 123825"/>
                <a:gd name="connsiteX46" fmla="*/ 39014 w 247650"/>
                <a:gd name="connsiteY46" fmla="*/ 72248 h 123825"/>
                <a:gd name="connsiteX47" fmla="*/ 35325 w 247650"/>
                <a:gd name="connsiteY47" fmla="*/ 72248 h 123825"/>
                <a:gd name="connsiteX48" fmla="*/ 27947 w 247650"/>
                <a:gd name="connsiteY48" fmla="*/ 75935 h 123825"/>
                <a:gd name="connsiteX49" fmla="*/ 24258 w 247650"/>
                <a:gd name="connsiteY49" fmla="*/ 79621 h 123825"/>
                <a:gd name="connsiteX50" fmla="*/ 24258 w 247650"/>
                <a:gd name="connsiteY50" fmla="*/ 87003 h 123825"/>
                <a:gd name="connsiteX51" fmla="*/ 24258 w 247650"/>
                <a:gd name="connsiteY51" fmla="*/ 87003 h 123825"/>
                <a:gd name="connsiteX52" fmla="*/ 27947 w 247650"/>
                <a:gd name="connsiteY52" fmla="*/ 87003 h 123825"/>
                <a:gd name="connsiteX53" fmla="*/ 27947 w 247650"/>
                <a:gd name="connsiteY53" fmla="*/ 90698 h 123825"/>
                <a:gd name="connsiteX54" fmla="*/ 24258 w 247650"/>
                <a:gd name="connsiteY54" fmla="*/ 90698 h 123825"/>
                <a:gd name="connsiteX55" fmla="*/ 24258 w 247650"/>
                <a:gd name="connsiteY55" fmla="*/ 90698 h 123825"/>
                <a:gd name="connsiteX56" fmla="*/ 24258 w 247650"/>
                <a:gd name="connsiteY56" fmla="*/ 90698 h 123825"/>
                <a:gd name="connsiteX57" fmla="*/ 20569 w 247650"/>
                <a:gd name="connsiteY57" fmla="*/ 87003 h 123825"/>
                <a:gd name="connsiteX58" fmla="*/ 20569 w 247650"/>
                <a:gd name="connsiteY58" fmla="*/ 87003 h 123825"/>
                <a:gd name="connsiteX59" fmla="*/ 20569 w 247650"/>
                <a:gd name="connsiteY59" fmla="*/ 87003 h 123825"/>
                <a:gd name="connsiteX60" fmla="*/ 24258 w 247650"/>
                <a:gd name="connsiteY60" fmla="*/ 87003 h 123825"/>
                <a:gd name="connsiteX61" fmla="*/ 24258 w 247650"/>
                <a:gd name="connsiteY61" fmla="*/ 87003 h 123825"/>
                <a:gd name="connsiteX62" fmla="*/ 24258 w 247650"/>
                <a:gd name="connsiteY62" fmla="*/ 79621 h 123825"/>
                <a:gd name="connsiteX63" fmla="*/ 24258 w 247650"/>
                <a:gd name="connsiteY63" fmla="*/ 79621 h 123825"/>
                <a:gd name="connsiteX64" fmla="*/ 20569 w 247650"/>
                <a:gd name="connsiteY64" fmla="*/ 75935 h 123825"/>
                <a:gd name="connsiteX65" fmla="*/ 16879 w 247650"/>
                <a:gd name="connsiteY65" fmla="*/ 75935 h 123825"/>
                <a:gd name="connsiteX66" fmla="*/ 13190 w 247650"/>
                <a:gd name="connsiteY66" fmla="*/ 75935 h 123825"/>
                <a:gd name="connsiteX67" fmla="*/ 13190 w 247650"/>
                <a:gd name="connsiteY67" fmla="*/ 72248 h 123825"/>
                <a:gd name="connsiteX68" fmla="*/ 9501 w 247650"/>
                <a:gd name="connsiteY68" fmla="*/ 68553 h 123825"/>
                <a:gd name="connsiteX69" fmla="*/ 5812 w 247650"/>
                <a:gd name="connsiteY69" fmla="*/ 61171 h 123825"/>
                <a:gd name="connsiteX70" fmla="*/ 5812 w 247650"/>
                <a:gd name="connsiteY70" fmla="*/ 53789 h 123825"/>
                <a:gd name="connsiteX71" fmla="*/ 5812 w 247650"/>
                <a:gd name="connsiteY71" fmla="*/ 46407 h 123825"/>
                <a:gd name="connsiteX72" fmla="*/ 5812 w 247650"/>
                <a:gd name="connsiteY72" fmla="*/ 42721 h 123825"/>
                <a:gd name="connsiteX73" fmla="*/ 9501 w 247650"/>
                <a:gd name="connsiteY73" fmla="*/ 35339 h 123825"/>
                <a:gd name="connsiteX74" fmla="*/ 16879 w 247650"/>
                <a:gd name="connsiteY74" fmla="*/ 27957 h 123825"/>
                <a:gd name="connsiteX75" fmla="*/ 24258 w 247650"/>
                <a:gd name="connsiteY75" fmla="*/ 24271 h 123825"/>
                <a:gd name="connsiteX76" fmla="*/ 27947 w 247650"/>
                <a:gd name="connsiteY76" fmla="*/ 24271 h 123825"/>
                <a:gd name="connsiteX77" fmla="*/ 31636 w 247650"/>
                <a:gd name="connsiteY77" fmla="*/ 24271 h 123825"/>
                <a:gd name="connsiteX78" fmla="*/ 46393 w 247650"/>
                <a:gd name="connsiteY78" fmla="*/ 20575 h 123825"/>
                <a:gd name="connsiteX79" fmla="*/ 50082 w 247650"/>
                <a:gd name="connsiteY79" fmla="*/ 16889 h 123825"/>
                <a:gd name="connsiteX80" fmla="*/ 57460 w 247650"/>
                <a:gd name="connsiteY80" fmla="*/ 16889 h 123825"/>
                <a:gd name="connsiteX81" fmla="*/ 64838 w 247650"/>
                <a:gd name="connsiteY81" fmla="*/ 16889 h 123825"/>
                <a:gd name="connsiteX82" fmla="*/ 75906 w 247650"/>
                <a:gd name="connsiteY82" fmla="*/ 20575 h 123825"/>
                <a:gd name="connsiteX83" fmla="*/ 75906 w 247650"/>
                <a:gd name="connsiteY83" fmla="*/ 16889 h 123825"/>
                <a:gd name="connsiteX84" fmla="*/ 75906 w 247650"/>
                <a:gd name="connsiteY84" fmla="*/ 16889 h 123825"/>
                <a:gd name="connsiteX85" fmla="*/ 75906 w 247650"/>
                <a:gd name="connsiteY85" fmla="*/ 13194 h 123825"/>
                <a:gd name="connsiteX86" fmla="*/ 79595 w 247650"/>
                <a:gd name="connsiteY86" fmla="*/ 9507 h 123825"/>
                <a:gd name="connsiteX87" fmla="*/ 79595 w 247650"/>
                <a:gd name="connsiteY87" fmla="*/ 5812 h 123825"/>
                <a:gd name="connsiteX88" fmla="*/ 83284 w 247650"/>
                <a:gd name="connsiteY88" fmla="*/ 5812 h 123825"/>
                <a:gd name="connsiteX89" fmla="*/ 86973 w 247650"/>
                <a:gd name="connsiteY89" fmla="*/ 5812 h 123825"/>
                <a:gd name="connsiteX90" fmla="*/ 83284 w 247650"/>
                <a:gd name="connsiteY90" fmla="*/ 9507 h 123825"/>
                <a:gd name="connsiteX91" fmla="*/ 86973 w 247650"/>
                <a:gd name="connsiteY91" fmla="*/ 9507 h 123825"/>
                <a:gd name="connsiteX92" fmla="*/ 83284 w 247650"/>
                <a:gd name="connsiteY92" fmla="*/ 13194 h 123825"/>
                <a:gd name="connsiteX93" fmla="*/ 83284 w 247650"/>
                <a:gd name="connsiteY93" fmla="*/ 13194 h 123825"/>
                <a:gd name="connsiteX94" fmla="*/ 83284 w 247650"/>
                <a:gd name="connsiteY94" fmla="*/ 13194 h 123825"/>
                <a:gd name="connsiteX95" fmla="*/ 83284 w 247650"/>
                <a:gd name="connsiteY95" fmla="*/ 13194 h 123825"/>
                <a:gd name="connsiteX96" fmla="*/ 83284 w 247650"/>
                <a:gd name="connsiteY96" fmla="*/ 9507 h 123825"/>
                <a:gd name="connsiteX97" fmla="*/ 83284 w 247650"/>
                <a:gd name="connsiteY97" fmla="*/ 9507 h 123825"/>
                <a:gd name="connsiteX98" fmla="*/ 79595 w 247650"/>
                <a:gd name="connsiteY98" fmla="*/ 9507 h 123825"/>
                <a:gd name="connsiteX99" fmla="*/ 79595 w 247650"/>
                <a:gd name="connsiteY99" fmla="*/ 13194 h 123825"/>
                <a:gd name="connsiteX100" fmla="*/ 75906 w 247650"/>
                <a:gd name="connsiteY100" fmla="*/ 20575 h 123825"/>
                <a:gd name="connsiteX101" fmla="*/ 79595 w 247650"/>
                <a:gd name="connsiteY101" fmla="*/ 20575 h 123825"/>
                <a:gd name="connsiteX102" fmla="*/ 83284 w 247650"/>
                <a:gd name="connsiteY102" fmla="*/ 20575 h 123825"/>
                <a:gd name="connsiteX103" fmla="*/ 86973 w 247650"/>
                <a:gd name="connsiteY103" fmla="*/ 20575 h 123825"/>
                <a:gd name="connsiteX104" fmla="*/ 90663 w 247650"/>
                <a:gd name="connsiteY104" fmla="*/ 20575 h 123825"/>
                <a:gd name="connsiteX105" fmla="*/ 90663 w 247650"/>
                <a:gd name="connsiteY105" fmla="*/ 20575 h 123825"/>
                <a:gd name="connsiteX106" fmla="*/ 90663 w 247650"/>
                <a:gd name="connsiteY106" fmla="*/ 20575 h 123825"/>
                <a:gd name="connsiteX107" fmla="*/ 101730 w 247650"/>
                <a:gd name="connsiteY107" fmla="*/ 20575 h 123825"/>
                <a:gd name="connsiteX108" fmla="*/ 109108 w 247650"/>
                <a:gd name="connsiteY108" fmla="*/ 16889 h 123825"/>
                <a:gd name="connsiteX109" fmla="*/ 109108 w 247650"/>
                <a:gd name="connsiteY109" fmla="*/ 16889 h 123825"/>
                <a:gd name="connsiteX110" fmla="*/ 112798 w 247650"/>
                <a:gd name="connsiteY110" fmla="*/ 20575 h 123825"/>
                <a:gd name="connsiteX111" fmla="*/ 112798 w 247650"/>
                <a:gd name="connsiteY111" fmla="*/ 20575 h 123825"/>
                <a:gd name="connsiteX112" fmla="*/ 116487 w 247650"/>
                <a:gd name="connsiteY112" fmla="*/ 24271 h 123825"/>
                <a:gd name="connsiteX113" fmla="*/ 116487 w 247650"/>
                <a:gd name="connsiteY113" fmla="*/ 27957 h 123825"/>
                <a:gd name="connsiteX114" fmla="*/ 120176 w 247650"/>
                <a:gd name="connsiteY114" fmla="*/ 27957 h 123825"/>
                <a:gd name="connsiteX115" fmla="*/ 120176 w 247650"/>
                <a:gd name="connsiteY115" fmla="*/ 27957 h 123825"/>
                <a:gd name="connsiteX116" fmla="*/ 123865 w 247650"/>
                <a:gd name="connsiteY116" fmla="*/ 27957 h 123825"/>
                <a:gd name="connsiteX117" fmla="*/ 127554 w 247650"/>
                <a:gd name="connsiteY117" fmla="*/ 27957 h 123825"/>
                <a:gd name="connsiteX118" fmla="*/ 134932 w 247650"/>
                <a:gd name="connsiteY118" fmla="*/ 24271 h 123825"/>
                <a:gd name="connsiteX119" fmla="*/ 138622 w 247650"/>
                <a:gd name="connsiteY119" fmla="*/ 27957 h 123825"/>
                <a:gd name="connsiteX120" fmla="*/ 149690 w 247650"/>
                <a:gd name="connsiteY120" fmla="*/ 27957 h 123825"/>
                <a:gd name="connsiteX121" fmla="*/ 149690 w 247650"/>
                <a:gd name="connsiteY121" fmla="*/ 27957 h 123825"/>
                <a:gd name="connsiteX122" fmla="*/ 149690 w 247650"/>
                <a:gd name="connsiteY122" fmla="*/ 31643 h 123825"/>
                <a:gd name="connsiteX123" fmla="*/ 149690 w 247650"/>
                <a:gd name="connsiteY123" fmla="*/ 31643 h 123825"/>
                <a:gd name="connsiteX124" fmla="*/ 149690 w 247650"/>
                <a:gd name="connsiteY124" fmla="*/ 27957 h 123825"/>
                <a:gd name="connsiteX125" fmla="*/ 153379 w 247650"/>
                <a:gd name="connsiteY125" fmla="*/ 31643 h 123825"/>
                <a:gd name="connsiteX126" fmla="*/ 153379 w 247650"/>
                <a:gd name="connsiteY126" fmla="*/ 39025 h 123825"/>
                <a:gd name="connsiteX127" fmla="*/ 153379 w 247650"/>
                <a:gd name="connsiteY127" fmla="*/ 39025 h 123825"/>
                <a:gd name="connsiteX128" fmla="*/ 157068 w 247650"/>
                <a:gd name="connsiteY128" fmla="*/ 42721 h 123825"/>
                <a:gd name="connsiteX129" fmla="*/ 164447 w 247650"/>
                <a:gd name="connsiteY129" fmla="*/ 50103 h 123825"/>
                <a:gd name="connsiteX130" fmla="*/ 168136 w 247650"/>
                <a:gd name="connsiteY130" fmla="*/ 57485 h 123825"/>
                <a:gd name="connsiteX131" fmla="*/ 168136 w 247650"/>
                <a:gd name="connsiteY131" fmla="*/ 64867 h 123825"/>
                <a:gd name="connsiteX132" fmla="*/ 171825 w 247650"/>
                <a:gd name="connsiteY132" fmla="*/ 64867 h 123825"/>
                <a:gd name="connsiteX133" fmla="*/ 179203 w 247650"/>
                <a:gd name="connsiteY133" fmla="*/ 64867 h 123825"/>
                <a:gd name="connsiteX134" fmla="*/ 182893 w 247650"/>
                <a:gd name="connsiteY134" fmla="*/ 64867 h 123825"/>
                <a:gd name="connsiteX135" fmla="*/ 190271 w 247650"/>
                <a:gd name="connsiteY135" fmla="*/ 68553 h 123825"/>
                <a:gd name="connsiteX136" fmla="*/ 190271 w 247650"/>
                <a:gd name="connsiteY136" fmla="*/ 68553 h 123825"/>
                <a:gd name="connsiteX137" fmla="*/ 201338 w 247650"/>
                <a:gd name="connsiteY137" fmla="*/ 75935 h 123825"/>
                <a:gd name="connsiteX138" fmla="*/ 205028 w 247650"/>
                <a:gd name="connsiteY138" fmla="*/ 75935 h 123825"/>
                <a:gd name="connsiteX139" fmla="*/ 205028 w 247650"/>
                <a:gd name="connsiteY139" fmla="*/ 75935 h 123825"/>
                <a:gd name="connsiteX140" fmla="*/ 205028 w 247650"/>
                <a:gd name="connsiteY140" fmla="*/ 79621 h 123825"/>
                <a:gd name="connsiteX141" fmla="*/ 208717 w 247650"/>
                <a:gd name="connsiteY141" fmla="*/ 79621 h 123825"/>
                <a:gd name="connsiteX142" fmla="*/ 216095 w 247650"/>
                <a:gd name="connsiteY142" fmla="*/ 72248 h 123825"/>
                <a:gd name="connsiteX143" fmla="*/ 219784 w 247650"/>
                <a:gd name="connsiteY143" fmla="*/ 72248 h 123825"/>
                <a:gd name="connsiteX144" fmla="*/ 223473 w 247650"/>
                <a:gd name="connsiteY144" fmla="*/ 72248 h 123825"/>
                <a:gd name="connsiteX145" fmla="*/ 223473 w 247650"/>
                <a:gd name="connsiteY145" fmla="*/ 72248 h 123825"/>
                <a:gd name="connsiteX146" fmla="*/ 234541 w 247650"/>
                <a:gd name="connsiteY146" fmla="*/ 72248 h 123825"/>
                <a:gd name="connsiteX147" fmla="*/ 234541 w 247650"/>
                <a:gd name="connsiteY147" fmla="*/ 72248 h 123825"/>
                <a:gd name="connsiteX148" fmla="*/ 238230 w 247650"/>
                <a:gd name="connsiteY148" fmla="*/ 68553 h 123825"/>
                <a:gd name="connsiteX149" fmla="*/ 241919 w 247650"/>
                <a:gd name="connsiteY149" fmla="*/ 68553 h 123825"/>
                <a:gd name="connsiteX150" fmla="*/ 241919 w 247650"/>
                <a:gd name="connsiteY150" fmla="*/ 75935 h 123825"/>
                <a:gd name="connsiteX151" fmla="*/ 241919 w 247650"/>
                <a:gd name="connsiteY151" fmla="*/ 79621 h 123825"/>
                <a:gd name="connsiteX152" fmla="*/ 245608 w 247650"/>
                <a:gd name="connsiteY152" fmla="*/ 79621 h 123825"/>
                <a:gd name="connsiteX153" fmla="*/ 245608 w 247650"/>
                <a:gd name="connsiteY153" fmla="*/ 79621 h 123825"/>
                <a:gd name="connsiteX154" fmla="*/ 241919 w 247650"/>
                <a:gd name="connsiteY154" fmla="*/ 83317 h 123825"/>
                <a:gd name="connsiteX155" fmla="*/ 241919 w 247650"/>
                <a:gd name="connsiteY155" fmla="*/ 83317 h 123825"/>
                <a:gd name="connsiteX156" fmla="*/ 238230 w 247650"/>
                <a:gd name="connsiteY156" fmla="*/ 83317 h 123825"/>
                <a:gd name="connsiteX157" fmla="*/ 241919 w 247650"/>
                <a:gd name="connsiteY157" fmla="*/ 79621 h 123825"/>
                <a:gd name="connsiteX158" fmla="*/ 241919 w 247650"/>
                <a:gd name="connsiteY158" fmla="*/ 79621 h 123825"/>
                <a:gd name="connsiteX159" fmla="*/ 238230 w 247650"/>
                <a:gd name="connsiteY159" fmla="*/ 75935 h 123825"/>
                <a:gd name="connsiteX160" fmla="*/ 238230 w 247650"/>
                <a:gd name="connsiteY160" fmla="*/ 72248 h 123825"/>
                <a:gd name="connsiteX161" fmla="*/ 234541 w 247650"/>
                <a:gd name="connsiteY161" fmla="*/ 72248 h 123825"/>
                <a:gd name="connsiteX162" fmla="*/ 234541 w 247650"/>
                <a:gd name="connsiteY162" fmla="*/ 75935 h 123825"/>
                <a:gd name="connsiteX163" fmla="*/ 230852 w 247650"/>
                <a:gd name="connsiteY163" fmla="*/ 72248 h 123825"/>
                <a:gd name="connsiteX164" fmla="*/ 219784 w 247650"/>
                <a:gd name="connsiteY164" fmla="*/ 75935 h 123825"/>
                <a:gd name="connsiteX165" fmla="*/ 216095 w 247650"/>
                <a:gd name="connsiteY165" fmla="*/ 75935 h 123825"/>
                <a:gd name="connsiteX166" fmla="*/ 212406 w 247650"/>
                <a:gd name="connsiteY166" fmla="*/ 79621 h 123825"/>
                <a:gd name="connsiteX167" fmla="*/ 208717 w 247650"/>
                <a:gd name="connsiteY167" fmla="*/ 79621 h 123825"/>
                <a:gd name="connsiteX168" fmla="*/ 208717 w 247650"/>
                <a:gd name="connsiteY168" fmla="*/ 83317 h 123825"/>
                <a:gd name="connsiteX169" fmla="*/ 212406 w 247650"/>
                <a:gd name="connsiteY169" fmla="*/ 87003 h 123825"/>
                <a:gd name="connsiteX170" fmla="*/ 212406 w 247650"/>
                <a:gd name="connsiteY170" fmla="*/ 87003 h 123825"/>
                <a:gd name="connsiteX171" fmla="*/ 212406 w 247650"/>
                <a:gd name="connsiteY171" fmla="*/ 90698 h 123825"/>
                <a:gd name="connsiteX172" fmla="*/ 212406 w 247650"/>
                <a:gd name="connsiteY172" fmla="*/ 90698 h 123825"/>
                <a:gd name="connsiteX173" fmla="*/ 212406 w 247650"/>
                <a:gd name="connsiteY173" fmla="*/ 90698 h 123825"/>
                <a:gd name="connsiteX174" fmla="*/ 212406 w 247650"/>
                <a:gd name="connsiteY174" fmla="*/ 90698 h 123825"/>
                <a:gd name="connsiteX175" fmla="*/ 208717 w 247650"/>
                <a:gd name="connsiteY175" fmla="*/ 94385 h 123825"/>
                <a:gd name="connsiteX176" fmla="*/ 212406 w 247650"/>
                <a:gd name="connsiteY176" fmla="*/ 94385 h 123825"/>
                <a:gd name="connsiteX177" fmla="*/ 212406 w 247650"/>
                <a:gd name="connsiteY177" fmla="*/ 90698 h 123825"/>
                <a:gd name="connsiteX178" fmla="*/ 208717 w 247650"/>
                <a:gd name="connsiteY178" fmla="*/ 94385 h 123825"/>
                <a:gd name="connsiteX179" fmla="*/ 208717 w 247650"/>
                <a:gd name="connsiteY179" fmla="*/ 98080 h 123825"/>
                <a:gd name="connsiteX180" fmla="*/ 205028 w 247650"/>
                <a:gd name="connsiteY180" fmla="*/ 98080 h 123825"/>
                <a:gd name="connsiteX181" fmla="*/ 201338 w 247650"/>
                <a:gd name="connsiteY181" fmla="*/ 101766 h 123825"/>
                <a:gd name="connsiteX182" fmla="*/ 197649 w 247650"/>
                <a:gd name="connsiteY182" fmla="*/ 109148 h 123825"/>
                <a:gd name="connsiteX183" fmla="*/ 193960 w 247650"/>
                <a:gd name="connsiteY183" fmla="*/ 109148 h 123825"/>
                <a:gd name="connsiteX184" fmla="*/ 190271 w 247650"/>
                <a:gd name="connsiteY184" fmla="*/ 112844 h 123825"/>
                <a:gd name="connsiteX185" fmla="*/ 186582 w 247650"/>
                <a:gd name="connsiteY185" fmla="*/ 109148 h 123825"/>
                <a:gd name="connsiteX186" fmla="*/ 179203 w 247650"/>
                <a:gd name="connsiteY186" fmla="*/ 112844 h 123825"/>
                <a:gd name="connsiteX187" fmla="*/ 175514 w 247650"/>
                <a:gd name="connsiteY187" fmla="*/ 116530 h 123825"/>
                <a:gd name="connsiteX188" fmla="*/ 168136 w 247650"/>
                <a:gd name="connsiteY188" fmla="*/ 116530 h 123825"/>
                <a:gd name="connsiteX189" fmla="*/ 168136 w 247650"/>
                <a:gd name="connsiteY189" fmla="*/ 120226 h 123825"/>
                <a:gd name="connsiteX190" fmla="*/ 157068 w 247650"/>
                <a:gd name="connsiteY190" fmla="*/ 120226 h 123825"/>
                <a:gd name="connsiteX191" fmla="*/ 153379 w 247650"/>
                <a:gd name="connsiteY191" fmla="*/ 120226 h 123825"/>
                <a:gd name="connsiteX192" fmla="*/ 146000 w 247650"/>
                <a:gd name="connsiteY192" fmla="*/ 120226 h 123825"/>
                <a:gd name="connsiteX193" fmla="*/ 142311 w 247650"/>
                <a:gd name="connsiteY193" fmla="*/ 120226 h 123825"/>
                <a:gd name="connsiteX194" fmla="*/ 142311 w 247650"/>
                <a:gd name="connsiteY194" fmla="*/ 120226 h 123825"/>
                <a:gd name="connsiteX195" fmla="*/ 134932 w 247650"/>
                <a:gd name="connsiteY195" fmla="*/ 112844 h 123825"/>
                <a:gd name="connsiteX196" fmla="*/ 134932 w 247650"/>
                <a:gd name="connsiteY196" fmla="*/ 112844 h 123825"/>
                <a:gd name="connsiteX197" fmla="*/ 134932 w 247650"/>
                <a:gd name="connsiteY197" fmla="*/ 112844 h 123825"/>
                <a:gd name="connsiteX198" fmla="*/ 131243 w 247650"/>
                <a:gd name="connsiteY198" fmla="*/ 105462 h 123825"/>
                <a:gd name="connsiteX199" fmla="*/ 131243 w 247650"/>
                <a:gd name="connsiteY199" fmla="*/ 105462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247650" h="123825">
                  <a:moveTo>
                    <a:pt x="131243" y="105462"/>
                  </a:moveTo>
                  <a:lnTo>
                    <a:pt x="127554" y="109148"/>
                  </a:lnTo>
                  <a:lnTo>
                    <a:pt x="123865" y="109148"/>
                  </a:lnTo>
                  <a:lnTo>
                    <a:pt x="123865" y="109148"/>
                  </a:lnTo>
                  <a:lnTo>
                    <a:pt x="120176" y="109148"/>
                  </a:lnTo>
                  <a:lnTo>
                    <a:pt x="120176" y="109148"/>
                  </a:lnTo>
                  <a:lnTo>
                    <a:pt x="112798" y="105462"/>
                  </a:lnTo>
                  <a:lnTo>
                    <a:pt x="109108" y="105462"/>
                  </a:lnTo>
                  <a:lnTo>
                    <a:pt x="109108" y="105462"/>
                  </a:lnTo>
                  <a:lnTo>
                    <a:pt x="116487" y="101766"/>
                  </a:lnTo>
                  <a:lnTo>
                    <a:pt x="116487" y="98080"/>
                  </a:lnTo>
                  <a:lnTo>
                    <a:pt x="116487" y="101766"/>
                  </a:lnTo>
                  <a:lnTo>
                    <a:pt x="109108" y="105462"/>
                  </a:lnTo>
                  <a:lnTo>
                    <a:pt x="105419" y="105462"/>
                  </a:lnTo>
                  <a:lnTo>
                    <a:pt x="109108" y="98080"/>
                  </a:lnTo>
                  <a:lnTo>
                    <a:pt x="105419" y="94385"/>
                  </a:lnTo>
                  <a:lnTo>
                    <a:pt x="105419" y="87003"/>
                  </a:lnTo>
                  <a:lnTo>
                    <a:pt x="101730" y="87003"/>
                  </a:lnTo>
                  <a:lnTo>
                    <a:pt x="101730" y="83317"/>
                  </a:lnTo>
                  <a:lnTo>
                    <a:pt x="101730" y="79621"/>
                  </a:lnTo>
                  <a:lnTo>
                    <a:pt x="98041" y="72248"/>
                  </a:lnTo>
                  <a:lnTo>
                    <a:pt x="90663" y="68553"/>
                  </a:lnTo>
                  <a:lnTo>
                    <a:pt x="86973" y="72248"/>
                  </a:lnTo>
                  <a:lnTo>
                    <a:pt x="86973" y="68553"/>
                  </a:lnTo>
                  <a:lnTo>
                    <a:pt x="75906" y="64867"/>
                  </a:lnTo>
                  <a:lnTo>
                    <a:pt x="75906" y="64867"/>
                  </a:lnTo>
                  <a:lnTo>
                    <a:pt x="75906" y="64867"/>
                  </a:lnTo>
                  <a:lnTo>
                    <a:pt x="75906" y="61171"/>
                  </a:lnTo>
                  <a:lnTo>
                    <a:pt x="75906" y="61171"/>
                  </a:lnTo>
                  <a:lnTo>
                    <a:pt x="75906" y="57485"/>
                  </a:lnTo>
                  <a:lnTo>
                    <a:pt x="72217" y="53789"/>
                  </a:lnTo>
                  <a:lnTo>
                    <a:pt x="64838" y="53789"/>
                  </a:lnTo>
                  <a:lnTo>
                    <a:pt x="61149" y="53789"/>
                  </a:lnTo>
                  <a:lnTo>
                    <a:pt x="57460" y="57485"/>
                  </a:lnTo>
                  <a:lnTo>
                    <a:pt x="57460" y="61171"/>
                  </a:lnTo>
                  <a:lnTo>
                    <a:pt x="61149" y="61171"/>
                  </a:lnTo>
                  <a:lnTo>
                    <a:pt x="64838" y="57485"/>
                  </a:lnTo>
                  <a:lnTo>
                    <a:pt x="68528" y="61171"/>
                  </a:lnTo>
                  <a:lnTo>
                    <a:pt x="64838" y="57485"/>
                  </a:lnTo>
                  <a:lnTo>
                    <a:pt x="61149" y="61171"/>
                  </a:lnTo>
                  <a:lnTo>
                    <a:pt x="53771" y="61171"/>
                  </a:lnTo>
                  <a:lnTo>
                    <a:pt x="50082" y="68553"/>
                  </a:lnTo>
                  <a:lnTo>
                    <a:pt x="42704" y="72248"/>
                  </a:lnTo>
                  <a:lnTo>
                    <a:pt x="42704" y="72248"/>
                  </a:lnTo>
                  <a:lnTo>
                    <a:pt x="42704" y="72248"/>
                  </a:lnTo>
                  <a:lnTo>
                    <a:pt x="42704" y="72248"/>
                  </a:lnTo>
                  <a:lnTo>
                    <a:pt x="39014" y="72248"/>
                  </a:lnTo>
                  <a:lnTo>
                    <a:pt x="35325" y="72248"/>
                  </a:lnTo>
                  <a:lnTo>
                    <a:pt x="27947" y="75935"/>
                  </a:lnTo>
                  <a:lnTo>
                    <a:pt x="24258" y="79621"/>
                  </a:lnTo>
                  <a:lnTo>
                    <a:pt x="24258" y="87003"/>
                  </a:lnTo>
                  <a:lnTo>
                    <a:pt x="24258" y="87003"/>
                  </a:lnTo>
                  <a:lnTo>
                    <a:pt x="27947" y="87003"/>
                  </a:lnTo>
                  <a:lnTo>
                    <a:pt x="27947" y="90698"/>
                  </a:lnTo>
                  <a:lnTo>
                    <a:pt x="24258" y="90698"/>
                  </a:lnTo>
                  <a:lnTo>
                    <a:pt x="24258" y="90698"/>
                  </a:lnTo>
                  <a:lnTo>
                    <a:pt x="24258" y="90698"/>
                  </a:lnTo>
                  <a:lnTo>
                    <a:pt x="20569" y="87003"/>
                  </a:lnTo>
                  <a:lnTo>
                    <a:pt x="20569" y="87003"/>
                  </a:lnTo>
                  <a:lnTo>
                    <a:pt x="20569" y="87003"/>
                  </a:lnTo>
                  <a:lnTo>
                    <a:pt x="24258" y="87003"/>
                  </a:lnTo>
                  <a:lnTo>
                    <a:pt x="24258" y="87003"/>
                  </a:lnTo>
                  <a:lnTo>
                    <a:pt x="24258" y="79621"/>
                  </a:lnTo>
                  <a:lnTo>
                    <a:pt x="24258" y="79621"/>
                  </a:lnTo>
                  <a:lnTo>
                    <a:pt x="20569" y="75935"/>
                  </a:lnTo>
                  <a:lnTo>
                    <a:pt x="16879" y="75935"/>
                  </a:lnTo>
                  <a:lnTo>
                    <a:pt x="13190" y="75935"/>
                  </a:lnTo>
                  <a:lnTo>
                    <a:pt x="13190" y="72248"/>
                  </a:lnTo>
                  <a:lnTo>
                    <a:pt x="9501" y="68553"/>
                  </a:lnTo>
                  <a:lnTo>
                    <a:pt x="5812" y="61171"/>
                  </a:lnTo>
                  <a:lnTo>
                    <a:pt x="5812" y="53789"/>
                  </a:lnTo>
                  <a:lnTo>
                    <a:pt x="5812" y="46407"/>
                  </a:lnTo>
                  <a:lnTo>
                    <a:pt x="5812" y="42721"/>
                  </a:lnTo>
                  <a:lnTo>
                    <a:pt x="9501" y="35339"/>
                  </a:lnTo>
                  <a:lnTo>
                    <a:pt x="16879" y="27957"/>
                  </a:lnTo>
                  <a:lnTo>
                    <a:pt x="24258" y="24271"/>
                  </a:lnTo>
                  <a:lnTo>
                    <a:pt x="27947" y="24271"/>
                  </a:lnTo>
                  <a:lnTo>
                    <a:pt x="31636" y="24271"/>
                  </a:lnTo>
                  <a:lnTo>
                    <a:pt x="46393" y="20575"/>
                  </a:lnTo>
                  <a:lnTo>
                    <a:pt x="50082" y="16889"/>
                  </a:lnTo>
                  <a:lnTo>
                    <a:pt x="57460" y="16889"/>
                  </a:lnTo>
                  <a:lnTo>
                    <a:pt x="64838" y="16889"/>
                  </a:lnTo>
                  <a:lnTo>
                    <a:pt x="75906" y="20575"/>
                  </a:lnTo>
                  <a:lnTo>
                    <a:pt x="75906" y="16889"/>
                  </a:lnTo>
                  <a:lnTo>
                    <a:pt x="75906" y="16889"/>
                  </a:lnTo>
                  <a:lnTo>
                    <a:pt x="75906" y="13194"/>
                  </a:lnTo>
                  <a:lnTo>
                    <a:pt x="79595" y="9507"/>
                  </a:lnTo>
                  <a:lnTo>
                    <a:pt x="79595" y="5812"/>
                  </a:lnTo>
                  <a:lnTo>
                    <a:pt x="83284" y="5812"/>
                  </a:lnTo>
                  <a:lnTo>
                    <a:pt x="86973" y="5812"/>
                  </a:lnTo>
                  <a:lnTo>
                    <a:pt x="83284" y="9507"/>
                  </a:lnTo>
                  <a:lnTo>
                    <a:pt x="86973" y="9507"/>
                  </a:lnTo>
                  <a:lnTo>
                    <a:pt x="83284" y="13194"/>
                  </a:lnTo>
                  <a:lnTo>
                    <a:pt x="83284" y="13194"/>
                  </a:lnTo>
                  <a:lnTo>
                    <a:pt x="83284" y="13194"/>
                  </a:lnTo>
                  <a:lnTo>
                    <a:pt x="83284" y="13194"/>
                  </a:lnTo>
                  <a:lnTo>
                    <a:pt x="83284" y="9507"/>
                  </a:lnTo>
                  <a:lnTo>
                    <a:pt x="83284" y="9507"/>
                  </a:lnTo>
                  <a:lnTo>
                    <a:pt x="79595" y="9507"/>
                  </a:lnTo>
                  <a:lnTo>
                    <a:pt x="79595" y="13194"/>
                  </a:lnTo>
                  <a:lnTo>
                    <a:pt x="75906" y="20575"/>
                  </a:lnTo>
                  <a:lnTo>
                    <a:pt x="79595" y="20575"/>
                  </a:lnTo>
                  <a:lnTo>
                    <a:pt x="83284" y="20575"/>
                  </a:lnTo>
                  <a:lnTo>
                    <a:pt x="86973" y="20575"/>
                  </a:lnTo>
                  <a:lnTo>
                    <a:pt x="90663" y="20575"/>
                  </a:lnTo>
                  <a:lnTo>
                    <a:pt x="90663" y="20575"/>
                  </a:lnTo>
                  <a:lnTo>
                    <a:pt x="90663" y="20575"/>
                  </a:lnTo>
                  <a:lnTo>
                    <a:pt x="101730" y="20575"/>
                  </a:lnTo>
                  <a:lnTo>
                    <a:pt x="109108" y="16889"/>
                  </a:lnTo>
                  <a:lnTo>
                    <a:pt x="109108" y="16889"/>
                  </a:lnTo>
                  <a:lnTo>
                    <a:pt x="112798" y="20575"/>
                  </a:lnTo>
                  <a:lnTo>
                    <a:pt x="112798" y="20575"/>
                  </a:lnTo>
                  <a:lnTo>
                    <a:pt x="116487" y="24271"/>
                  </a:lnTo>
                  <a:lnTo>
                    <a:pt x="116487" y="27957"/>
                  </a:lnTo>
                  <a:lnTo>
                    <a:pt x="120176" y="27957"/>
                  </a:lnTo>
                  <a:lnTo>
                    <a:pt x="120176" y="27957"/>
                  </a:lnTo>
                  <a:lnTo>
                    <a:pt x="123865" y="27957"/>
                  </a:lnTo>
                  <a:lnTo>
                    <a:pt x="127554" y="27957"/>
                  </a:lnTo>
                  <a:lnTo>
                    <a:pt x="134932" y="24271"/>
                  </a:lnTo>
                  <a:lnTo>
                    <a:pt x="138622" y="27957"/>
                  </a:lnTo>
                  <a:lnTo>
                    <a:pt x="149690" y="27957"/>
                  </a:lnTo>
                  <a:lnTo>
                    <a:pt x="149690" y="27957"/>
                  </a:lnTo>
                  <a:lnTo>
                    <a:pt x="149690" y="31643"/>
                  </a:lnTo>
                  <a:lnTo>
                    <a:pt x="149690" y="31643"/>
                  </a:lnTo>
                  <a:lnTo>
                    <a:pt x="149690" y="27957"/>
                  </a:lnTo>
                  <a:lnTo>
                    <a:pt x="153379" y="31643"/>
                  </a:lnTo>
                  <a:lnTo>
                    <a:pt x="153379" y="39025"/>
                  </a:lnTo>
                  <a:lnTo>
                    <a:pt x="153379" y="39025"/>
                  </a:lnTo>
                  <a:lnTo>
                    <a:pt x="157068" y="42721"/>
                  </a:lnTo>
                  <a:lnTo>
                    <a:pt x="164447" y="50103"/>
                  </a:lnTo>
                  <a:lnTo>
                    <a:pt x="168136" y="57485"/>
                  </a:lnTo>
                  <a:lnTo>
                    <a:pt x="168136" y="64867"/>
                  </a:lnTo>
                  <a:lnTo>
                    <a:pt x="171825" y="64867"/>
                  </a:lnTo>
                  <a:lnTo>
                    <a:pt x="179203" y="64867"/>
                  </a:lnTo>
                  <a:lnTo>
                    <a:pt x="182893" y="64867"/>
                  </a:lnTo>
                  <a:lnTo>
                    <a:pt x="190271" y="68553"/>
                  </a:lnTo>
                  <a:lnTo>
                    <a:pt x="190271" y="68553"/>
                  </a:lnTo>
                  <a:lnTo>
                    <a:pt x="201338" y="75935"/>
                  </a:lnTo>
                  <a:lnTo>
                    <a:pt x="205028" y="75935"/>
                  </a:lnTo>
                  <a:lnTo>
                    <a:pt x="205028" y="75935"/>
                  </a:lnTo>
                  <a:lnTo>
                    <a:pt x="205028" y="79621"/>
                  </a:lnTo>
                  <a:lnTo>
                    <a:pt x="208717" y="79621"/>
                  </a:lnTo>
                  <a:lnTo>
                    <a:pt x="216095" y="72248"/>
                  </a:lnTo>
                  <a:lnTo>
                    <a:pt x="219784" y="72248"/>
                  </a:lnTo>
                  <a:lnTo>
                    <a:pt x="223473" y="72248"/>
                  </a:lnTo>
                  <a:lnTo>
                    <a:pt x="223473" y="72248"/>
                  </a:lnTo>
                  <a:lnTo>
                    <a:pt x="234541" y="72248"/>
                  </a:lnTo>
                  <a:lnTo>
                    <a:pt x="234541" y="72248"/>
                  </a:lnTo>
                  <a:lnTo>
                    <a:pt x="238230" y="68553"/>
                  </a:lnTo>
                  <a:lnTo>
                    <a:pt x="241919" y="68553"/>
                  </a:lnTo>
                  <a:lnTo>
                    <a:pt x="241919" y="75935"/>
                  </a:lnTo>
                  <a:lnTo>
                    <a:pt x="241919" y="79621"/>
                  </a:lnTo>
                  <a:lnTo>
                    <a:pt x="245608" y="79621"/>
                  </a:lnTo>
                  <a:lnTo>
                    <a:pt x="245608" y="79621"/>
                  </a:lnTo>
                  <a:lnTo>
                    <a:pt x="241919" y="83317"/>
                  </a:lnTo>
                  <a:lnTo>
                    <a:pt x="241919" y="83317"/>
                  </a:lnTo>
                  <a:lnTo>
                    <a:pt x="238230" y="83317"/>
                  </a:lnTo>
                  <a:lnTo>
                    <a:pt x="241919" y="79621"/>
                  </a:lnTo>
                  <a:lnTo>
                    <a:pt x="241919" y="79621"/>
                  </a:lnTo>
                  <a:lnTo>
                    <a:pt x="238230" y="75935"/>
                  </a:lnTo>
                  <a:lnTo>
                    <a:pt x="238230" y="72248"/>
                  </a:lnTo>
                  <a:lnTo>
                    <a:pt x="234541" y="72248"/>
                  </a:lnTo>
                  <a:lnTo>
                    <a:pt x="234541" y="75935"/>
                  </a:lnTo>
                  <a:lnTo>
                    <a:pt x="230852" y="72248"/>
                  </a:lnTo>
                  <a:lnTo>
                    <a:pt x="219784" y="75935"/>
                  </a:lnTo>
                  <a:lnTo>
                    <a:pt x="216095" y="75935"/>
                  </a:lnTo>
                  <a:lnTo>
                    <a:pt x="212406" y="79621"/>
                  </a:lnTo>
                  <a:lnTo>
                    <a:pt x="208717" y="79621"/>
                  </a:lnTo>
                  <a:lnTo>
                    <a:pt x="208717" y="83317"/>
                  </a:lnTo>
                  <a:lnTo>
                    <a:pt x="212406" y="87003"/>
                  </a:lnTo>
                  <a:lnTo>
                    <a:pt x="212406" y="87003"/>
                  </a:lnTo>
                  <a:lnTo>
                    <a:pt x="212406" y="90698"/>
                  </a:lnTo>
                  <a:lnTo>
                    <a:pt x="212406" y="90698"/>
                  </a:lnTo>
                  <a:lnTo>
                    <a:pt x="212406" y="90698"/>
                  </a:lnTo>
                  <a:lnTo>
                    <a:pt x="212406" y="90698"/>
                  </a:lnTo>
                  <a:lnTo>
                    <a:pt x="208717" y="94385"/>
                  </a:lnTo>
                  <a:lnTo>
                    <a:pt x="212406" y="94385"/>
                  </a:lnTo>
                  <a:lnTo>
                    <a:pt x="212406" y="90698"/>
                  </a:lnTo>
                  <a:lnTo>
                    <a:pt x="208717" y="94385"/>
                  </a:lnTo>
                  <a:lnTo>
                    <a:pt x="208717" y="98080"/>
                  </a:lnTo>
                  <a:lnTo>
                    <a:pt x="205028" y="98080"/>
                  </a:lnTo>
                  <a:lnTo>
                    <a:pt x="201338" y="101766"/>
                  </a:lnTo>
                  <a:lnTo>
                    <a:pt x="197649" y="109148"/>
                  </a:lnTo>
                  <a:lnTo>
                    <a:pt x="193960" y="109148"/>
                  </a:lnTo>
                  <a:lnTo>
                    <a:pt x="190271" y="112844"/>
                  </a:lnTo>
                  <a:lnTo>
                    <a:pt x="186582" y="109148"/>
                  </a:lnTo>
                  <a:lnTo>
                    <a:pt x="179203" y="112844"/>
                  </a:lnTo>
                  <a:lnTo>
                    <a:pt x="175514" y="116530"/>
                  </a:lnTo>
                  <a:lnTo>
                    <a:pt x="168136" y="116530"/>
                  </a:lnTo>
                  <a:lnTo>
                    <a:pt x="168136" y="120226"/>
                  </a:lnTo>
                  <a:lnTo>
                    <a:pt x="157068" y="120226"/>
                  </a:lnTo>
                  <a:lnTo>
                    <a:pt x="153379" y="120226"/>
                  </a:lnTo>
                  <a:lnTo>
                    <a:pt x="146000" y="120226"/>
                  </a:lnTo>
                  <a:lnTo>
                    <a:pt x="142311" y="120226"/>
                  </a:lnTo>
                  <a:lnTo>
                    <a:pt x="142311" y="120226"/>
                  </a:lnTo>
                  <a:lnTo>
                    <a:pt x="134932" y="112844"/>
                  </a:lnTo>
                  <a:lnTo>
                    <a:pt x="134932" y="112844"/>
                  </a:lnTo>
                  <a:lnTo>
                    <a:pt x="134932" y="112844"/>
                  </a:lnTo>
                  <a:lnTo>
                    <a:pt x="131243" y="105462"/>
                  </a:lnTo>
                  <a:lnTo>
                    <a:pt x="131243" y="105462"/>
                  </a:lnTo>
                  <a:close/>
                </a:path>
              </a:pathLst>
            </a:custGeom>
            <a:solidFill>
              <a:srgbClr val="EC6224">
                <a:alpha val="60000"/>
              </a:srgbClr>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grpSp>
          <p:nvGrpSpPr>
            <p:cNvPr id="42" name="Group 41">
              <a:extLst>
                <a:ext uri="{FF2B5EF4-FFF2-40B4-BE49-F238E27FC236}">
                  <a16:creationId xmlns:a16="http://schemas.microsoft.com/office/drawing/2014/main" id="{08FBBBBA-5241-446C-8865-A51BC1FC1434}"/>
                </a:ext>
              </a:extLst>
            </p:cNvPr>
            <p:cNvGrpSpPr/>
            <p:nvPr/>
          </p:nvGrpSpPr>
          <p:grpSpPr>
            <a:xfrm>
              <a:off x="3571793" y="4412713"/>
              <a:ext cx="1035266" cy="968488"/>
              <a:chOff x="1043430" y="4343098"/>
              <a:chExt cx="1053711" cy="985743"/>
            </a:xfrm>
            <a:solidFill>
              <a:srgbClr val="DFE3E5"/>
            </a:solidFill>
          </p:grpSpPr>
          <p:sp>
            <p:nvSpPr>
              <p:cNvPr id="55" name="Freeform: Shape 54">
                <a:extLst>
                  <a:ext uri="{FF2B5EF4-FFF2-40B4-BE49-F238E27FC236}">
                    <a16:creationId xmlns:a16="http://schemas.microsoft.com/office/drawing/2014/main" id="{DC6A19A6-2176-4CF6-9184-0F30E0FFDBE6}"/>
                  </a:ext>
                </a:extLst>
              </p:cNvPr>
              <p:cNvSpPr/>
              <p:nvPr/>
            </p:nvSpPr>
            <p:spPr>
              <a:xfrm>
                <a:off x="1144103" y="4502561"/>
                <a:ext cx="953038" cy="519840"/>
              </a:xfrm>
              <a:custGeom>
                <a:avLst/>
                <a:gdLst>
                  <a:gd name="connsiteX0" fmla="*/ 345216 w 419100"/>
                  <a:gd name="connsiteY0" fmla="*/ 5812 h 228600"/>
                  <a:gd name="connsiteX1" fmla="*/ 345216 w 419100"/>
                  <a:gd name="connsiteY1" fmla="*/ 9498 h 228600"/>
                  <a:gd name="connsiteX2" fmla="*/ 337838 w 419100"/>
                  <a:gd name="connsiteY2" fmla="*/ 16880 h 228600"/>
                  <a:gd name="connsiteX3" fmla="*/ 334149 w 419100"/>
                  <a:gd name="connsiteY3" fmla="*/ 16880 h 228600"/>
                  <a:gd name="connsiteX4" fmla="*/ 337838 w 419100"/>
                  <a:gd name="connsiteY4" fmla="*/ 24261 h 228600"/>
                  <a:gd name="connsiteX5" fmla="*/ 341527 w 419100"/>
                  <a:gd name="connsiteY5" fmla="*/ 24261 h 228600"/>
                  <a:gd name="connsiteX6" fmla="*/ 345216 w 419100"/>
                  <a:gd name="connsiteY6" fmla="*/ 31643 h 228600"/>
                  <a:gd name="connsiteX7" fmla="*/ 348905 w 419100"/>
                  <a:gd name="connsiteY7" fmla="*/ 39025 h 228600"/>
                  <a:gd name="connsiteX8" fmla="*/ 356284 w 419100"/>
                  <a:gd name="connsiteY8" fmla="*/ 39025 h 228600"/>
                  <a:gd name="connsiteX9" fmla="*/ 363662 w 419100"/>
                  <a:gd name="connsiteY9" fmla="*/ 39025 h 228600"/>
                  <a:gd name="connsiteX10" fmla="*/ 367351 w 419100"/>
                  <a:gd name="connsiteY10" fmla="*/ 39025 h 228600"/>
                  <a:gd name="connsiteX11" fmla="*/ 371040 w 419100"/>
                  <a:gd name="connsiteY11" fmla="*/ 39025 h 228600"/>
                  <a:gd name="connsiteX12" fmla="*/ 371040 w 419100"/>
                  <a:gd name="connsiteY12" fmla="*/ 35339 h 228600"/>
                  <a:gd name="connsiteX13" fmla="*/ 374730 w 419100"/>
                  <a:gd name="connsiteY13" fmla="*/ 35339 h 228600"/>
                  <a:gd name="connsiteX14" fmla="*/ 374730 w 419100"/>
                  <a:gd name="connsiteY14" fmla="*/ 39025 h 228600"/>
                  <a:gd name="connsiteX15" fmla="*/ 374730 w 419100"/>
                  <a:gd name="connsiteY15" fmla="*/ 42711 h 228600"/>
                  <a:gd name="connsiteX16" fmla="*/ 371040 w 419100"/>
                  <a:gd name="connsiteY16" fmla="*/ 46407 h 228600"/>
                  <a:gd name="connsiteX17" fmla="*/ 367351 w 419100"/>
                  <a:gd name="connsiteY17" fmla="*/ 46407 h 228600"/>
                  <a:gd name="connsiteX18" fmla="*/ 363662 w 419100"/>
                  <a:gd name="connsiteY18" fmla="*/ 46407 h 228600"/>
                  <a:gd name="connsiteX19" fmla="*/ 359973 w 419100"/>
                  <a:gd name="connsiteY19" fmla="*/ 46407 h 228600"/>
                  <a:gd name="connsiteX20" fmla="*/ 356284 w 419100"/>
                  <a:gd name="connsiteY20" fmla="*/ 46407 h 228600"/>
                  <a:gd name="connsiteX21" fmla="*/ 352594 w 419100"/>
                  <a:gd name="connsiteY21" fmla="*/ 46407 h 228600"/>
                  <a:gd name="connsiteX22" fmla="*/ 348905 w 419100"/>
                  <a:gd name="connsiteY22" fmla="*/ 50093 h 228600"/>
                  <a:gd name="connsiteX23" fmla="*/ 345216 w 419100"/>
                  <a:gd name="connsiteY23" fmla="*/ 50093 h 228600"/>
                  <a:gd name="connsiteX24" fmla="*/ 337838 w 419100"/>
                  <a:gd name="connsiteY24" fmla="*/ 42711 h 228600"/>
                  <a:gd name="connsiteX25" fmla="*/ 323081 w 419100"/>
                  <a:gd name="connsiteY25" fmla="*/ 39025 h 228600"/>
                  <a:gd name="connsiteX26" fmla="*/ 319392 w 419100"/>
                  <a:gd name="connsiteY26" fmla="*/ 39025 h 228600"/>
                  <a:gd name="connsiteX27" fmla="*/ 312014 w 419100"/>
                  <a:gd name="connsiteY27" fmla="*/ 42711 h 228600"/>
                  <a:gd name="connsiteX28" fmla="*/ 308325 w 419100"/>
                  <a:gd name="connsiteY28" fmla="*/ 46407 h 228600"/>
                  <a:gd name="connsiteX29" fmla="*/ 304635 w 419100"/>
                  <a:gd name="connsiteY29" fmla="*/ 46407 h 228600"/>
                  <a:gd name="connsiteX30" fmla="*/ 297257 w 419100"/>
                  <a:gd name="connsiteY30" fmla="*/ 50093 h 228600"/>
                  <a:gd name="connsiteX31" fmla="*/ 293568 w 419100"/>
                  <a:gd name="connsiteY31" fmla="*/ 53789 h 228600"/>
                  <a:gd name="connsiteX32" fmla="*/ 289879 w 419100"/>
                  <a:gd name="connsiteY32" fmla="*/ 50093 h 228600"/>
                  <a:gd name="connsiteX33" fmla="*/ 282500 w 419100"/>
                  <a:gd name="connsiteY33" fmla="*/ 53789 h 228600"/>
                  <a:gd name="connsiteX34" fmla="*/ 278811 w 419100"/>
                  <a:gd name="connsiteY34" fmla="*/ 57475 h 228600"/>
                  <a:gd name="connsiteX35" fmla="*/ 278811 w 419100"/>
                  <a:gd name="connsiteY35" fmla="*/ 64857 h 228600"/>
                  <a:gd name="connsiteX36" fmla="*/ 282500 w 419100"/>
                  <a:gd name="connsiteY36" fmla="*/ 64857 h 228600"/>
                  <a:gd name="connsiteX37" fmla="*/ 282500 w 419100"/>
                  <a:gd name="connsiteY37" fmla="*/ 68553 h 228600"/>
                  <a:gd name="connsiteX38" fmla="*/ 286190 w 419100"/>
                  <a:gd name="connsiteY38" fmla="*/ 68553 h 228600"/>
                  <a:gd name="connsiteX39" fmla="*/ 289879 w 419100"/>
                  <a:gd name="connsiteY39" fmla="*/ 68553 h 228600"/>
                  <a:gd name="connsiteX40" fmla="*/ 293568 w 419100"/>
                  <a:gd name="connsiteY40" fmla="*/ 72239 h 228600"/>
                  <a:gd name="connsiteX41" fmla="*/ 297257 w 419100"/>
                  <a:gd name="connsiteY41" fmla="*/ 75935 h 228600"/>
                  <a:gd name="connsiteX42" fmla="*/ 300946 w 419100"/>
                  <a:gd name="connsiteY42" fmla="*/ 75935 h 228600"/>
                  <a:gd name="connsiteX43" fmla="*/ 300946 w 419100"/>
                  <a:gd name="connsiteY43" fmla="*/ 79621 h 228600"/>
                  <a:gd name="connsiteX44" fmla="*/ 300946 w 419100"/>
                  <a:gd name="connsiteY44" fmla="*/ 83317 h 228600"/>
                  <a:gd name="connsiteX45" fmla="*/ 304635 w 419100"/>
                  <a:gd name="connsiteY45" fmla="*/ 87003 h 228600"/>
                  <a:gd name="connsiteX46" fmla="*/ 308325 w 419100"/>
                  <a:gd name="connsiteY46" fmla="*/ 87003 h 228600"/>
                  <a:gd name="connsiteX47" fmla="*/ 312014 w 419100"/>
                  <a:gd name="connsiteY47" fmla="*/ 90689 h 228600"/>
                  <a:gd name="connsiteX48" fmla="*/ 315703 w 419100"/>
                  <a:gd name="connsiteY48" fmla="*/ 94384 h 228600"/>
                  <a:gd name="connsiteX49" fmla="*/ 315703 w 419100"/>
                  <a:gd name="connsiteY49" fmla="*/ 101766 h 228600"/>
                  <a:gd name="connsiteX50" fmla="*/ 319392 w 419100"/>
                  <a:gd name="connsiteY50" fmla="*/ 105453 h 228600"/>
                  <a:gd name="connsiteX51" fmla="*/ 323081 w 419100"/>
                  <a:gd name="connsiteY51" fmla="*/ 105453 h 228600"/>
                  <a:gd name="connsiteX52" fmla="*/ 323081 w 419100"/>
                  <a:gd name="connsiteY52" fmla="*/ 109148 h 228600"/>
                  <a:gd name="connsiteX53" fmla="*/ 326770 w 419100"/>
                  <a:gd name="connsiteY53" fmla="*/ 109148 h 228600"/>
                  <a:gd name="connsiteX54" fmla="*/ 330460 w 419100"/>
                  <a:gd name="connsiteY54" fmla="*/ 109148 h 228600"/>
                  <a:gd name="connsiteX55" fmla="*/ 345216 w 419100"/>
                  <a:gd name="connsiteY55" fmla="*/ 109148 h 228600"/>
                  <a:gd name="connsiteX56" fmla="*/ 348905 w 419100"/>
                  <a:gd name="connsiteY56" fmla="*/ 109148 h 228600"/>
                  <a:gd name="connsiteX57" fmla="*/ 352594 w 419100"/>
                  <a:gd name="connsiteY57" fmla="*/ 109148 h 228600"/>
                  <a:gd name="connsiteX58" fmla="*/ 356284 w 419100"/>
                  <a:gd name="connsiteY58" fmla="*/ 112835 h 228600"/>
                  <a:gd name="connsiteX59" fmla="*/ 359973 w 419100"/>
                  <a:gd name="connsiteY59" fmla="*/ 112835 h 228600"/>
                  <a:gd name="connsiteX60" fmla="*/ 359973 w 419100"/>
                  <a:gd name="connsiteY60" fmla="*/ 109148 h 228600"/>
                  <a:gd name="connsiteX61" fmla="*/ 367351 w 419100"/>
                  <a:gd name="connsiteY61" fmla="*/ 112835 h 228600"/>
                  <a:gd name="connsiteX62" fmla="*/ 374730 w 419100"/>
                  <a:gd name="connsiteY62" fmla="*/ 116530 h 228600"/>
                  <a:gd name="connsiteX63" fmla="*/ 371040 w 419100"/>
                  <a:gd name="connsiteY63" fmla="*/ 120216 h 228600"/>
                  <a:gd name="connsiteX64" fmla="*/ 371040 w 419100"/>
                  <a:gd name="connsiteY64" fmla="*/ 123912 h 228600"/>
                  <a:gd name="connsiteX65" fmla="*/ 371040 w 419100"/>
                  <a:gd name="connsiteY65" fmla="*/ 127598 h 228600"/>
                  <a:gd name="connsiteX66" fmla="*/ 374730 w 419100"/>
                  <a:gd name="connsiteY66" fmla="*/ 127598 h 228600"/>
                  <a:gd name="connsiteX67" fmla="*/ 389487 w 419100"/>
                  <a:gd name="connsiteY67" fmla="*/ 134980 h 228600"/>
                  <a:gd name="connsiteX68" fmla="*/ 393176 w 419100"/>
                  <a:gd name="connsiteY68" fmla="*/ 138666 h 228600"/>
                  <a:gd name="connsiteX69" fmla="*/ 393176 w 419100"/>
                  <a:gd name="connsiteY69" fmla="*/ 160812 h 228600"/>
                  <a:gd name="connsiteX70" fmla="*/ 393176 w 419100"/>
                  <a:gd name="connsiteY70" fmla="*/ 164508 h 228600"/>
                  <a:gd name="connsiteX71" fmla="*/ 396865 w 419100"/>
                  <a:gd name="connsiteY71" fmla="*/ 179271 h 228600"/>
                  <a:gd name="connsiteX72" fmla="*/ 393176 w 419100"/>
                  <a:gd name="connsiteY72" fmla="*/ 179271 h 228600"/>
                  <a:gd name="connsiteX73" fmla="*/ 389487 w 419100"/>
                  <a:gd name="connsiteY73" fmla="*/ 179271 h 228600"/>
                  <a:gd name="connsiteX74" fmla="*/ 385798 w 419100"/>
                  <a:gd name="connsiteY74" fmla="*/ 179271 h 228600"/>
                  <a:gd name="connsiteX75" fmla="*/ 382109 w 419100"/>
                  <a:gd name="connsiteY75" fmla="*/ 175576 h 228600"/>
                  <a:gd name="connsiteX76" fmla="*/ 378419 w 419100"/>
                  <a:gd name="connsiteY76" fmla="*/ 175576 h 228600"/>
                  <a:gd name="connsiteX77" fmla="*/ 374730 w 419100"/>
                  <a:gd name="connsiteY77" fmla="*/ 175576 h 228600"/>
                  <a:gd name="connsiteX78" fmla="*/ 371040 w 419100"/>
                  <a:gd name="connsiteY78" fmla="*/ 175576 h 228600"/>
                  <a:gd name="connsiteX79" fmla="*/ 367351 w 419100"/>
                  <a:gd name="connsiteY79" fmla="*/ 179271 h 228600"/>
                  <a:gd name="connsiteX80" fmla="*/ 363662 w 419100"/>
                  <a:gd name="connsiteY80" fmla="*/ 179271 h 228600"/>
                  <a:gd name="connsiteX81" fmla="*/ 359973 w 419100"/>
                  <a:gd name="connsiteY81" fmla="*/ 182958 h 228600"/>
                  <a:gd name="connsiteX82" fmla="*/ 356284 w 419100"/>
                  <a:gd name="connsiteY82" fmla="*/ 182958 h 228600"/>
                  <a:gd name="connsiteX83" fmla="*/ 352594 w 419100"/>
                  <a:gd name="connsiteY83" fmla="*/ 182958 h 228600"/>
                  <a:gd name="connsiteX84" fmla="*/ 348905 w 419100"/>
                  <a:gd name="connsiteY84" fmla="*/ 182958 h 228600"/>
                  <a:gd name="connsiteX85" fmla="*/ 348905 w 419100"/>
                  <a:gd name="connsiteY85" fmla="*/ 179271 h 228600"/>
                  <a:gd name="connsiteX86" fmla="*/ 345216 w 419100"/>
                  <a:gd name="connsiteY86" fmla="*/ 179271 h 228600"/>
                  <a:gd name="connsiteX87" fmla="*/ 334149 w 419100"/>
                  <a:gd name="connsiteY87" fmla="*/ 171890 h 228600"/>
                  <a:gd name="connsiteX88" fmla="*/ 330460 w 419100"/>
                  <a:gd name="connsiteY88" fmla="*/ 171890 h 228600"/>
                  <a:gd name="connsiteX89" fmla="*/ 326770 w 419100"/>
                  <a:gd name="connsiteY89" fmla="*/ 160812 h 228600"/>
                  <a:gd name="connsiteX90" fmla="*/ 323081 w 419100"/>
                  <a:gd name="connsiteY90" fmla="*/ 160812 h 228600"/>
                  <a:gd name="connsiteX91" fmla="*/ 315703 w 419100"/>
                  <a:gd name="connsiteY91" fmla="*/ 149744 h 228600"/>
                  <a:gd name="connsiteX92" fmla="*/ 315703 w 419100"/>
                  <a:gd name="connsiteY92" fmla="*/ 146048 h 228600"/>
                  <a:gd name="connsiteX93" fmla="*/ 312014 w 419100"/>
                  <a:gd name="connsiteY93" fmla="*/ 142362 h 228600"/>
                  <a:gd name="connsiteX94" fmla="*/ 315703 w 419100"/>
                  <a:gd name="connsiteY94" fmla="*/ 138666 h 228600"/>
                  <a:gd name="connsiteX95" fmla="*/ 312014 w 419100"/>
                  <a:gd name="connsiteY95" fmla="*/ 134980 h 228600"/>
                  <a:gd name="connsiteX96" fmla="*/ 312014 w 419100"/>
                  <a:gd name="connsiteY96" fmla="*/ 131294 h 228600"/>
                  <a:gd name="connsiteX97" fmla="*/ 312014 w 419100"/>
                  <a:gd name="connsiteY97" fmla="*/ 127598 h 228600"/>
                  <a:gd name="connsiteX98" fmla="*/ 308325 w 419100"/>
                  <a:gd name="connsiteY98" fmla="*/ 127598 h 228600"/>
                  <a:gd name="connsiteX99" fmla="*/ 304635 w 419100"/>
                  <a:gd name="connsiteY99" fmla="*/ 123912 h 228600"/>
                  <a:gd name="connsiteX100" fmla="*/ 297257 w 419100"/>
                  <a:gd name="connsiteY100" fmla="*/ 116530 h 228600"/>
                  <a:gd name="connsiteX101" fmla="*/ 293568 w 419100"/>
                  <a:gd name="connsiteY101" fmla="*/ 112835 h 228600"/>
                  <a:gd name="connsiteX102" fmla="*/ 289879 w 419100"/>
                  <a:gd name="connsiteY102" fmla="*/ 112835 h 228600"/>
                  <a:gd name="connsiteX103" fmla="*/ 286190 w 419100"/>
                  <a:gd name="connsiteY103" fmla="*/ 112835 h 228600"/>
                  <a:gd name="connsiteX104" fmla="*/ 282500 w 419100"/>
                  <a:gd name="connsiteY104" fmla="*/ 109148 h 228600"/>
                  <a:gd name="connsiteX105" fmla="*/ 278811 w 419100"/>
                  <a:gd name="connsiteY105" fmla="*/ 109148 h 228600"/>
                  <a:gd name="connsiteX106" fmla="*/ 271433 w 419100"/>
                  <a:gd name="connsiteY106" fmla="*/ 105453 h 228600"/>
                  <a:gd name="connsiteX107" fmla="*/ 267744 w 419100"/>
                  <a:gd name="connsiteY107" fmla="*/ 105453 h 228600"/>
                  <a:gd name="connsiteX108" fmla="*/ 264055 w 419100"/>
                  <a:gd name="connsiteY108" fmla="*/ 101766 h 228600"/>
                  <a:gd name="connsiteX109" fmla="*/ 260365 w 419100"/>
                  <a:gd name="connsiteY109" fmla="*/ 105453 h 228600"/>
                  <a:gd name="connsiteX110" fmla="*/ 256676 w 419100"/>
                  <a:gd name="connsiteY110" fmla="*/ 105453 h 228600"/>
                  <a:gd name="connsiteX111" fmla="*/ 256676 w 419100"/>
                  <a:gd name="connsiteY111" fmla="*/ 109148 h 228600"/>
                  <a:gd name="connsiteX112" fmla="*/ 249298 w 419100"/>
                  <a:gd name="connsiteY112" fmla="*/ 98071 h 228600"/>
                  <a:gd name="connsiteX113" fmla="*/ 252987 w 419100"/>
                  <a:gd name="connsiteY113" fmla="*/ 98071 h 228600"/>
                  <a:gd name="connsiteX114" fmla="*/ 249298 w 419100"/>
                  <a:gd name="connsiteY114" fmla="*/ 94384 h 228600"/>
                  <a:gd name="connsiteX115" fmla="*/ 249298 w 419100"/>
                  <a:gd name="connsiteY115" fmla="*/ 90689 h 228600"/>
                  <a:gd name="connsiteX116" fmla="*/ 245609 w 419100"/>
                  <a:gd name="connsiteY116" fmla="*/ 90689 h 228600"/>
                  <a:gd name="connsiteX117" fmla="*/ 241920 w 419100"/>
                  <a:gd name="connsiteY117" fmla="*/ 90689 h 228600"/>
                  <a:gd name="connsiteX118" fmla="*/ 238231 w 419100"/>
                  <a:gd name="connsiteY118" fmla="*/ 90689 h 228600"/>
                  <a:gd name="connsiteX119" fmla="*/ 234541 w 419100"/>
                  <a:gd name="connsiteY119" fmla="*/ 94384 h 228600"/>
                  <a:gd name="connsiteX120" fmla="*/ 230852 w 419100"/>
                  <a:gd name="connsiteY120" fmla="*/ 94384 h 228600"/>
                  <a:gd name="connsiteX121" fmla="*/ 227162 w 419100"/>
                  <a:gd name="connsiteY121" fmla="*/ 94384 h 228600"/>
                  <a:gd name="connsiteX122" fmla="*/ 219784 w 419100"/>
                  <a:gd name="connsiteY122" fmla="*/ 94384 h 228600"/>
                  <a:gd name="connsiteX123" fmla="*/ 216095 w 419100"/>
                  <a:gd name="connsiteY123" fmla="*/ 94384 h 228600"/>
                  <a:gd name="connsiteX124" fmla="*/ 212405 w 419100"/>
                  <a:gd name="connsiteY124" fmla="*/ 94384 h 228600"/>
                  <a:gd name="connsiteX125" fmla="*/ 208716 w 419100"/>
                  <a:gd name="connsiteY125" fmla="*/ 94384 h 228600"/>
                  <a:gd name="connsiteX126" fmla="*/ 208716 w 419100"/>
                  <a:gd name="connsiteY126" fmla="*/ 90689 h 228600"/>
                  <a:gd name="connsiteX127" fmla="*/ 205027 w 419100"/>
                  <a:gd name="connsiteY127" fmla="*/ 87003 h 228600"/>
                  <a:gd name="connsiteX128" fmla="*/ 197649 w 419100"/>
                  <a:gd name="connsiteY128" fmla="*/ 87003 h 228600"/>
                  <a:gd name="connsiteX129" fmla="*/ 190270 w 419100"/>
                  <a:gd name="connsiteY129" fmla="*/ 90689 h 228600"/>
                  <a:gd name="connsiteX130" fmla="*/ 186581 w 419100"/>
                  <a:gd name="connsiteY130" fmla="*/ 90689 h 228600"/>
                  <a:gd name="connsiteX131" fmla="*/ 182892 w 419100"/>
                  <a:gd name="connsiteY131" fmla="*/ 94384 h 228600"/>
                  <a:gd name="connsiteX132" fmla="*/ 171825 w 419100"/>
                  <a:gd name="connsiteY132" fmla="*/ 90689 h 228600"/>
                  <a:gd name="connsiteX133" fmla="*/ 168136 w 419100"/>
                  <a:gd name="connsiteY133" fmla="*/ 90689 h 228600"/>
                  <a:gd name="connsiteX134" fmla="*/ 164446 w 419100"/>
                  <a:gd name="connsiteY134" fmla="*/ 87003 h 228600"/>
                  <a:gd name="connsiteX135" fmla="*/ 160757 w 419100"/>
                  <a:gd name="connsiteY135" fmla="*/ 90689 h 228600"/>
                  <a:gd name="connsiteX136" fmla="*/ 153379 w 419100"/>
                  <a:gd name="connsiteY136" fmla="*/ 94384 h 228600"/>
                  <a:gd name="connsiteX137" fmla="*/ 153379 w 419100"/>
                  <a:gd name="connsiteY137" fmla="*/ 98071 h 228600"/>
                  <a:gd name="connsiteX138" fmla="*/ 149690 w 419100"/>
                  <a:gd name="connsiteY138" fmla="*/ 101766 h 228600"/>
                  <a:gd name="connsiteX139" fmla="*/ 149690 w 419100"/>
                  <a:gd name="connsiteY139" fmla="*/ 105453 h 228600"/>
                  <a:gd name="connsiteX140" fmla="*/ 146001 w 419100"/>
                  <a:gd name="connsiteY140" fmla="*/ 109148 h 228600"/>
                  <a:gd name="connsiteX141" fmla="*/ 142311 w 419100"/>
                  <a:gd name="connsiteY141" fmla="*/ 109148 h 228600"/>
                  <a:gd name="connsiteX142" fmla="*/ 138622 w 419100"/>
                  <a:gd name="connsiteY142" fmla="*/ 112835 h 228600"/>
                  <a:gd name="connsiteX143" fmla="*/ 142311 w 419100"/>
                  <a:gd name="connsiteY143" fmla="*/ 112835 h 228600"/>
                  <a:gd name="connsiteX144" fmla="*/ 146001 w 419100"/>
                  <a:gd name="connsiteY144" fmla="*/ 112835 h 228600"/>
                  <a:gd name="connsiteX145" fmla="*/ 138622 w 419100"/>
                  <a:gd name="connsiteY145" fmla="*/ 116530 h 228600"/>
                  <a:gd name="connsiteX146" fmla="*/ 138622 w 419100"/>
                  <a:gd name="connsiteY146" fmla="*/ 112835 h 228600"/>
                  <a:gd name="connsiteX147" fmla="*/ 131244 w 419100"/>
                  <a:gd name="connsiteY147" fmla="*/ 105453 h 228600"/>
                  <a:gd name="connsiteX148" fmla="*/ 127555 w 419100"/>
                  <a:gd name="connsiteY148" fmla="*/ 101766 h 228600"/>
                  <a:gd name="connsiteX149" fmla="*/ 127555 w 419100"/>
                  <a:gd name="connsiteY149" fmla="*/ 98071 h 228600"/>
                  <a:gd name="connsiteX150" fmla="*/ 123866 w 419100"/>
                  <a:gd name="connsiteY150" fmla="*/ 87003 h 228600"/>
                  <a:gd name="connsiteX151" fmla="*/ 123866 w 419100"/>
                  <a:gd name="connsiteY151" fmla="*/ 83317 h 228600"/>
                  <a:gd name="connsiteX152" fmla="*/ 120176 w 419100"/>
                  <a:gd name="connsiteY152" fmla="*/ 83317 h 228600"/>
                  <a:gd name="connsiteX153" fmla="*/ 116487 w 419100"/>
                  <a:gd name="connsiteY153" fmla="*/ 79621 h 228600"/>
                  <a:gd name="connsiteX154" fmla="*/ 109109 w 419100"/>
                  <a:gd name="connsiteY154" fmla="*/ 75935 h 228600"/>
                  <a:gd name="connsiteX155" fmla="*/ 105420 w 419100"/>
                  <a:gd name="connsiteY155" fmla="*/ 72239 h 228600"/>
                  <a:gd name="connsiteX156" fmla="*/ 101731 w 419100"/>
                  <a:gd name="connsiteY156" fmla="*/ 68553 h 228600"/>
                  <a:gd name="connsiteX157" fmla="*/ 101731 w 419100"/>
                  <a:gd name="connsiteY157" fmla="*/ 64857 h 228600"/>
                  <a:gd name="connsiteX158" fmla="*/ 101731 w 419100"/>
                  <a:gd name="connsiteY158" fmla="*/ 57475 h 228600"/>
                  <a:gd name="connsiteX159" fmla="*/ 105420 w 419100"/>
                  <a:gd name="connsiteY159" fmla="*/ 53789 h 228600"/>
                  <a:gd name="connsiteX160" fmla="*/ 101731 w 419100"/>
                  <a:gd name="connsiteY160" fmla="*/ 53789 h 228600"/>
                  <a:gd name="connsiteX161" fmla="*/ 98041 w 419100"/>
                  <a:gd name="connsiteY161" fmla="*/ 53789 h 228600"/>
                  <a:gd name="connsiteX162" fmla="*/ 94352 w 419100"/>
                  <a:gd name="connsiteY162" fmla="*/ 50093 h 228600"/>
                  <a:gd name="connsiteX163" fmla="*/ 83284 w 419100"/>
                  <a:gd name="connsiteY163" fmla="*/ 50093 h 228600"/>
                  <a:gd name="connsiteX164" fmla="*/ 79595 w 419100"/>
                  <a:gd name="connsiteY164" fmla="*/ 50093 h 228600"/>
                  <a:gd name="connsiteX165" fmla="*/ 75906 w 419100"/>
                  <a:gd name="connsiteY165" fmla="*/ 50093 h 228600"/>
                  <a:gd name="connsiteX166" fmla="*/ 68527 w 419100"/>
                  <a:gd name="connsiteY166" fmla="*/ 50093 h 228600"/>
                  <a:gd name="connsiteX167" fmla="*/ 68527 w 419100"/>
                  <a:gd name="connsiteY167" fmla="*/ 53789 h 228600"/>
                  <a:gd name="connsiteX168" fmla="*/ 64838 w 419100"/>
                  <a:gd name="connsiteY168" fmla="*/ 53789 h 228600"/>
                  <a:gd name="connsiteX169" fmla="*/ 61149 w 419100"/>
                  <a:gd name="connsiteY169" fmla="*/ 53789 h 228600"/>
                  <a:gd name="connsiteX170" fmla="*/ 57460 w 419100"/>
                  <a:gd name="connsiteY170" fmla="*/ 57475 h 228600"/>
                  <a:gd name="connsiteX171" fmla="*/ 50081 w 419100"/>
                  <a:gd name="connsiteY171" fmla="*/ 61171 h 228600"/>
                  <a:gd name="connsiteX172" fmla="*/ 46393 w 419100"/>
                  <a:gd name="connsiteY172" fmla="*/ 64857 h 228600"/>
                  <a:gd name="connsiteX173" fmla="*/ 39014 w 419100"/>
                  <a:gd name="connsiteY173" fmla="*/ 68553 h 228600"/>
                  <a:gd name="connsiteX174" fmla="*/ 35325 w 419100"/>
                  <a:gd name="connsiteY174" fmla="*/ 68553 h 228600"/>
                  <a:gd name="connsiteX175" fmla="*/ 31636 w 419100"/>
                  <a:gd name="connsiteY175" fmla="*/ 72239 h 228600"/>
                  <a:gd name="connsiteX176" fmla="*/ 27947 w 419100"/>
                  <a:gd name="connsiteY176" fmla="*/ 75935 h 228600"/>
                  <a:gd name="connsiteX177" fmla="*/ 20568 w 419100"/>
                  <a:gd name="connsiteY177" fmla="*/ 79621 h 228600"/>
                  <a:gd name="connsiteX178" fmla="*/ 16879 w 419100"/>
                  <a:gd name="connsiteY178" fmla="*/ 83317 h 228600"/>
                  <a:gd name="connsiteX179" fmla="*/ 13190 w 419100"/>
                  <a:gd name="connsiteY179" fmla="*/ 83317 h 228600"/>
                  <a:gd name="connsiteX180" fmla="*/ 9501 w 419100"/>
                  <a:gd name="connsiteY180" fmla="*/ 87003 h 228600"/>
                  <a:gd name="connsiteX181" fmla="*/ 5812 w 419100"/>
                  <a:gd name="connsiteY181" fmla="*/ 90689 h 228600"/>
                  <a:gd name="connsiteX182" fmla="*/ 5812 w 419100"/>
                  <a:gd name="connsiteY182" fmla="*/ 94384 h 228600"/>
                  <a:gd name="connsiteX183" fmla="*/ 5812 w 419100"/>
                  <a:gd name="connsiteY183" fmla="*/ 98071 h 228600"/>
                  <a:gd name="connsiteX184" fmla="*/ 5812 w 419100"/>
                  <a:gd name="connsiteY184" fmla="*/ 101766 h 228600"/>
                  <a:gd name="connsiteX185" fmla="*/ 9501 w 419100"/>
                  <a:gd name="connsiteY185" fmla="*/ 109148 h 228600"/>
                  <a:gd name="connsiteX186" fmla="*/ 13190 w 419100"/>
                  <a:gd name="connsiteY186" fmla="*/ 109148 h 228600"/>
                  <a:gd name="connsiteX187" fmla="*/ 16879 w 419100"/>
                  <a:gd name="connsiteY187" fmla="*/ 112835 h 228600"/>
                  <a:gd name="connsiteX188" fmla="*/ 20568 w 419100"/>
                  <a:gd name="connsiteY188" fmla="*/ 116530 h 228600"/>
                  <a:gd name="connsiteX189" fmla="*/ 27947 w 419100"/>
                  <a:gd name="connsiteY189" fmla="*/ 120216 h 228600"/>
                  <a:gd name="connsiteX190" fmla="*/ 27947 w 419100"/>
                  <a:gd name="connsiteY190" fmla="*/ 123912 h 228600"/>
                  <a:gd name="connsiteX191" fmla="*/ 31636 w 419100"/>
                  <a:gd name="connsiteY191" fmla="*/ 123912 h 228600"/>
                  <a:gd name="connsiteX192" fmla="*/ 35325 w 419100"/>
                  <a:gd name="connsiteY192" fmla="*/ 127598 h 228600"/>
                  <a:gd name="connsiteX193" fmla="*/ 39014 w 419100"/>
                  <a:gd name="connsiteY193" fmla="*/ 131294 h 228600"/>
                  <a:gd name="connsiteX194" fmla="*/ 39014 w 419100"/>
                  <a:gd name="connsiteY194" fmla="*/ 134980 h 228600"/>
                  <a:gd name="connsiteX195" fmla="*/ 42703 w 419100"/>
                  <a:gd name="connsiteY195" fmla="*/ 138666 h 228600"/>
                  <a:gd name="connsiteX196" fmla="*/ 42703 w 419100"/>
                  <a:gd name="connsiteY196" fmla="*/ 142362 h 228600"/>
                  <a:gd name="connsiteX197" fmla="*/ 46393 w 419100"/>
                  <a:gd name="connsiteY197" fmla="*/ 146048 h 228600"/>
                  <a:gd name="connsiteX198" fmla="*/ 46393 w 419100"/>
                  <a:gd name="connsiteY198" fmla="*/ 149744 h 228600"/>
                  <a:gd name="connsiteX199" fmla="*/ 50081 w 419100"/>
                  <a:gd name="connsiteY199" fmla="*/ 153430 h 228600"/>
                  <a:gd name="connsiteX200" fmla="*/ 53771 w 419100"/>
                  <a:gd name="connsiteY200" fmla="*/ 157126 h 228600"/>
                  <a:gd name="connsiteX201" fmla="*/ 61149 w 419100"/>
                  <a:gd name="connsiteY201" fmla="*/ 160812 h 228600"/>
                  <a:gd name="connsiteX202" fmla="*/ 61149 w 419100"/>
                  <a:gd name="connsiteY202" fmla="*/ 164508 h 228600"/>
                  <a:gd name="connsiteX203" fmla="*/ 64838 w 419100"/>
                  <a:gd name="connsiteY203" fmla="*/ 164508 h 228600"/>
                  <a:gd name="connsiteX204" fmla="*/ 68527 w 419100"/>
                  <a:gd name="connsiteY204" fmla="*/ 168194 h 228600"/>
                  <a:gd name="connsiteX205" fmla="*/ 68527 w 419100"/>
                  <a:gd name="connsiteY205" fmla="*/ 171890 h 228600"/>
                  <a:gd name="connsiteX206" fmla="*/ 72216 w 419100"/>
                  <a:gd name="connsiteY206" fmla="*/ 171890 h 228600"/>
                  <a:gd name="connsiteX207" fmla="*/ 79595 w 419100"/>
                  <a:gd name="connsiteY207" fmla="*/ 171890 h 228600"/>
                  <a:gd name="connsiteX208" fmla="*/ 83284 w 419100"/>
                  <a:gd name="connsiteY208" fmla="*/ 171890 h 228600"/>
                  <a:gd name="connsiteX209" fmla="*/ 83284 w 419100"/>
                  <a:gd name="connsiteY209" fmla="*/ 168194 h 228600"/>
                  <a:gd name="connsiteX210" fmla="*/ 83284 w 419100"/>
                  <a:gd name="connsiteY210" fmla="*/ 160812 h 228600"/>
                  <a:gd name="connsiteX211" fmla="*/ 86974 w 419100"/>
                  <a:gd name="connsiteY211" fmla="*/ 160812 h 228600"/>
                  <a:gd name="connsiteX212" fmla="*/ 86974 w 419100"/>
                  <a:gd name="connsiteY212" fmla="*/ 168194 h 228600"/>
                  <a:gd name="connsiteX213" fmla="*/ 90663 w 419100"/>
                  <a:gd name="connsiteY213" fmla="*/ 171890 h 228600"/>
                  <a:gd name="connsiteX214" fmla="*/ 94352 w 419100"/>
                  <a:gd name="connsiteY214" fmla="*/ 171890 h 228600"/>
                  <a:gd name="connsiteX215" fmla="*/ 101731 w 419100"/>
                  <a:gd name="connsiteY215" fmla="*/ 171890 h 228600"/>
                  <a:gd name="connsiteX216" fmla="*/ 105420 w 419100"/>
                  <a:gd name="connsiteY216" fmla="*/ 168194 h 228600"/>
                  <a:gd name="connsiteX217" fmla="*/ 105420 w 419100"/>
                  <a:gd name="connsiteY217" fmla="*/ 164508 h 228600"/>
                  <a:gd name="connsiteX218" fmla="*/ 109109 w 419100"/>
                  <a:gd name="connsiteY218" fmla="*/ 164508 h 228600"/>
                  <a:gd name="connsiteX219" fmla="*/ 116487 w 419100"/>
                  <a:gd name="connsiteY219" fmla="*/ 164508 h 228600"/>
                  <a:gd name="connsiteX220" fmla="*/ 120176 w 419100"/>
                  <a:gd name="connsiteY220" fmla="*/ 164508 h 228600"/>
                  <a:gd name="connsiteX221" fmla="*/ 112798 w 419100"/>
                  <a:gd name="connsiteY221" fmla="*/ 160812 h 228600"/>
                  <a:gd name="connsiteX222" fmla="*/ 116487 w 419100"/>
                  <a:gd name="connsiteY222" fmla="*/ 157126 h 228600"/>
                  <a:gd name="connsiteX223" fmla="*/ 123866 w 419100"/>
                  <a:gd name="connsiteY223" fmla="*/ 153430 h 228600"/>
                  <a:gd name="connsiteX224" fmla="*/ 127555 w 419100"/>
                  <a:gd name="connsiteY224" fmla="*/ 153430 h 228600"/>
                  <a:gd name="connsiteX225" fmla="*/ 127555 w 419100"/>
                  <a:gd name="connsiteY225" fmla="*/ 157126 h 228600"/>
                  <a:gd name="connsiteX226" fmla="*/ 138622 w 419100"/>
                  <a:gd name="connsiteY226" fmla="*/ 149744 h 228600"/>
                  <a:gd name="connsiteX227" fmla="*/ 138622 w 419100"/>
                  <a:gd name="connsiteY227" fmla="*/ 146048 h 228600"/>
                  <a:gd name="connsiteX228" fmla="*/ 138622 w 419100"/>
                  <a:gd name="connsiteY228" fmla="*/ 142362 h 228600"/>
                  <a:gd name="connsiteX229" fmla="*/ 142311 w 419100"/>
                  <a:gd name="connsiteY229" fmla="*/ 146048 h 228600"/>
                  <a:gd name="connsiteX230" fmla="*/ 142311 w 419100"/>
                  <a:gd name="connsiteY230" fmla="*/ 149744 h 228600"/>
                  <a:gd name="connsiteX231" fmla="*/ 146001 w 419100"/>
                  <a:gd name="connsiteY231" fmla="*/ 149744 h 228600"/>
                  <a:gd name="connsiteX232" fmla="*/ 142311 w 419100"/>
                  <a:gd name="connsiteY232" fmla="*/ 153430 h 228600"/>
                  <a:gd name="connsiteX233" fmla="*/ 142311 w 419100"/>
                  <a:gd name="connsiteY233" fmla="*/ 160812 h 228600"/>
                  <a:gd name="connsiteX234" fmla="*/ 146001 w 419100"/>
                  <a:gd name="connsiteY234" fmla="*/ 160812 h 228600"/>
                  <a:gd name="connsiteX235" fmla="*/ 142311 w 419100"/>
                  <a:gd name="connsiteY235" fmla="*/ 164508 h 228600"/>
                  <a:gd name="connsiteX236" fmla="*/ 146001 w 419100"/>
                  <a:gd name="connsiteY236" fmla="*/ 168194 h 228600"/>
                  <a:gd name="connsiteX237" fmla="*/ 146001 w 419100"/>
                  <a:gd name="connsiteY237" fmla="*/ 171890 h 228600"/>
                  <a:gd name="connsiteX238" fmla="*/ 142311 w 419100"/>
                  <a:gd name="connsiteY238" fmla="*/ 168194 h 228600"/>
                  <a:gd name="connsiteX239" fmla="*/ 138622 w 419100"/>
                  <a:gd name="connsiteY239" fmla="*/ 171890 h 228600"/>
                  <a:gd name="connsiteX240" fmla="*/ 134933 w 419100"/>
                  <a:gd name="connsiteY240" fmla="*/ 171890 h 228600"/>
                  <a:gd name="connsiteX241" fmla="*/ 138622 w 419100"/>
                  <a:gd name="connsiteY241" fmla="*/ 175576 h 228600"/>
                  <a:gd name="connsiteX242" fmla="*/ 142311 w 419100"/>
                  <a:gd name="connsiteY242" fmla="*/ 179271 h 228600"/>
                  <a:gd name="connsiteX243" fmla="*/ 142311 w 419100"/>
                  <a:gd name="connsiteY243" fmla="*/ 182958 h 228600"/>
                  <a:gd name="connsiteX244" fmla="*/ 146001 w 419100"/>
                  <a:gd name="connsiteY244" fmla="*/ 182958 h 228600"/>
                  <a:gd name="connsiteX245" fmla="*/ 146001 w 419100"/>
                  <a:gd name="connsiteY245" fmla="*/ 190339 h 228600"/>
                  <a:gd name="connsiteX246" fmla="*/ 146001 w 419100"/>
                  <a:gd name="connsiteY246" fmla="*/ 194026 h 228600"/>
                  <a:gd name="connsiteX247" fmla="*/ 149690 w 419100"/>
                  <a:gd name="connsiteY247" fmla="*/ 194026 h 228600"/>
                  <a:gd name="connsiteX248" fmla="*/ 153379 w 419100"/>
                  <a:gd name="connsiteY248" fmla="*/ 197721 h 228600"/>
                  <a:gd name="connsiteX249" fmla="*/ 157068 w 419100"/>
                  <a:gd name="connsiteY249" fmla="*/ 197721 h 228600"/>
                  <a:gd name="connsiteX250" fmla="*/ 157068 w 419100"/>
                  <a:gd name="connsiteY250" fmla="*/ 194026 h 228600"/>
                  <a:gd name="connsiteX251" fmla="*/ 160757 w 419100"/>
                  <a:gd name="connsiteY251" fmla="*/ 194026 h 228600"/>
                  <a:gd name="connsiteX252" fmla="*/ 168136 w 419100"/>
                  <a:gd name="connsiteY252" fmla="*/ 197721 h 228600"/>
                  <a:gd name="connsiteX253" fmla="*/ 171825 w 419100"/>
                  <a:gd name="connsiteY253" fmla="*/ 197721 h 228600"/>
                  <a:gd name="connsiteX254" fmla="*/ 171825 w 419100"/>
                  <a:gd name="connsiteY254" fmla="*/ 201407 h 228600"/>
                  <a:gd name="connsiteX255" fmla="*/ 179203 w 419100"/>
                  <a:gd name="connsiteY255" fmla="*/ 205103 h 228600"/>
                  <a:gd name="connsiteX256" fmla="*/ 179203 w 419100"/>
                  <a:gd name="connsiteY256" fmla="*/ 208789 h 228600"/>
                  <a:gd name="connsiteX257" fmla="*/ 182892 w 419100"/>
                  <a:gd name="connsiteY257" fmla="*/ 208789 h 228600"/>
                  <a:gd name="connsiteX258" fmla="*/ 190270 w 419100"/>
                  <a:gd name="connsiteY258" fmla="*/ 216171 h 228600"/>
                  <a:gd name="connsiteX259" fmla="*/ 193960 w 419100"/>
                  <a:gd name="connsiteY259" fmla="*/ 216171 h 228600"/>
                  <a:gd name="connsiteX260" fmla="*/ 201338 w 419100"/>
                  <a:gd name="connsiteY260" fmla="*/ 216171 h 228600"/>
                  <a:gd name="connsiteX261" fmla="*/ 208716 w 419100"/>
                  <a:gd name="connsiteY261" fmla="*/ 212485 h 228600"/>
                  <a:gd name="connsiteX262" fmla="*/ 212405 w 419100"/>
                  <a:gd name="connsiteY262" fmla="*/ 212485 h 228600"/>
                  <a:gd name="connsiteX263" fmla="*/ 216095 w 419100"/>
                  <a:gd name="connsiteY263" fmla="*/ 208789 h 228600"/>
                  <a:gd name="connsiteX264" fmla="*/ 223473 w 419100"/>
                  <a:gd name="connsiteY264" fmla="*/ 208789 h 228600"/>
                  <a:gd name="connsiteX265" fmla="*/ 227162 w 419100"/>
                  <a:gd name="connsiteY265" fmla="*/ 208789 h 228600"/>
                  <a:gd name="connsiteX266" fmla="*/ 230852 w 419100"/>
                  <a:gd name="connsiteY266" fmla="*/ 212485 h 228600"/>
                  <a:gd name="connsiteX267" fmla="*/ 234541 w 419100"/>
                  <a:gd name="connsiteY267" fmla="*/ 208789 h 228600"/>
                  <a:gd name="connsiteX268" fmla="*/ 238231 w 419100"/>
                  <a:gd name="connsiteY268" fmla="*/ 194026 h 228600"/>
                  <a:gd name="connsiteX269" fmla="*/ 241920 w 419100"/>
                  <a:gd name="connsiteY269" fmla="*/ 194026 h 228600"/>
                  <a:gd name="connsiteX270" fmla="*/ 241920 w 419100"/>
                  <a:gd name="connsiteY270" fmla="*/ 190339 h 228600"/>
                  <a:gd name="connsiteX271" fmla="*/ 241920 w 419100"/>
                  <a:gd name="connsiteY271" fmla="*/ 186644 h 228600"/>
                  <a:gd name="connsiteX272" fmla="*/ 245609 w 419100"/>
                  <a:gd name="connsiteY272" fmla="*/ 186644 h 228600"/>
                  <a:gd name="connsiteX273" fmla="*/ 245609 w 419100"/>
                  <a:gd name="connsiteY273" fmla="*/ 179271 h 228600"/>
                  <a:gd name="connsiteX274" fmla="*/ 245609 w 419100"/>
                  <a:gd name="connsiteY274" fmla="*/ 175576 h 228600"/>
                  <a:gd name="connsiteX275" fmla="*/ 245609 w 419100"/>
                  <a:gd name="connsiteY275" fmla="*/ 171890 h 228600"/>
                  <a:gd name="connsiteX276" fmla="*/ 245609 w 419100"/>
                  <a:gd name="connsiteY276" fmla="*/ 168194 h 228600"/>
                  <a:gd name="connsiteX277" fmla="*/ 245609 w 419100"/>
                  <a:gd name="connsiteY277" fmla="*/ 164508 h 228600"/>
                  <a:gd name="connsiteX278" fmla="*/ 252987 w 419100"/>
                  <a:gd name="connsiteY278" fmla="*/ 168194 h 228600"/>
                  <a:gd name="connsiteX279" fmla="*/ 260365 w 419100"/>
                  <a:gd name="connsiteY279" fmla="*/ 164508 h 228600"/>
                  <a:gd name="connsiteX280" fmla="*/ 264055 w 419100"/>
                  <a:gd name="connsiteY280" fmla="*/ 164508 h 228600"/>
                  <a:gd name="connsiteX281" fmla="*/ 271433 w 419100"/>
                  <a:gd name="connsiteY281" fmla="*/ 157126 h 228600"/>
                  <a:gd name="connsiteX282" fmla="*/ 275122 w 419100"/>
                  <a:gd name="connsiteY282" fmla="*/ 160812 h 228600"/>
                  <a:gd name="connsiteX283" fmla="*/ 278811 w 419100"/>
                  <a:gd name="connsiteY283" fmla="*/ 164508 h 228600"/>
                  <a:gd name="connsiteX284" fmla="*/ 282500 w 419100"/>
                  <a:gd name="connsiteY284" fmla="*/ 168194 h 228600"/>
                  <a:gd name="connsiteX285" fmla="*/ 282500 w 419100"/>
                  <a:gd name="connsiteY285" fmla="*/ 171890 h 228600"/>
                  <a:gd name="connsiteX286" fmla="*/ 286190 w 419100"/>
                  <a:gd name="connsiteY286" fmla="*/ 171890 h 228600"/>
                  <a:gd name="connsiteX287" fmla="*/ 286190 w 419100"/>
                  <a:gd name="connsiteY287" fmla="*/ 175576 h 228600"/>
                  <a:gd name="connsiteX288" fmla="*/ 289879 w 419100"/>
                  <a:gd name="connsiteY288" fmla="*/ 175576 h 228600"/>
                  <a:gd name="connsiteX289" fmla="*/ 293568 w 419100"/>
                  <a:gd name="connsiteY289" fmla="*/ 175576 h 228600"/>
                  <a:gd name="connsiteX290" fmla="*/ 297257 w 419100"/>
                  <a:gd name="connsiteY290" fmla="*/ 179271 h 228600"/>
                  <a:gd name="connsiteX291" fmla="*/ 300946 w 419100"/>
                  <a:gd name="connsiteY291" fmla="*/ 182958 h 228600"/>
                  <a:gd name="connsiteX292" fmla="*/ 308325 w 419100"/>
                  <a:gd name="connsiteY292" fmla="*/ 182958 h 228600"/>
                  <a:gd name="connsiteX293" fmla="*/ 308325 w 419100"/>
                  <a:gd name="connsiteY293" fmla="*/ 186644 h 228600"/>
                  <a:gd name="connsiteX294" fmla="*/ 308325 w 419100"/>
                  <a:gd name="connsiteY294" fmla="*/ 194026 h 228600"/>
                  <a:gd name="connsiteX295" fmla="*/ 315703 w 419100"/>
                  <a:gd name="connsiteY295" fmla="*/ 197721 h 228600"/>
                  <a:gd name="connsiteX296" fmla="*/ 319392 w 419100"/>
                  <a:gd name="connsiteY296" fmla="*/ 197721 h 228600"/>
                  <a:gd name="connsiteX297" fmla="*/ 323081 w 419100"/>
                  <a:gd name="connsiteY297" fmla="*/ 201407 h 228600"/>
                  <a:gd name="connsiteX298" fmla="*/ 326770 w 419100"/>
                  <a:gd name="connsiteY298" fmla="*/ 201407 h 228600"/>
                  <a:gd name="connsiteX299" fmla="*/ 334149 w 419100"/>
                  <a:gd name="connsiteY299" fmla="*/ 205103 h 228600"/>
                  <a:gd name="connsiteX300" fmla="*/ 341527 w 419100"/>
                  <a:gd name="connsiteY300" fmla="*/ 208789 h 228600"/>
                  <a:gd name="connsiteX301" fmla="*/ 348905 w 419100"/>
                  <a:gd name="connsiteY301" fmla="*/ 208789 h 228600"/>
                  <a:gd name="connsiteX302" fmla="*/ 352594 w 419100"/>
                  <a:gd name="connsiteY302" fmla="*/ 212485 h 228600"/>
                  <a:gd name="connsiteX303" fmla="*/ 359973 w 419100"/>
                  <a:gd name="connsiteY303" fmla="*/ 212485 h 228600"/>
                  <a:gd name="connsiteX304" fmla="*/ 371040 w 419100"/>
                  <a:gd name="connsiteY304" fmla="*/ 208789 h 228600"/>
                  <a:gd name="connsiteX305" fmla="*/ 378419 w 419100"/>
                  <a:gd name="connsiteY305" fmla="*/ 205103 h 228600"/>
                  <a:gd name="connsiteX306" fmla="*/ 382109 w 419100"/>
                  <a:gd name="connsiteY306" fmla="*/ 205103 h 228600"/>
                  <a:gd name="connsiteX307" fmla="*/ 385798 w 419100"/>
                  <a:gd name="connsiteY307" fmla="*/ 205103 h 228600"/>
                  <a:gd name="connsiteX308" fmla="*/ 385798 w 419100"/>
                  <a:gd name="connsiteY308" fmla="*/ 208789 h 228600"/>
                  <a:gd name="connsiteX309" fmla="*/ 389487 w 419100"/>
                  <a:gd name="connsiteY309" fmla="*/ 208789 h 228600"/>
                  <a:gd name="connsiteX310" fmla="*/ 393176 w 419100"/>
                  <a:gd name="connsiteY310" fmla="*/ 208789 h 228600"/>
                  <a:gd name="connsiteX311" fmla="*/ 400555 w 419100"/>
                  <a:gd name="connsiteY311" fmla="*/ 212485 h 228600"/>
                  <a:gd name="connsiteX312" fmla="*/ 404244 w 419100"/>
                  <a:gd name="connsiteY312" fmla="*/ 223553 h 228600"/>
                  <a:gd name="connsiteX313" fmla="*/ 404244 w 419100"/>
                  <a:gd name="connsiteY313" fmla="*/ 230935 h 228600"/>
                  <a:gd name="connsiteX314" fmla="*/ 415311 w 419100"/>
                  <a:gd name="connsiteY314" fmla="*/ 230935 h 228600"/>
                  <a:gd name="connsiteX315" fmla="*/ 422690 w 419100"/>
                  <a:gd name="connsiteY315" fmla="*/ 227249 h 228600"/>
                  <a:gd name="connsiteX316" fmla="*/ 419000 w 419100"/>
                  <a:gd name="connsiteY316" fmla="*/ 223553 h 228600"/>
                  <a:gd name="connsiteX317" fmla="*/ 415311 w 419100"/>
                  <a:gd name="connsiteY317" fmla="*/ 223553 h 228600"/>
                  <a:gd name="connsiteX318" fmla="*/ 415311 w 419100"/>
                  <a:gd name="connsiteY318" fmla="*/ 219867 h 228600"/>
                  <a:gd name="connsiteX319" fmla="*/ 419000 w 419100"/>
                  <a:gd name="connsiteY319" fmla="*/ 208789 h 228600"/>
                  <a:gd name="connsiteX320" fmla="*/ 415311 w 419100"/>
                  <a:gd name="connsiteY320" fmla="*/ 197721 h 228600"/>
                  <a:gd name="connsiteX321" fmla="*/ 415311 w 419100"/>
                  <a:gd name="connsiteY321" fmla="*/ 194026 h 228600"/>
                  <a:gd name="connsiteX322" fmla="*/ 422690 w 419100"/>
                  <a:gd name="connsiteY322" fmla="*/ 190339 h 228600"/>
                  <a:gd name="connsiteX323" fmla="*/ 415311 w 419100"/>
                  <a:gd name="connsiteY323" fmla="*/ 179271 h 228600"/>
                  <a:gd name="connsiteX324" fmla="*/ 400555 w 419100"/>
                  <a:gd name="connsiteY324" fmla="*/ 138666 h 228600"/>
                  <a:gd name="connsiteX325" fmla="*/ 393176 w 419100"/>
                  <a:gd name="connsiteY325" fmla="*/ 123912 h 228600"/>
                  <a:gd name="connsiteX326" fmla="*/ 393176 w 419100"/>
                  <a:gd name="connsiteY326" fmla="*/ 120216 h 228600"/>
                  <a:gd name="connsiteX327" fmla="*/ 396865 w 419100"/>
                  <a:gd name="connsiteY327" fmla="*/ 112835 h 228600"/>
                  <a:gd name="connsiteX328" fmla="*/ 400555 w 419100"/>
                  <a:gd name="connsiteY328" fmla="*/ 101766 h 228600"/>
                  <a:gd name="connsiteX329" fmla="*/ 404244 w 419100"/>
                  <a:gd name="connsiteY329" fmla="*/ 94384 h 228600"/>
                  <a:gd name="connsiteX330" fmla="*/ 404244 w 419100"/>
                  <a:gd name="connsiteY330" fmla="*/ 90689 h 228600"/>
                  <a:gd name="connsiteX331" fmla="*/ 400555 w 419100"/>
                  <a:gd name="connsiteY331" fmla="*/ 87003 h 228600"/>
                  <a:gd name="connsiteX332" fmla="*/ 400555 w 419100"/>
                  <a:gd name="connsiteY332" fmla="*/ 79621 h 228600"/>
                  <a:gd name="connsiteX333" fmla="*/ 385798 w 419100"/>
                  <a:gd name="connsiteY333" fmla="*/ 61171 h 228600"/>
                  <a:gd name="connsiteX334" fmla="*/ 382109 w 419100"/>
                  <a:gd name="connsiteY334" fmla="*/ 57475 h 228600"/>
                  <a:gd name="connsiteX335" fmla="*/ 382109 w 419100"/>
                  <a:gd name="connsiteY335" fmla="*/ 53789 h 228600"/>
                  <a:gd name="connsiteX336" fmla="*/ 382109 w 419100"/>
                  <a:gd name="connsiteY336" fmla="*/ 46407 h 228600"/>
                  <a:gd name="connsiteX337" fmla="*/ 382109 w 419100"/>
                  <a:gd name="connsiteY337" fmla="*/ 42711 h 228600"/>
                  <a:gd name="connsiteX338" fmla="*/ 385798 w 419100"/>
                  <a:gd name="connsiteY338" fmla="*/ 35339 h 228600"/>
                  <a:gd name="connsiteX339" fmla="*/ 389487 w 419100"/>
                  <a:gd name="connsiteY339" fmla="*/ 31643 h 228600"/>
                  <a:gd name="connsiteX340" fmla="*/ 393176 w 419100"/>
                  <a:gd name="connsiteY340" fmla="*/ 27957 h 228600"/>
                  <a:gd name="connsiteX341" fmla="*/ 404244 w 419100"/>
                  <a:gd name="connsiteY341" fmla="*/ 24261 h 228600"/>
                  <a:gd name="connsiteX342" fmla="*/ 400555 w 419100"/>
                  <a:gd name="connsiteY342" fmla="*/ 24261 h 228600"/>
                  <a:gd name="connsiteX343" fmla="*/ 393176 w 419100"/>
                  <a:gd name="connsiteY343" fmla="*/ 20575 h 228600"/>
                  <a:gd name="connsiteX344" fmla="*/ 385798 w 419100"/>
                  <a:gd name="connsiteY344" fmla="*/ 20575 h 228600"/>
                  <a:gd name="connsiteX345" fmla="*/ 382109 w 419100"/>
                  <a:gd name="connsiteY345" fmla="*/ 20575 h 228600"/>
                  <a:gd name="connsiteX346" fmla="*/ 378419 w 419100"/>
                  <a:gd name="connsiteY346" fmla="*/ 20575 h 228600"/>
                  <a:gd name="connsiteX347" fmla="*/ 371040 w 419100"/>
                  <a:gd name="connsiteY347" fmla="*/ 16880 h 228600"/>
                  <a:gd name="connsiteX348" fmla="*/ 359973 w 419100"/>
                  <a:gd name="connsiteY348" fmla="*/ 9498 h 228600"/>
                  <a:gd name="connsiteX349" fmla="*/ 356284 w 419100"/>
                  <a:gd name="connsiteY349" fmla="*/ 9498 h 228600"/>
                  <a:gd name="connsiteX350" fmla="*/ 345216 w 419100"/>
                  <a:gd name="connsiteY350" fmla="*/ 5812 h 228600"/>
                  <a:gd name="connsiteX351" fmla="*/ 134933 w 419100"/>
                  <a:gd name="connsiteY351" fmla="*/ 171890 h 228600"/>
                  <a:gd name="connsiteX352" fmla="*/ 138622 w 419100"/>
                  <a:gd name="connsiteY352" fmla="*/ 164508 h 228600"/>
                  <a:gd name="connsiteX353" fmla="*/ 134933 w 419100"/>
                  <a:gd name="connsiteY353" fmla="*/ 168194 h 228600"/>
                  <a:gd name="connsiteX354" fmla="*/ 134933 w 419100"/>
                  <a:gd name="connsiteY354" fmla="*/ 17189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Lst>
                <a:rect l="l" t="t" r="r" b="b"/>
                <a:pathLst>
                  <a:path w="419100" h="228600">
                    <a:moveTo>
                      <a:pt x="345216" y="5812"/>
                    </a:moveTo>
                    <a:lnTo>
                      <a:pt x="345216" y="9498"/>
                    </a:lnTo>
                    <a:lnTo>
                      <a:pt x="337838" y="16880"/>
                    </a:lnTo>
                    <a:lnTo>
                      <a:pt x="334149" y="16880"/>
                    </a:lnTo>
                    <a:lnTo>
                      <a:pt x="337838" y="24261"/>
                    </a:lnTo>
                    <a:lnTo>
                      <a:pt x="341527" y="24261"/>
                    </a:lnTo>
                    <a:lnTo>
                      <a:pt x="345216" y="31643"/>
                    </a:lnTo>
                    <a:lnTo>
                      <a:pt x="348905" y="39025"/>
                    </a:lnTo>
                    <a:lnTo>
                      <a:pt x="356284" y="39025"/>
                    </a:lnTo>
                    <a:lnTo>
                      <a:pt x="363662" y="39025"/>
                    </a:lnTo>
                    <a:lnTo>
                      <a:pt x="367351" y="39025"/>
                    </a:lnTo>
                    <a:lnTo>
                      <a:pt x="371040" y="39025"/>
                    </a:lnTo>
                    <a:lnTo>
                      <a:pt x="371040" y="35339"/>
                    </a:lnTo>
                    <a:lnTo>
                      <a:pt x="374730" y="35339"/>
                    </a:lnTo>
                    <a:lnTo>
                      <a:pt x="374730" y="39025"/>
                    </a:lnTo>
                    <a:lnTo>
                      <a:pt x="374730" y="42711"/>
                    </a:lnTo>
                    <a:lnTo>
                      <a:pt x="371040" y="46407"/>
                    </a:lnTo>
                    <a:lnTo>
                      <a:pt x="367351" y="46407"/>
                    </a:lnTo>
                    <a:lnTo>
                      <a:pt x="363662" y="46407"/>
                    </a:lnTo>
                    <a:lnTo>
                      <a:pt x="359973" y="46407"/>
                    </a:lnTo>
                    <a:lnTo>
                      <a:pt x="356284" y="46407"/>
                    </a:lnTo>
                    <a:lnTo>
                      <a:pt x="352594" y="46407"/>
                    </a:lnTo>
                    <a:lnTo>
                      <a:pt x="348905" y="50093"/>
                    </a:lnTo>
                    <a:lnTo>
                      <a:pt x="345216" y="50093"/>
                    </a:lnTo>
                    <a:lnTo>
                      <a:pt x="337838" y="42711"/>
                    </a:lnTo>
                    <a:lnTo>
                      <a:pt x="323081" y="39025"/>
                    </a:lnTo>
                    <a:lnTo>
                      <a:pt x="319392" y="39025"/>
                    </a:lnTo>
                    <a:lnTo>
                      <a:pt x="312014" y="42711"/>
                    </a:lnTo>
                    <a:lnTo>
                      <a:pt x="308325" y="46407"/>
                    </a:lnTo>
                    <a:lnTo>
                      <a:pt x="304635" y="46407"/>
                    </a:lnTo>
                    <a:lnTo>
                      <a:pt x="297257" y="50093"/>
                    </a:lnTo>
                    <a:lnTo>
                      <a:pt x="293568" y="53789"/>
                    </a:lnTo>
                    <a:lnTo>
                      <a:pt x="289879" y="50093"/>
                    </a:lnTo>
                    <a:lnTo>
                      <a:pt x="282500" y="53789"/>
                    </a:lnTo>
                    <a:lnTo>
                      <a:pt x="278811" y="57475"/>
                    </a:lnTo>
                    <a:lnTo>
                      <a:pt x="278811" y="64857"/>
                    </a:lnTo>
                    <a:lnTo>
                      <a:pt x="282500" y="64857"/>
                    </a:lnTo>
                    <a:lnTo>
                      <a:pt x="282500" y="68553"/>
                    </a:lnTo>
                    <a:lnTo>
                      <a:pt x="286190" y="68553"/>
                    </a:lnTo>
                    <a:lnTo>
                      <a:pt x="289879" y="68553"/>
                    </a:lnTo>
                    <a:lnTo>
                      <a:pt x="293568" y="72239"/>
                    </a:lnTo>
                    <a:lnTo>
                      <a:pt x="297257" y="75935"/>
                    </a:lnTo>
                    <a:lnTo>
                      <a:pt x="300946" y="75935"/>
                    </a:lnTo>
                    <a:lnTo>
                      <a:pt x="300946" y="79621"/>
                    </a:lnTo>
                    <a:lnTo>
                      <a:pt x="300946" y="83317"/>
                    </a:lnTo>
                    <a:lnTo>
                      <a:pt x="304635" y="87003"/>
                    </a:lnTo>
                    <a:lnTo>
                      <a:pt x="308325" y="87003"/>
                    </a:lnTo>
                    <a:lnTo>
                      <a:pt x="312014" y="90689"/>
                    </a:lnTo>
                    <a:lnTo>
                      <a:pt x="315703" y="94384"/>
                    </a:lnTo>
                    <a:lnTo>
                      <a:pt x="315703" y="101766"/>
                    </a:lnTo>
                    <a:lnTo>
                      <a:pt x="319392" y="105453"/>
                    </a:lnTo>
                    <a:lnTo>
                      <a:pt x="323081" y="105453"/>
                    </a:lnTo>
                    <a:lnTo>
                      <a:pt x="323081" y="109148"/>
                    </a:lnTo>
                    <a:lnTo>
                      <a:pt x="326770" y="109148"/>
                    </a:lnTo>
                    <a:lnTo>
                      <a:pt x="330460" y="109148"/>
                    </a:lnTo>
                    <a:lnTo>
                      <a:pt x="345216" y="109148"/>
                    </a:lnTo>
                    <a:lnTo>
                      <a:pt x="348905" y="109148"/>
                    </a:lnTo>
                    <a:lnTo>
                      <a:pt x="352594" y="109148"/>
                    </a:lnTo>
                    <a:lnTo>
                      <a:pt x="356284" y="112835"/>
                    </a:lnTo>
                    <a:lnTo>
                      <a:pt x="359973" y="112835"/>
                    </a:lnTo>
                    <a:lnTo>
                      <a:pt x="359973" y="109148"/>
                    </a:lnTo>
                    <a:lnTo>
                      <a:pt x="367351" y="112835"/>
                    </a:lnTo>
                    <a:lnTo>
                      <a:pt x="374730" y="116530"/>
                    </a:lnTo>
                    <a:lnTo>
                      <a:pt x="371040" y="120216"/>
                    </a:lnTo>
                    <a:lnTo>
                      <a:pt x="371040" y="123912"/>
                    </a:lnTo>
                    <a:lnTo>
                      <a:pt x="371040" y="127598"/>
                    </a:lnTo>
                    <a:lnTo>
                      <a:pt x="374730" y="127598"/>
                    </a:lnTo>
                    <a:lnTo>
                      <a:pt x="389487" y="134980"/>
                    </a:lnTo>
                    <a:lnTo>
                      <a:pt x="393176" y="138666"/>
                    </a:lnTo>
                    <a:lnTo>
                      <a:pt x="393176" y="160812"/>
                    </a:lnTo>
                    <a:lnTo>
                      <a:pt x="393176" y="164508"/>
                    </a:lnTo>
                    <a:lnTo>
                      <a:pt x="396865" y="179271"/>
                    </a:lnTo>
                    <a:lnTo>
                      <a:pt x="393176" y="179271"/>
                    </a:lnTo>
                    <a:lnTo>
                      <a:pt x="389487" y="179271"/>
                    </a:lnTo>
                    <a:lnTo>
                      <a:pt x="385798" y="179271"/>
                    </a:lnTo>
                    <a:lnTo>
                      <a:pt x="382109" y="175576"/>
                    </a:lnTo>
                    <a:lnTo>
                      <a:pt x="378419" y="175576"/>
                    </a:lnTo>
                    <a:lnTo>
                      <a:pt x="374730" y="175576"/>
                    </a:lnTo>
                    <a:lnTo>
                      <a:pt x="371040" y="175576"/>
                    </a:lnTo>
                    <a:lnTo>
                      <a:pt x="367351" y="179271"/>
                    </a:lnTo>
                    <a:lnTo>
                      <a:pt x="363662" y="179271"/>
                    </a:lnTo>
                    <a:lnTo>
                      <a:pt x="359973" y="182958"/>
                    </a:lnTo>
                    <a:lnTo>
                      <a:pt x="356284" y="182958"/>
                    </a:lnTo>
                    <a:lnTo>
                      <a:pt x="352594" y="182958"/>
                    </a:lnTo>
                    <a:lnTo>
                      <a:pt x="348905" y="182958"/>
                    </a:lnTo>
                    <a:lnTo>
                      <a:pt x="348905" y="179271"/>
                    </a:lnTo>
                    <a:lnTo>
                      <a:pt x="345216" y="179271"/>
                    </a:lnTo>
                    <a:lnTo>
                      <a:pt x="334149" y="171890"/>
                    </a:lnTo>
                    <a:lnTo>
                      <a:pt x="330460" y="171890"/>
                    </a:lnTo>
                    <a:lnTo>
                      <a:pt x="326770" y="160812"/>
                    </a:lnTo>
                    <a:lnTo>
                      <a:pt x="323081" y="160812"/>
                    </a:lnTo>
                    <a:lnTo>
                      <a:pt x="315703" y="149744"/>
                    </a:lnTo>
                    <a:lnTo>
                      <a:pt x="315703" y="146048"/>
                    </a:lnTo>
                    <a:lnTo>
                      <a:pt x="312014" y="142362"/>
                    </a:lnTo>
                    <a:lnTo>
                      <a:pt x="315703" y="138666"/>
                    </a:lnTo>
                    <a:lnTo>
                      <a:pt x="312014" y="134980"/>
                    </a:lnTo>
                    <a:lnTo>
                      <a:pt x="312014" y="131294"/>
                    </a:lnTo>
                    <a:lnTo>
                      <a:pt x="312014" y="127598"/>
                    </a:lnTo>
                    <a:lnTo>
                      <a:pt x="308325" y="127598"/>
                    </a:lnTo>
                    <a:lnTo>
                      <a:pt x="304635" y="123912"/>
                    </a:lnTo>
                    <a:lnTo>
                      <a:pt x="297257" y="116530"/>
                    </a:lnTo>
                    <a:lnTo>
                      <a:pt x="293568" y="112835"/>
                    </a:lnTo>
                    <a:lnTo>
                      <a:pt x="289879" y="112835"/>
                    </a:lnTo>
                    <a:lnTo>
                      <a:pt x="286190" y="112835"/>
                    </a:lnTo>
                    <a:lnTo>
                      <a:pt x="282500" y="109148"/>
                    </a:lnTo>
                    <a:lnTo>
                      <a:pt x="278811" y="109148"/>
                    </a:lnTo>
                    <a:lnTo>
                      <a:pt x="271433" y="105453"/>
                    </a:lnTo>
                    <a:lnTo>
                      <a:pt x="267744" y="105453"/>
                    </a:lnTo>
                    <a:lnTo>
                      <a:pt x="264055" y="101766"/>
                    </a:lnTo>
                    <a:lnTo>
                      <a:pt x="260365" y="105453"/>
                    </a:lnTo>
                    <a:lnTo>
                      <a:pt x="256676" y="105453"/>
                    </a:lnTo>
                    <a:lnTo>
                      <a:pt x="256676" y="109148"/>
                    </a:lnTo>
                    <a:lnTo>
                      <a:pt x="249298" y="98071"/>
                    </a:lnTo>
                    <a:lnTo>
                      <a:pt x="252987" y="98071"/>
                    </a:lnTo>
                    <a:lnTo>
                      <a:pt x="249298" y="94384"/>
                    </a:lnTo>
                    <a:lnTo>
                      <a:pt x="249298" y="90689"/>
                    </a:lnTo>
                    <a:lnTo>
                      <a:pt x="245609" y="90689"/>
                    </a:lnTo>
                    <a:lnTo>
                      <a:pt x="241920" y="90689"/>
                    </a:lnTo>
                    <a:lnTo>
                      <a:pt x="238231" y="90689"/>
                    </a:lnTo>
                    <a:lnTo>
                      <a:pt x="234541" y="94384"/>
                    </a:lnTo>
                    <a:lnTo>
                      <a:pt x="230852" y="94384"/>
                    </a:lnTo>
                    <a:lnTo>
                      <a:pt x="227162" y="94384"/>
                    </a:lnTo>
                    <a:lnTo>
                      <a:pt x="219784" y="94384"/>
                    </a:lnTo>
                    <a:lnTo>
                      <a:pt x="216095" y="94384"/>
                    </a:lnTo>
                    <a:lnTo>
                      <a:pt x="212405" y="94384"/>
                    </a:lnTo>
                    <a:lnTo>
                      <a:pt x="208716" y="94384"/>
                    </a:lnTo>
                    <a:lnTo>
                      <a:pt x="208716" y="90689"/>
                    </a:lnTo>
                    <a:lnTo>
                      <a:pt x="205027" y="87003"/>
                    </a:lnTo>
                    <a:lnTo>
                      <a:pt x="197649" y="87003"/>
                    </a:lnTo>
                    <a:lnTo>
                      <a:pt x="190270" y="90689"/>
                    </a:lnTo>
                    <a:lnTo>
                      <a:pt x="186581" y="90689"/>
                    </a:lnTo>
                    <a:lnTo>
                      <a:pt x="182892" y="94384"/>
                    </a:lnTo>
                    <a:lnTo>
                      <a:pt x="171825" y="90689"/>
                    </a:lnTo>
                    <a:lnTo>
                      <a:pt x="168136" y="90689"/>
                    </a:lnTo>
                    <a:lnTo>
                      <a:pt x="164446" y="87003"/>
                    </a:lnTo>
                    <a:lnTo>
                      <a:pt x="160757" y="90689"/>
                    </a:lnTo>
                    <a:lnTo>
                      <a:pt x="153379" y="94384"/>
                    </a:lnTo>
                    <a:lnTo>
                      <a:pt x="153379" y="98071"/>
                    </a:lnTo>
                    <a:lnTo>
                      <a:pt x="149690" y="101766"/>
                    </a:lnTo>
                    <a:lnTo>
                      <a:pt x="149690" y="105453"/>
                    </a:lnTo>
                    <a:lnTo>
                      <a:pt x="146001" y="109148"/>
                    </a:lnTo>
                    <a:lnTo>
                      <a:pt x="142311" y="109148"/>
                    </a:lnTo>
                    <a:lnTo>
                      <a:pt x="138622" y="112835"/>
                    </a:lnTo>
                    <a:lnTo>
                      <a:pt x="142311" y="112835"/>
                    </a:lnTo>
                    <a:lnTo>
                      <a:pt x="146001" y="112835"/>
                    </a:lnTo>
                    <a:lnTo>
                      <a:pt x="138622" y="116530"/>
                    </a:lnTo>
                    <a:lnTo>
                      <a:pt x="138622" y="112835"/>
                    </a:lnTo>
                    <a:lnTo>
                      <a:pt x="131244" y="105453"/>
                    </a:lnTo>
                    <a:lnTo>
                      <a:pt x="127555" y="101766"/>
                    </a:lnTo>
                    <a:lnTo>
                      <a:pt x="127555" y="98071"/>
                    </a:lnTo>
                    <a:lnTo>
                      <a:pt x="123866" y="87003"/>
                    </a:lnTo>
                    <a:lnTo>
                      <a:pt x="123866" y="83317"/>
                    </a:lnTo>
                    <a:lnTo>
                      <a:pt x="120176" y="83317"/>
                    </a:lnTo>
                    <a:lnTo>
                      <a:pt x="116487" y="79621"/>
                    </a:lnTo>
                    <a:lnTo>
                      <a:pt x="109109" y="75935"/>
                    </a:lnTo>
                    <a:lnTo>
                      <a:pt x="105420" y="72239"/>
                    </a:lnTo>
                    <a:lnTo>
                      <a:pt x="101731" y="68553"/>
                    </a:lnTo>
                    <a:lnTo>
                      <a:pt x="101731" y="64857"/>
                    </a:lnTo>
                    <a:lnTo>
                      <a:pt x="101731" y="57475"/>
                    </a:lnTo>
                    <a:lnTo>
                      <a:pt x="105420" y="53789"/>
                    </a:lnTo>
                    <a:lnTo>
                      <a:pt x="101731" y="53789"/>
                    </a:lnTo>
                    <a:lnTo>
                      <a:pt x="98041" y="53789"/>
                    </a:lnTo>
                    <a:lnTo>
                      <a:pt x="94352" y="50093"/>
                    </a:lnTo>
                    <a:lnTo>
                      <a:pt x="83284" y="50093"/>
                    </a:lnTo>
                    <a:lnTo>
                      <a:pt x="79595" y="50093"/>
                    </a:lnTo>
                    <a:lnTo>
                      <a:pt x="75906" y="50093"/>
                    </a:lnTo>
                    <a:lnTo>
                      <a:pt x="68527" y="50093"/>
                    </a:lnTo>
                    <a:lnTo>
                      <a:pt x="68527" y="53789"/>
                    </a:lnTo>
                    <a:lnTo>
                      <a:pt x="64838" y="53789"/>
                    </a:lnTo>
                    <a:lnTo>
                      <a:pt x="61149" y="53789"/>
                    </a:lnTo>
                    <a:lnTo>
                      <a:pt x="57460" y="57475"/>
                    </a:lnTo>
                    <a:lnTo>
                      <a:pt x="50081" y="61171"/>
                    </a:lnTo>
                    <a:lnTo>
                      <a:pt x="46393" y="64857"/>
                    </a:lnTo>
                    <a:lnTo>
                      <a:pt x="39014" y="68553"/>
                    </a:lnTo>
                    <a:lnTo>
                      <a:pt x="35325" y="68553"/>
                    </a:lnTo>
                    <a:lnTo>
                      <a:pt x="31636" y="72239"/>
                    </a:lnTo>
                    <a:lnTo>
                      <a:pt x="27947" y="75935"/>
                    </a:lnTo>
                    <a:lnTo>
                      <a:pt x="20568" y="79621"/>
                    </a:lnTo>
                    <a:lnTo>
                      <a:pt x="16879" y="83317"/>
                    </a:lnTo>
                    <a:lnTo>
                      <a:pt x="13190" y="83317"/>
                    </a:lnTo>
                    <a:lnTo>
                      <a:pt x="9501" y="87003"/>
                    </a:lnTo>
                    <a:lnTo>
                      <a:pt x="5812" y="90689"/>
                    </a:lnTo>
                    <a:lnTo>
                      <a:pt x="5812" y="94384"/>
                    </a:lnTo>
                    <a:lnTo>
                      <a:pt x="5812" y="98071"/>
                    </a:lnTo>
                    <a:lnTo>
                      <a:pt x="5812" y="101766"/>
                    </a:lnTo>
                    <a:lnTo>
                      <a:pt x="9501" y="109148"/>
                    </a:lnTo>
                    <a:lnTo>
                      <a:pt x="13190" y="109148"/>
                    </a:lnTo>
                    <a:lnTo>
                      <a:pt x="16879" y="112835"/>
                    </a:lnTo>
                    <a:lnTo>
                      <a:pt x="20568" y="116530"/>
                    </a:lnTo>
                    <a:lnTo>
                      <a:pt x="27947" y="120216"/>
                    </a:lnTo>
                    <a:lnTo>
                      <a:pt x="27947" y="123912"/>
                    </a:lnTo>
                    <a:lnTo>
                      <a:pt x="31636" y="123912"/>
                    </a:lnTo>
                    <a:lnTo>
                      <a:pt x="35325" y="127598"/>
                    </a:lnTo>
                    <a:lnTo>
                      <a:pt x="39014" y="131294"/>
                    </a:lnTo>
                    <a:lnTo>
                      <a:pt x="39014" y="134980"/>
                    </a:lnTo>
                    <a:lnTo>
                      <a:pt x="42703" y="138666"/>
                    </a:lnTo>
                    <a:lnTo>
                      <a:pt x="42703" y="142362"/>
                    </a:lnTo>
                    <a:lnTo>
                      <a:pt x="46393" y="146048"/>
                    </a:lnTo>
                    <a:lnTo>
                      <a:pt x="46393" y="149744"/>
                    </a:lnTo>
                    <a:lnTo>
                      <a:pt x="50081" y="153430"/>
                    </a:lnTo>
                    <a:lnTo>
                      <a:pt x="53771" y="157126"/>
                    </a:lnTo>
                    <a:lnTo>
                      <a:pt x="61149" y="160812"/>
                    </a:lnTo>
                    <a:lnTo>
                      <a:pt x="61149" y="164508"/>
                    </a:lnTo>
                    <a:lnTo>
                      <a:pt x="64838" y="164508"/>
                    </a:lnTo>
                    <a:lnTo>
                      <a:pt x="68527" y="168194"/>
                    </a:lnTo>
                    <a:lnTo>
                      <a:pt x="68527" y="171890"/>
                    </a:lnTo>
                    <a:lnTo>
                      <a:pt x="72216" y="171890"/>
                    </a:lnTo>
                    <a:lnTo>
                      <a:pt x="79595" y="171890"/>
                    </a:lnTo>
                    <a:lnTo>
                      <a:pt x="83284" y="171890"/>
                    </a:lnTo>
                    <a:lnTo>
                      <a:pt x="83284" y="168194"/>
                    </a:lnTo>
                    <a:lnTo>
                      <a:pt x="83284" y="160812"/>
                    </a:lnTo>
                    <a:lnTo>
                      <a:pt x="86974" y="160812"/>
                    </a:lnTo>
                    <a:lnTo>
                      <a:pt x="86974" y="168194"/>
                    </a:lnTo>
                    <a:lnTo>
                      <a:pt x="90663" y="171890"/>
                    </a:lnTo>
                    <a:lnTo>
                      <a:pt x="94352" y="171890"/>
                    </a:lnTo>
                    <a:lnTo>
                      <a:pt x="101731" y="171890"/>
                    </a:lnTo>
                    <a:lnTo>
                      <a:pt x="105420" y="168194"/>
                    </a:lnTo>
                    <a:lnTo>
                      <a:pt x="105420" y="164508"/>
                    </a:lnTo>
                    <a:lnTo>
                      <a:pt x="109109" y="164508"/>
                    </a:lnTo>
                    <a:lnTo>
                      <a:pt x="116487" y="164508"/>
                    </a:lnTo>
                    <a:lnTo>
                      <a:pt x="120176" y="164508"/>
                    </a:lnTo>
                    <a:lnTo>
                      <a:pt x="112798" y="160812"/>
                    </a:lnTo>
                    <a:lnTo>
                      <a:pt x="116487" y="157126"/>
                    </a:lnTo>
                    <a:lnTo>
                      <a:pt x="123866" y="153430"/>
                    </a:lnTo>
                    <a:lnTo>
                      <a:pt x="127555" y="153430"/>
                    </a:lnTo>
                    <a:lnTo>
                      <a:pt x="127555" y="157126"/>
                    </a:lnTo>
                    <a:lnTo>
                      <a:pt x="138622" y="149744"/>
                    </a:lnTo>
                    <a:lnTo>
                      <a:pt x="138622" y="146048"/>
                    </a:lnTo>
                    <a:lnTo>
                      <a:pt x="138622" y="142362"/>
                    </a:lnTo>
                    <a:lnTo>
                      <a:pt x="142311" y="146048"/>
                    </a:lnTo>
                    <a:lnTo>
                      <a:pt x="142311" y="149744"/>
                    </a:lnTo>
                    <a:lnTo>
                      <a:pt x="146001" y="149744"/>
                    </a:lnTo>
                    <a:lnTo>
                      <a:pt x="142311" y="153430"/>
                    </a:lnTo>
                    <a:lnTo>
                      <a:pt x="142311" y="160812"/>
                    </a:lnTo>
                    <a:lnTo>
                      <a:pt x="146001" y="160812"/>
                    </a:lnTo>
                    <a:lnTo>
                      <a:pt x="142311" y="164508"/>
                    </a:lnTo>
                    <a:lnTo>
                      <a:pt x="146001" y="168194"/>
                    </a:lnTo>
                    <a:lnTo>
                      <a:pt x="146001" y="171890"/>
                    </a:lnTo>
                    <a:lnTo>
                      <a:pt x="142311" y="168194"/>
                    </a:lnTo>
                    <a:lnTo>
                      <a:pt x="138622" y="171890"/>
                    </a:lnTo>
                    <a:lnTo>
                      <a:pt x="134933" y="171890"/>
                    </a:lnTo>
                    <a:lnTo>
                      <a:pt x="138622" y="175576"/>
                    </a:lnTo>
                    <a:lnTo>
                      <a:pt x="142311" y="179271"/>
                    </a:lnTo>
                    <a:lnTo>
                      <a:pt x="142311" y="182958"/>
                    </a:lnTo>
                    <a:lnTo>
                      <a:pt x="146001" y="182958"/>
                    </a:lnTo>
                    <a:lnTo>
                      <a:pt x="146001" y="190339"/>
                    </a:lnTo>
                    <a:lnTo>
                      <a:pt x="146001" y="194026"/>
                    </a:lnTo>
                    <a:lnTo>
                      <a:pt x="149690" y="194026"/>
                    </a:lnTo>
                    <a:lnTo>
                      <a:pt x="153379" y="197721"/>
                    </a:lnTo>
                    <a:lnTo>
                      <a:pt x="157068" y="197721"/>
                    </a:lnTo>
                    <a:lnTo>
                      <a:pt x="157068" y="194026"/>
                    </a:lnTo>
                    <a:lnTo>
                      <a:pt x="160757" y="194026"/>
                    </a:lnTo>
                    <a:lnTo>
                      <a:pt x="168136" y="197721"/>
                    </a:lnTo>
                    <a:lnTo>
                      <a:pt x="171825" y="197721"/>
                    </a:lnTo>
                    <a:lnTo>
                      <a:pt x="171825" y="201407"/>
                    </a:lnTo>
                    <a:lnTo>
                      <a:pt x="179203" y="205103"/>
                    </a:lnTo>
                    <a:lnTo>
                      <a:pt x="179203" y="208789"/>
                    </a:lnTo>
                    <a:lnTo>
                      <a:pt x="182892" y="208789"/>
                    </a:lnTo>
                    <a:lnTo>
                      <a:pt x="190270" y="216171"/>
                    </a:lnTo>
                    <a:lnTo>
                      <a:pt x="193960" y="216171"/>
                    </a:lnTo>
                    <a:lnTo>
                      <a:pt x="201338" y="216171"/>
                    </a:lnTo>
                    <a:lnTo>
                      <a:pt x="208716" y="212485"/>
                    </a:lnTo>
                    <a:lnTo>
                      <a:pt x="212405" y="212485"/>
                    </a:lnTo>
                    <a:lnTo>
                      <a:pt x="216095" y="208789"/>
                    </a:lnTo>
                    <a:lnTo>
                      <a:pt x="223473" y="208789"/>
                    </a:lnTo>
                    <a:lnTo>
                      <a:pt x="227162" y="208789"/>
                    </a:lnTo>
                    <a:lnTo>
                      <a:pt x="230852" y="212485"/>
                    </a:lnTo>
                    <a:lnTo>
                      <a:pt x="234541" y="208789"/>
                    </a:lnTo>
                    <a:lnTo>
                      <a:pt x="238231" y="194026"/>
                    </a:lnTo>
                    <a:lnTo>
                      <a:pt x="241920" y="194026"/>
                    </a:lnTo>
                    <a:lnTo>
                      <a:pt x="241920" y="190339"/>
                    </a:lnTo>
                    <a:lnTo>
                      <a:pt x="241920" y="186644"/>
                    </a:lnTo>
                    <a:lnTo>
                      <a:pt x="245609" y="186644"/>
                    </a:lnTo>
                    <a:lnTo>
                      <a:pt x="245609" y="179271"/>
                    </a:lnTo>
                    <a:lnTo>
                      <a:pt x="245609" y="175576"/>
                    </a:lnTo>
                    <a:lnTo>
                      <a:pt x="245609" y="171890"/>
                    </a:lnTo>
                    <a:lnTo>
                      <a:pt x="245609" y="168194"/>
                    </a:lnTo>
                    <a:lnTo>
                      <a:pt x="245609" y="164508"/>
                    </a:lnTo>
                    <a:lnTo>
                      <a:pt x="252987" y="168194"/>
                    </a:lnTo>
                    <a:lnTo>
                      <a:pt x="260365" y="164508"/>
                    </a:lnTo>
                    <a:lnTo>
                      <a:pt x="264055" y="164508"/>
                    </a:lnTo>
                    <a:lnTo>
                      <a:pt x="271433" y="157126"/>
                    </a:lnTo>
                    <a:lnTo>
                      <a:pt x="275122" y="160812"/>
                    </a:lnTo>
                    <a:lnTo>
                      <a:pt x="278811" y="164508"/>
                    </a:lnTo>
                    <a:lnTo>
                      <a:pt x="282500" y="168194"/>
                    </a:lnTo>
                    <a:lnTo>
                      <a:pt x="282500" y="171890"/>
                    </a:lnTo>
                    <a:lnTo>
                      <a:pt x="286190" y="171890"/>
                    </a:lnTo>
                    <a:lnTo>
                      <a:pt x="286190" y="175576"/>
                    </a:lnTo>
                    <a:lnTo>
                      <a:pt x="289879" y="175576"/>
                    </a:lnTo>
                    <a:lnTo>
                      <a:pt x="293568" y="175576"/>
                    </a:lnTo>
                    <a:lnTo>
                      <a:pt x="297257" y="179271"/>
                    </a:lnTo>
                    <a:lnTo>
                      <a:pt x="300946" y="182958"/>
                    </a:lnTo>
                    <a:lnTo>
                      <a:pt x="308325" y="182958"/>
                    </a:lnTo>
                    <a:lnTo>
                      <a:pt x="308325" y="186644"/>
                    </a:lnTo>
                    <a:lnTo>
                      <a:pt x="308325" y="194026"/>
                    </a:lnTo>
                    <a:lnTo>
                      <a:pt x="315703" y="197721"/>
                    </a:lnTo>
                    <a:lnTo>
                      <a:pt x="319392" y="197721"/>
                    </a:lnTo>
                    <a:lnTo>
                      <a:pt x="323081" y="201407"/>
                    </a:lnTo>
                    <a:lnTo>
                      <a:pt x="326770" y="201407"/>
                    </a:lnTo>
                    <a:lnTo>
                      <a:pt x="334149" y="205103"/>
                    </a:lnTo>
                    <a:lnTo>
                      <a:pt x="341527" y="208789"/>
                    </a:lnTo>
                    <a:lnTo>
                      <a:pt x="348905" y="208789"/>
                    </a:lnTo>
                    <a:lnTo>
                      <a:pt x="352594" y="212485"/>
                    </a:lnTo>
                    <a:lnTo>
                      <a:pt x="359973" y="212485"/>
                    </a:lnTo>
                    <a:lnTo>
                      <a:pt x="371040" y="208789"/>
                    </a:lnTo>
                    <a:lnTo>
                      <a:pt x="378419" y="205103"/>
                    </a:lnTo>
                    <a:lnTo>
                      <a:pt x="382109" y="205103"/>
                    </a:lnTo>
                    <a:lnTo>
                      <a:pt x="385798" y="205103"/>
                    </a:lnTo>
                    <a:lnTo>
                      <a:pt x="385798" y="208789"/>
                    </a:lnTo>
                    <a:lnTo>
                      <a:pt x="389487" y="208789"/>
                    </a:lnTo>
                    <a:lnTo>
                      <a:pt x="393176" y="208789"/>
                    </a:lnTo>
                    <a:lnTo>
                      <a:pt x="400555" y="212485"/>
                    </a:lnTo>
                    <a:lnTo>
                      <a:pt x="404244" y="223553"/>
                    </a:lnTo>
                    <a:lnTo>
                      <a:pt x="404244" y="230935"/>
                    </a:lnTo>
                    <a:lnTo>
                      <a:pt x="415311" y="230935"/>
                    </a:lnTo>
                    <a:lnTo>
                      <a:pt x="422690" y="227249"/>
                    </a:lnTo>
                    <a:lnTo>
                      <a:pt x="419000" y="223553"/>
                    </a:lnTo>
                    <a:lnTo>
                      <a:pt x="415311" y="223553"/>
                    </a:lnTo>
                    <a:lnTo>
                      <a:pt x="415311" y="219867"/>
                    </a:lnTo>
                    <a:lnTo>
                      <a:pt x="419000" y="208789"/>
                    </a:lnTo>
                    <a:lnTo>
                      <a:pt x="415311" y="197721"/>
                    </a:lnTo>
                    <a:lnTo>
                      <a:pt x="415311" y="194026"/>
                    </a:lnTo>
                    <a:lnTo>
                      <a:pt x="422690" y="190339"/>
                    </a:lnTo>
                    <a:lnTo>
                      <a:pt x="415311" y="179271"/>
                    </a:lnTo>
                    <a:lnTo>
                      <a:pt x="400555" y="138666"/>
                    </a:lnTo>
                    <a:lnTo>
                      <a:pt x="393176" y="123912"/>
                    </a:lnTo>
                    <a:lnTo>
                      <a:pt x="393176" y="120216"/>
                    </a:lnTo>
                    <a:lnTo>
                      <a:pt x="396865" y="112835"/>
                    </a:lnTo>
                    <a:lnTo>
                      <a:pt x="400555" y="101766"/>
                    </a:lnTo>
                    <a:lnTo>
                      <a:pt x="404244" y="94384"/>
                    </a:lnTo>
                    <a:lnTo>
                      <a:pt x="404244" y="90689"/>
                    </a:lnTo>
                    <a:lnTo>
                      <a:pt x="400555" y="87003"/>
                    </a:lnTo>
                    <a:lnTo>
                      <a:pt x="400555" y="79621"/>
                    </a:lnTo>
                    <a:lnTo>
                      <a:pt x="385798" y="61171"/>
                    </a:lnTo>
                    <a:lnTo>
                      <a:pt x="382109" y="57475"/>
                    </a:lnTo>
                    <a:lnTo>
                      <a:pt x="382109" y="53789"/>
                    </a:lnTo>
                    <a:lnTo>
                      <a:pt x="382109" y="46407"/>
                    </a:lnTo>
                    <a:lnTo>
                      <a:pt x="382109" y="42711"/>
                    </a:lnTo>
                    <a:lnTo>
                      <a:pt x="385798" y="35339"/>
                    </a:lnTo>
                    <a:lnTo>
                      <a:pt x="389487" y="31643"/>
                    </a:lnTo>
                    <a:lnTo>
                      <a:pt x="393176" y="27957"/>
                    </a:lnTo>
                    <a:lnTo>
                      <a:pt x="404244" y="24261"/>
                    </a:lnTo>
                    <a:lnTo>
                      <a:pt x="400555" y="24261"/>
                    </a:lnTo>
                    <a:lnTo>
                      <a:pt x="393176" y="20575"/>
                    </a:lnTo>
                    <a:lnTo>
                      <a:pt x="385798" y="20575"/>
                    </a:lnTo>
                    <a:lnTo>
                      <a:pt x="382109" y="20575"/>
                    </a:lnTo>
                    <a:lnTo>
                      <a:pt x="378419" y="20575"/>
                    </a:lnTo>
                    <a:lnTo>
                      <a:pt x="371040" y="16880"/>
                    </a:lnTo>
                    <a:lnTo>
                      <a:pt x="359973" y="9498"/>
                    </a:lnTo>
                    <a:lnTo>
                      <a:pt x="356284" y="9498"/>
                    </a:lnTo>
                    <a:lnTo>
                      <a:pt x="345216" y="5812"/>
                    </a:lnTo>
                    <a:close/>
                    <a:moveTo>
                      <a:pt x="134933" y="171890"/>
                    </a:moveTo>
                    <a:lnTo>
                      <a:pt x="138622" y="164508"/>
                    </a:lnTo>
                    <a:lnTo>
                      <a:pt x="134933" y="168194"/>
                    </a:lnTo>
                    <a:lnTo>
                      <a:pt x="134933" y="171890"/>
                    </a:lnTo>
                    <a:close/>
                  </a:path>
                </a:pathLst>
              </a:custGeom>
              <a:solidFill>
                <a:srgbClr val="EC6224">
                  <a:alpha val="60000"/>
                </a:srgbClr>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56" name="Freeform: Shape 55">
                <a:extLst>
                  <a:ext uri="{FF2B5EF4-FFF2-40B4-BE49-F238E27FC236}">
                    <a16:creationId xmlns:a16="http://schemas.microsoft.com/office/drawing/2014/main" id="{F669DB9F-769D-4193-824C-D107BDCCD733}"/>
                  </a:ext>
                </a:extLst>
              </p:cNvPr>
              <p:cNvSpPr/>
              <p:nvPr/>
            </p:nvSpPr>
            <p:spPr>
              <a:xfrm>
                <a:off x="1949468" y="5022874"/>
                <a:ext cx="43320" cy="43320"/>
              </a:xfrm>
              <a:custGeom>
                <a:avLst/>
                <a:gdLst>
                  <a:gd name="connsiteX0" fmla="*/ 13190 w 19050"/>
                  <a:gd name="connsiteY0" fmla="*/ 5812 h 19050"/>
                  <a:gd name="connsiteX1" fmla="*/ 13190 w 19050"/>
                  <a:gd name="connsiteY1" fmla="*/ 9507 h 19050"/>
                  <a:gd name="connsiteX2" fmla="*/ 16879 w 19050"/>
                  <a:gd name="connsiteY2" fmla="*/ 9507 h 19050"/>
                  <a:gd name="connsiteX3" fmla="*/ 16879 w 19050"/>
                  <a:gd name="connsiteY3" fmla="*/ 13193 h 19050"/>
                  <a:gd name="connsiteX4" fmla="*/ 13190 w 19050"/>
                  <a:gd name="connsiteY4" fmla="*/ 13193 h 19050"/>
                  <a:gd name="connsiteX5" fmla="*/ 13190 w 19050"/>
                  <a:gd name="connsiteY5" fmla="*/ 16889 h 19050"/>
                  <a:gd name="connsiteX6" fmla="*/ 16879 w 19050"/>
                  <a:gd name="connsiteY6" fmla="*/ 16889 h 19050"/>
                  <a:gd name="connsiteX7" fmla="*/ 13190 w 19050"/>
                  <a:gd name="connsiteY7" fmla="*/ 16889 h 19050"/>
                  <a:gd name="connsiteX8" fmla="*/ 9501 w 19050"/>
                  <a:gd name="connsiteY8" fmla="*/ 16889 h 19050"/>
                  <a:gd name="connsiteX9" fmla="*/ 5812 w 19050"/>
                  <a:gd name="connsiteY9" fmla="*/ 13193 h 19050"/>
                  <a:gd name="connsiteX10" fmla="*/ 5812 w 19050"/>
                  <a:gd name="connsiteY10" fmla="*/ 9507 h 19050"/>
                  <a:gd name="connsiteX11" fmla="*/ 5812 w 19050"/>
                  <a:gd name="connsiteY11" fmla="*/ 5812 h 19050"/>
                  <a:gd name="connsiteX12" fmla="*/ 5812 w 19050"/>
                  <a:gd name="connsiteY12" fmla="*/ 5812 h 19050"/>
                  <a:gd name="connsiteX13" fmla="*/ 5812 w 19050"/>
                  <a:gd name="connsiteY13" fmla="*/ 5812 h 19050"/>
                  <a:gd name="connsiteX14" fmla="*/ 9501 w 19050"/>
                  <a:gd name="connsiteY14" fmla="*/ 5812 h 19050"/>
                  <a:gd name="connsiteX15" fmla="*/ 13190 w 19050"/>
                  <a:gd name="connsiteY15"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050" h="19050">
                    <a:moveTo>
                      <a:pt x="13190" y="5812"/>
                    </a:moveTo>
                    <a:lnTo>
                      <a:pt x="13190" y="9507"/>
                    </a:lnTo>
                    <a:lnTo>
                      <a:pt x="16879" y="9507"/>
                    </a:lnTo>
                    <a:lnTo>
                      <a:pt x="16879" y="13193"/>
                    </a:lnTo>
                    <a:lnTo>
                      <a:pt x="13190" y="13193"/>
                    </a:lnTo>
                    <a:lnTo>
                      <a:pt x="13190" y="16889"/>
                    </a:lnTo>
                    <a:lnTo>
                      <a:pt x="16879" y="16889"/>
                    </a:lnTo>
                    <a:lnTo>
                      <a:pt x="13190" y="16889"/>
                    </a:lnTo>
                    <a:lnTo>
                      <a:pt x="9501" y="16889"/>
                    </a:lnTo>
                    <a:lnTo>
                      <a:pt x="5812" y="13193"/>
                    </a:lnTo>
                    <a:lnTo>
                      <a:pt x="5812" y="9507"/>
                    </a:lnTo>
                    <a:lnTo>
                      <a:pt x="5812" y="5812"/>
                    </a:lnTo>
                    <a:lnTo>
                      <a:pt x="5812" y="5812"/>
                    </a:lnTo>
                    <a:lnTo>
                      <a:pt x="5812" y="5812"/>
                    </a:lnTo>
                    <a:lnTo>
                      <a:pt x="9501" y="5812"/>
                    </a:lnTo>
                    <a:lnTo>
                      <a:pt x="13190" y="5812"/>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57" name="Freeform: Shape 56">
                <a:extLst>
                  <a:ext uri="{FF2B5EF4-FFF2-40B4-BE49-F238E27FC236}">
                    <a16:creationId xmlns:a16="http://schemas.microsoft.com/office/drawing/2014/main" id="{B071BB5C-2877-4A97-843D-23BF4FB3E8C9}"/>
                  </a:ext>
                </a:extLst>
              </p:cNvPr>
              <p:cNvSpPr/>
              <p:nvPr/>
            </p:nvSpPr>
            <p:spPr>
              <a:xfrm>
                <a:off x="1706183" y="5014492"/>
                <a:ext cx="21660" cy="21660"/>
              </a:xfrm>
              <a:custGeom>
                <a:avLst/>
                <a:gdLst>
                  <a:gd name="connsiteX0" fmla="*/ 5812 w 9525"/>
                  <a:gd name="connsiteY0" fmla="*/ 9498 h 9525"/>
                  <a:gd name="connsiteX1" fmla="*/ 9501 w 9525"/>
                  <a:gd name="connsiteY1" fmla="*/ 9498 h 9525"/>
                  <a:gd name="connsiteX2" fmla="*/ 13190 w 9525"/>
                  <a:gd name="connsiteY2" fmla="*/ 5812 h 9525"/>
                  <a:gd name="connsiteX3" fmla="*/ 13190 w 9525"/>
                  <a:gd name="connsiteY3" fmla="*/ 9498 h 9525"/>
                  <a:gd name="connsiteX4" fmla="*/ 13190 w 9525"/>
                  <a:gd name="connsiteY4" fmla="*/ 9498 h 9525"/>
                  <a:gd name="connsiteX5" fmla="*/ 13190 w 9525"/>
                  <a:gd name="connsiteY5" fmla="*/ 9498 h 9525"/>
                  <a:gd name="connsiteX6" fmla="*/ 5812 w 9525"/>
                  <a:gd name="connsiteY6" fmla="*/ 9498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9525">
                    <a:moveTo>
                      <a:pt x="5812" y="9498"/>
                    </a:moveTo>
                    <a:lnTo>
                      <a:pt x="9501" y="9498"/>
                    </a:lnTo>
                    <a:lnTo>
                      <a:pt x="13190" y="5812"/>
                    </a:lnTo>
                    <a:lnTo>
                      <a:pt x="13190" y="9498"/>
                    </a:lnTo>
                    <a:lnTo>
                      <a:pt x="13190" y="9498"/>
                    </a:lnTo>
                    <a:lnTo>
                      <a:pt x="13190" y="9498"/>
                    </a:lnTo>
                    <a:lnTo>
                      <a:pt x="5812" y="9498"/>
                    </a:lnTo>
                    <a:close/>
                  </a:path>
                </a:pathLst>
              </a:custGeom>
              <a:solidFill>
                <a:srgbClr val="EC6224">
                  <a:alpha val="60000"/>
                </a:srgbClr>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58" name="Freeform: Shape 57">
                <a:extLst>
                  <a:ext uri="{FF2B5EF4-FFF2-40B4-BE49-F238E27FC236}">
                    <a16:creationId xmlns:a16="http://schemas.microsoft.com/office/drawing/2014/main" id="{C8AF865F-CDAA-4008-9D7B-F72CFF772F9D}"/>
                  </a:ext>
                </a:extLst>
              </p:cNvPr>
              <p:cNvSpPr/>
              <p:nvPr/>
            </p:nvSpPr>
            <p:spPr>
              <a:xfrm>
                <a:off x="1899133" y="5031279"/>
                <a:ext cx="64980" cy="43320"/>
              </a:xfrm>
              <a:custGeom>
                <a:avLst/>
                <a:gdLst>
                  <a:gd name="connsiteX0" fmla="*/ 24258 w 28575"/>
                  <a:gd name="connsiteY0" fmla="*/ 13193 h 19050"/>
                  <a:gd name="connsiteX1" fmla="*/ 24258 w 28575"/>
                  <a:gd name="connsiteY1" fmla="*/ 13193 h 19050"/>
                  <a:gd name="connsiteX2" fmla="*/ 24258 w 28575"/>
                  <a:gd name="connsiteY2" fmla="*/ 16880 h 19050"/>
                  <a:gd name="connsiteX3" fmla="*/ 24258 w 28575"/>
                  <a:gd name="connsiteY3" fmla="*/ 16880 h 19050"/>
                  <a:gd name="connsiteX4" fmla="*/ 24258 w 28575"/>
                  <a:gd name="connsiteY4" fmla="*/ 20575 h 19050"/>
                  <a:gd name="connsiteX5" fmla="*/ 24258 w 28575"/>
                  <a:gd name="connsiteY5" fmla="*/ 20575 h 19050"/>
                  <a:gd name="connsiteX6" fmla="*/ 20568 w 28575"/>
                  <a:gd name="connsiteY6" fmla="*/ 20575 h 19050"/>
                  <a:gd name="connsiteX7" fmla="*/ 20568 w 28575"/>
                  <a:gd name="connsiteY7" fmla="*/ 20575 h 19050"/>
                  <a:gd name="connsiteX8" fmla="*/ 16879 w 28575"/>
                  <a:gd name="connsiteY8" fmla="*/ 20575 h 19050"/>
                  <a:gd name="connsiteX9" fmla="*/ 16879 w 28575"/>
                  <a:gd name="connsiteY9" fmla="*/ 16880 h 19050"/>
                  <a:gd name="connsiteX10" fmla="*/ 13190 w 28575"/>
                  <a:gd name="connsiteY10" fmla="*/ 16880 h 19050"/>
                  <a:gd name="connsiteX11" fmla="*/ 13190 w 28575"/>
                  <a:gd name="connsiteY11" fmla="*/ 16880 h 19050"/>
                  <a:gd name="connsiteX12" fmla="*/ 16879 w 28575"/>
                  <a:gd name="connsiteY12" fmla="*/ 16880 h 19050"/>
                  <a:gd name="connsiteX13" fmla="*/ 20568 w 28575"/>
                  <a:gd name="connsiteY13" fmla="*/ 16880 h 19050"/>
                  <a:gd name="connsiteX14" fmla="*/ 16879 w 28575"/>
                  <a:gd name="connsiteY14" fmla="*/ 13193 h 19050"/>
                  <a:gd name="connsiteX15" fmla="*/ 20568 w 28575"/>
                  <a:gd name="connsiteY15" fmla="*/ 13193 h 19050"/>
                  <a:gd name="connsiteX16" fmla="*/ 20568 w 28575"/>
                  <a:gd name="connsiteY16" fmla="*/ 13193 h 19050"/>
                  <a:gd name="connsiteX17" fmla="*/ 16879 w 28575"/>
                  <a:gd name="connsiteY17" fmla="*/ 13193 h 19050"/>
                  <a:gd name="connsiteX18" fmla="*/ 13190 w 28575"/>
                  <a:gd name="connsiteY18" fmla="*/ 16880 h 19050"/>
                  <a:gd name="connsiteX19" fmla="*/ 13190 w 28575"/>
                  <a:gd name="connsiteY19" fmla="*/ 13193 h 19050"/>
                  <a:gd name="connsiteX20" fmla="*/ 13190 w 28575"/>
                  <a:gd name="connsiteY20" fmla="*/ 13193 h 19050"/>
                  <a:gd name="connsiteX21" fmla="*/ 16879 w 28575"/>
                  <a:gd name="connsiteY21" fmla="*/ 13193 h 19050"/>
                  <a:gd name="connsiteX22" fmla="*/ 16879 w 28575"/>
                  <a:gd name="connsiteY22" fmla="*/ 13193 h 19050"/>
                  <a:gd name="connsiteX23" fmla="*/ 13190 w 28575"/>
                  <a:gd name="connsiteY23" fmla="*/ 13193 h 19050"/>
                  <a:gd name="connsiteX24" fmla="*/ 16879 w 28575"/>
                  <a:gd name="connsiteY24" fmla="*/ 9498 h 19050"/>
                  <a:gd name="connsiteX25" fmla="*/ 16879 w 28575"/>
                  <a:gd name="connsiteY25" fmla="*/ 9498 h 19050"/>
                  <a:gd name="connsiteX26" fmla="*/ 13190 w 28575"/>
                  <a:gd name="connsiteY26" fmla="*/ 9498 h 19050"/>
                  <a:gd name="connsiteX27" fmla="*/ 13190 w 28575"/>
                  <a:gd name="connsiteY27" fmla="*/ 9498 h 19050"/>
                  <a:gd name="connsiteX28" fmla="*/ 9501 w 28575"/>
                  <a:gd name="connsiteY28" fmla="*/ 9498 h 19050"/>
                  <a:gd name="connsiteX29" fmla="*/ 9501 w 28575"/>
                  <a:gd name="connsiteY29" fmla="*/ 9498 h 19050"/>
                  <a:gd name="connsiteX30" fmla="*/ 9501 w 28575"/>
                  <a:gd name="connsiteY30" fmla="*/ 5812 h 19050"/>
                  <a:gd name="connsiteX31" fmla="*/ 9501 w 28575"/>
                  <a:gd name="connsiteY31" fmla="*/ 9498 h 19050"/>
                  <a:gd name="connsiteX32" fmla="*/ 5812 w 28575"/>
                  <a:gd name="connsiteY32" fmla="*/ 9498 h 19050"/>
                  <a:gd name="connsiteX33" fmla="*/ 5812 w 28575"/>
                  <a:gd name="connsiteY33" fmla="*/ 5812 h 19050"/>
                  <a:gd name="connsiteX34" fmla="*/ 13190 w 28575"/>
                  <a:gd name="connsiteY34" fmla="*/ 5812 h 19050"/>
                  <a:gd name="connsiteX35" fmla="*/ 16879 w 28575"/>
                  <a:gd name="connsiteY35" fmla="*/ 5812 h 19050"/>
                  <a:gd name="connsiteX36" fmla="*/ 16879 w 28575"/>
                  <a:gd name="connsiteY36" fmla="*/ 5812 h 19050"/>
                  <a:gd name="connsiteX37" fmla="*/ 20568 w 28575"/>
                  <a:gd name="connsiteY37" fmla="*/ 9498 h 19050"/>
                  <a:gd name="connsiteX38" fmla="*/ 20568 w 28575"/>
                  <a:gd name="connsiteY38" fmla="*/ 9498 h 19050"/>
                  <a:gd name="connsiteX39" fmla="*/ 24258 w 28575"/>
                  <a:gd name="connsiteY39" fmla="*/ 13193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575" h="19050">
                    <a:moveTo>
                      <a:pt x="24258" y="13193"/>
                    </a:moveTo>
                    <a:lnTo>
                      <a:pt x="24258" y="13193"/>
                    </a:lnTo>
                    <a:lnTo>
                      <a:pt x="24258" y="16880"/>
                    </a:lnTo>
                    <a:lnTo>
                      <a:pt x="24258" y="16880"/>
                    </a:lnTo>
                    <a:lnTo>
                      <a:pt x="24258" y="20575"/>
                    </a:lnTo>
                    <a:lnTo>
                      <a:pt x="24258" y="20575"/>
                    </a:lnTo>
                    <a:lnTo>
                      <a:pt x="20568" y="20575"/>
                    </a:lnTo>
                    <a:lnTo>
                      <a:pt x="20568" y="20575"/>
                    </a:lnTo>
                    <a:lnTo>
                      <a:pt x="16879" y="20575"/>
                    </a:lnTo>
                    <a:lnTo>
                      <a:pt x="16879" y="16880"/>
                    </a:lnTo>
                    <a:lnTo>
                      <a:pt x="13190" y="16880"/>
                    </a:lnTo>
                    <a:lnTo>
                      <a:pt x="13190" y="16880"/>
                    </a:lnTo>
                    <a:lnTo>
                      <a:pt x="16879" y="16880"/>
                    </a:lnTo>
                    <a:lnTo>
                      <a:pt x="20568" y="16880"/>
                    </a:lnTo>
                    <a:lnTo>
                      <a:pt x="16879" y="13193"/>
                    </a:lnTo>
                    <a:lnTo>
                      <a:pt x="20568" y="13193"/>
                    </a:lnTo>
                    <a:lnTo>
                      <a:pt x="20568" y="13193"/>
                    </a:lnTo>
                    <a:lnTo>
                      <a:pt x="16879" y="13193"/>
                    </a:lnTo>
                    <a:lnTo>
                      <a:pt x="13190" y="16880"/>
                    </a:lnTo>
                    <a:lnTo>
                      <a:pt x="13190" y="13193"/>
                    </a:lnTo>
                    <a:lnTo>
                      <a:pt x="13190" y="13193"/>
                    </a:lnTo>
                    <a:lnTo>
                      <a:pt x="16879" y="13193"/>
                    </a:lnTo>
                    <a:lnTo>
                      <a:pt x="16879" y="13193"/>
                    </a:lnTo>
                    <a:lnTo>
                      <a:pt x="13190" y="13193"/>
                    </a:lnTo>
                    <a:lnTo>
                      <a:pt x="16879" y="9498"/>
                    </a:lnTo>
                    <a:lnTo>
                      <a:pt x="16879" y="9498"/>
                    </a:lnTo>
                    <a:lnTo>
                      <a:pt x="13190" y="9498"/>
                    </a:lnTo>
                    <a:lnTo>
                      <a:pt x="13190" y="9498"/>
                    </a:lnTo>
                    <a:lnTo>
                      <a:pt x="9501" y="9498"/>
                    </a:lnTo>
                    <a:lnTo>
                      <a:pt x="9501" y="9498"/>
                    </a:lnTo>
                    <a:lnTo>
                      <a:pt x="9501" y="5812"/>
                    </a:lnTo>
                    <a:lnTo>
                      <a:pt x="9501" y="9498"/>
                    </a:lnTo>
                    <a:lnTo>
                      <a:pt x="5812" y="9498"/>
                    </a:lnTo>
                    <a:lnTo>
                      <a:pt x="5812" y="5812"/>
                    </a:lnTo>
                    <a:lnTo>
                      <a:pt x="13190" y="5812"/>
                    </a:lnTo>
                    <a:lnTo>
                      <a:pt x="16879" y="5812"/>
                    </a:lnTo>
                    <a:lnTo>
                      <a:pt x="16879" y="5812"/>
                    </a:lnTo>
                    <a:lnTo>
                      <a:pt x="20568" y="9498"/>
                    </a:lnTo>
                    <a:lnTo>
                      <a:pt x="20568" y="9498"/>
                    </a:lnTo>
                    <a:lnTo>
                      <a:pt x="24258" y="13193"/>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59" name="Freeform: Shape 58">
                <a:extLst>
                  <a:ext uri="{FF2B5EF4-FFF2-40B4-BE49-F238E27FC236}">
                    <a16:creationId xmlns:a16="http://schemas.microsoft.com/office/drawing/2014/main" id="{2BD93BCD-901E-4E6C-9589-191A787838B3}"/>
                  </a:ext>
                </a:extLst>
              </p:cNvPr>
              <p:cNvSpPr/>
              <p:nvPr/>
            </p:nvSpPr>
            <p:spPr>
              <a:xfrm>
                <a:off x="1043430" y="4938961"/>
                <a:ext cx="1018018" cy="389880"/>
              </a:xfrm>
              <a:custGeom>
                <a:avLst/>
                <a:gdLst>
                  <a:gd name="connsiteX0" fmla="*/ 79595 w 447675"/>
                  <a:gd name="connsiteY0" fmla="*/ 5812 h 171450"/>
                  <a:gd name="connsiteX1" fmla="*/ 79595 w 447675"/>
                  <a:gd name="connsiteY1" fmla="*/ 9498 h 171450"/>
                  <a:gd name="connsiteX2" fmla="*/ 75906 w 447675"/>
                  <a:gd name="connsiteY2" fmla="*/ 9498 h 171450"/>
                  <a:gd name="connsiteX3" fmla="*/ 72217 w 447675"/>
                  <a:gd name="connsiteY3" fmla="*/ 9498 h 171450"/>
                  <a:gd name="connsiteX4" fmla="*/ 64839 w 447675"/>
                  <a:gd name="connsiteY4" fmla="*/ 13194 h 171450"/>
                  <a:gd name="connsiteX5" fmla="*/ 61149 w 447675"/>
                  <a:gd name="connsiteY5" fmla="*/ 13194 h 171450"/>
                  <a:gd name="connsiteX6" fmla="*/ 57460 w 447675"/>
                  <a:gd name="connsiteY6" fmla="*/ 13194 h 171450"/>
                  <a:gd name="connsiteX7" fmla="*/ 53771 w 447675"/>
                  <a:gd name="connsiteY7" fmla="*/ 16880 h 171450"/>
                  <a:gd name="connsiteX8" fmla="*/ 50082 w 447675"/>
                  <a:gd name="connsiteY8" fmla="*/ 16880 h 171450"/>
                  <a:gd name="connsiteX9" fmla="*/ 46393 w 447675"/>
                  <a:gd name="connsiteY9" fmla="*/ 16880 h 171450"/>
                  <a:gd name="connsiteX10" fmla="*/ 42703 w 447675"/>
                  <a:gd name="connsiteY10" fmla="*/ 16880 h 171450"/>
                  <a:gd name="connsiteX11" fmla="*/ 39014 w 447675"/>
                  <a:gd name="connsiteY11" fmla="*/ 16880 h 171450"/>
                  <a:gd name="connsiteX12" fmla="*/ 35325 w 447675"/>
                  <a:gd name="connsiteY12" fmla="*/ 16880 h 171450"/>
                  <a:gd name="connsiteX13" fmla="*/ 35325 w 447675"/>
                  <a:gd name="connsiteY13" fmla="*/ 20575 h 171450"/>
                  <a:gd name="connsiteX14" fmla="*/ 31636 w 447675"/>
                  <a:gd name="connsiteY14" fmla="*/ 20575 h 171450"/>
                  <a:gd name="connsiteX15" fmla="*/ 27947 w 447675"/>
                  <a:gd name="connsiteY15" fmla="*/ 24262 h 171450"/>
                  <a:gd name="connsiteX16" fmla="*/ 24258 w 447675"/>
                  <a:gd name="connsiteY16" fmla="*/ 24262 h 171450"/>
                  <a:gd name="connsiteX17" fmla="*/ 20568 w 447675"/>
                  <a:gd name="connsiteY17" fmla="*/ 24262 h 171450"/>
                  <a:gd name="connsiteX18" fmla="*/ 16879 w 447675"/>
                  <a:gd name="connsiteY18" fmla="*/ 27957 h 171450"/>
                  <a:gd name="connsiteX19" fmla="*/ 13190 w 447675"/>
                  <a:gd name="connsiteY19" fmla="*/ 27957 h 171450"/>
                  <a:gd name="connsiteX20" fmla="*/ 13190 w 447675"/>
                  <a:gd name="connsiteY20" fmla="*/ 31643 h 171450"/>
                  <a:gd name="connsiteX21" fmla="*/ 16879 w 447675"/>
                  <a:gd name="connsiteY21" fmla="*/ 35339 h 171450"/>
                  <a:gd name="connsiteX22" fmla="*/ 16879 w 447675"/>
                  <a:gd name="connsiteY22" fmla="*/ 42711 h 171450"/>
                  <a:gd name="connsiteX23" fmla="*/ 16879 w 447675"/>
                  <a:gd name="connsiteY23" fmla="*/ 46407 h 171450"/>
                  <a:gd name="connsiteX24" fmla="*/ 16879 w 447675"/>
                  <a:gd name="connsiteY24" fmla="*/ 50093 h 171450"/>
                  <a:gd name="connsiteX25" fmla="*/ 20568 w 447675"/>
                  <a:gd name="connsiteY25" fmla="*/ 53789 h 171450"/>
                  <a:gd name="connsiteX26" fmla="*/ 20568 w 447675"/>
                  <a:gd name="connsiteY26" fmla="*/ 61171 h 171450"/>
                  <a:gd name="connsiteX27" fmla="*/ 9501 w 447675"/>
                  <a:gd name="connsiteY27" fmla="*/ 72239 h 171450"/>
                  <a:gd name="connsiteX28" fmla="*/ 5812 w 447675"/>
                  <a:gd name="connsiteY28" fmla="*/ 75935 h 171450"/>
                  <a:gd name="connsiteX29" fmla="*/ 9501 w 447675"/>
                  <a:gd name="connsiteY29" fmla="*/ 79621 h 171450"/>
                  <a:gd name="connsiteX30" fmla="*/ 16879 w 447675"/>
                  <a:gd name="connsiteY30" fmla="*/ 87003 h 171450"/>
                  <a:gd name="connsiteX31" fmla="*/ 13190 w 447675"/>
                  <a:gd name="connsiteY31" fmla="*/ 87003 h 171450"/>
                  <a:gd name="connsiteX32" fmla="*/ 9501 w 447675"/>
                  <a:gd name="connsiteY32" fmla="*/ 87003 h 171450"/>
                  <a:gd name="connsiteX33" fmla="*/ 9501 w 447675"/>
                  <a:gd name="connsiteY33" fmla="*/ 90689 h 171450"/>
                  <a:gd name="connsiteX34" fmla="*/ 13190 w 447675"/>
                  <a:gd name="connsiteY34" fmla="*/ 94385 h 171450"/>
                  <a:gd name="connsiteX35" fmla="*/ 16879 w 447675"/>
                  <a:gd name="connsiteY35" fmla="*/ 98071 h 171450"/>
                  <a:gd name="connsiteX36" fmla="*/ 16879 w 447675"/>
                  <a:gd name="connsiteY36" fmla="*/ 101766 h 171450"/>
                  <a:gd name="connsiteX37" fmla="*/ 13190 w 447675"/>
                  <a:gd name="connsiteY37" fmla="*/ 105453 h 171450"/>
                  <a:gd name="connsiteX38" fmla="*/ 16879 w 447675"/>
                  <a:gd name="connsiteY38" fmla="*/ 109148 h 171450"/>
                  <a:gd name="connsiteX39" fmla="*/ 20568 w 447675"/>
                  <a:gd name="connsiteY39" fmla="*/ 109148 h 171450"/>
                  <a:gd name="connsiteX40" fmla="*/ 24258 w 447675"/>
                  <a:gd name="connsiteY40" fmla="*/ 116530 h 171450"/>
                  <a:gd name="connsiteX41" fmla="*/ 27947 w 447675"/>
                  <a:gd name="connsiteY41" fmla="*/ 116530 h 171450"/>
                  <a:gd name="connsiteX42" fmla="*/ 31636 w 447675"/>
                  <a:gd name="connsiteY42" fmla="*/ 123912 h 171450"/>
                  <a:gd name="connsiteX43" fmla="*/ 35325 w 447675"/>
                  <a:gd name="connsiteY43" fmla="*/ 120216 h 171450"/>
                  <a:gd name="connsiteX44" fmla="*/ 39014 w 447675"/>
                  <a:gd name="connsiteY44" fmla="*/ 123912 h 171450"/>
                  <a:gd name="connsiteX45" fmla="*/ 39014 w 447675"/>
                  <a:gd name="connsiteY45" fmla="*/ 127598 h 171450"/>
                  <a:gd name="connsiteX46" fmla="*/ 39014 w 447675"/>
                  <a:gd name="connsiteY46" fmla="*/ 131294 h 171450"/>
                  <a:gd name="connsiteX47" fmla="*/ 42703 w 447675"/>
                  <a:gd name="connsiteY47" fmla="*/ 131294 h 171450"/>
                  <a:gd name="connsiteX48" fmla="*/ 46393 w 447675"/>
                  <a:gd name="connsiteY48" fmla="*/ 134980 h 171450"/>
                  <a:gd name="connsiteX49" fmla="*/ 50082 w 447675"/>
                  <a:gd name="connsiteY49" fmla="*/ 134980 h 171450"/>
                  <a:gd name="connsiteX50" fmla="*/ 61149 w 447675"/>
                  <a:gd name="connsiteY50" fmla="*/ 134980 h 171450"/>
                  <a:gd name="connsiteX51" fmla="*/ 90663 w 447675"/>
                  <a:gd name="connsiteY51" fmla="*/ 131294 h 171450"/>
                  <a:gd name="connsiteX52" fmla="*/ 86974 w 447675"/>
                  <a:gd name="connsiteY52" fmla="*/ 105453 h 171450"/>
                  <a:gd name="connsiteX53" fmla="*/ 83284 w 447675"/>
                  <a:gd name="connsiteY53" fmla="*/ 101766 h 171450"/>
                  <a:gd name="connsiteX54" fmla="*/ 90663 w 447675"/>
                  <a:gd name="connsiteY54" fmla="*/ 98071 h 171450"/>
                  <a:gd name="connsiteX55" fmla="*/ 94352 w 447675"/>
                  <a:gd name="connsiteY55" fmla="*/ 101766 h 171450"/>
                  <a:gd name="connsiteX56" fmla="*/ 98042 w 447675"/>
                  <a:gd name="connsiteY56" fmla="*/ 101766 h 171450"/>
                  <a:gd name="connsiteX57" fmla="*/ 98042 w 447675"/>
                  <a:gd name="connsiteY57" fmla="*/ 98071 h 171450"/>
                  <a:gd name="connsiteX58" fmla="*/ 101731 w 447675"/>
                  <a:gd name="connsiteY58" fmla="*/ 98071 h 171450"/>
                  <a:gd name="connsiteX59" fmla="*/ 105420 w 447675"/>
                  <a:gd name="connsiteY59" fmla="*/ 98071 h 171450"/>
                  <a:gd name="connsiteX60" fmla="*/ 105420 w 447675"/>
                  <a:gd name="connsiteY60" fmla="*/ 94385 h 171450"/>
                  <a:gd name="connsiteX61" fmla="*/ 109109 w 447675"/>
                  <a:gd name="connsiteY61" fmla="*/ 94385 h 171450"/>
                  <a:gd name="connsiteX62" fmla="*/ 112798 w 447675"/>
                  <a:gd name="connsiteY62" fmla="*/ 98071 h 171450"/>
                  <a:gd name="connsiteX63" fmla="*/ 116487 w 447675"/>
                  <a:gd name="connsiteY63" fmla="*/ 101766 h 171450"/>
                  <a:gd name="connsiteX64" fmla="*/ 120177 w 447675"/>
                  <a:gd name="connsiteY64" fmla="*/ 98071 h 171450"/>
                  <a:gd name="connsiteX65" fmla="*/ 116487 w 447675"/>
                  <a:gd name="connsiteY65" fmla="*/ 90689 h 171450"/>
                  <a:gd name="connsiteX66" fmla="*/ 123866 w 447675"/>
                  <a:gd name="connsiteY66" fmla="*/ 87003 h 171450"/>
                  <a:gd name="connsiteX67" fmla="*/ 127555 w 447675"/>
                  <a:gd name="connsiteY67" fmla="*/ 90689 h 171450"/>
                  <a:gd name="connsiteX68" fmla="*/ 134933 w 447675"/>
                  <a:gd name="connsiteY68" fmla="*/ 94385 h 171450"/>
                  <a:gd name="connsiteX69" fmla="*/ 138622 w 447675"/>
                  <a:gd name="connsiteY69" fmla="*/ 98071 h 171450"/>
                  <a:gd name="connsiteX70" fmla="*/ 146001 w 447675"/>
                  <a:gd name="connsiteY70" fmla="*/ 101766 h 171450"/>
                  <a:gd name="connsiteX71" fmla="*/ 149690 w 447675"/>
                  <a:gd name="connsiteY71" fmla="*/ 101766 h 171450"/>
                  <a:gd name="connsiteX72" fmla="*/ 149690 w 447675"/>
                  <a:gd name="connsiteY72" fmla="*/ 98071 h 171450"/>
                  <a:gd name="connsiteX73" fmla="*/ 157068 w 447675"/>
                  <a:gd name="connsiteY73" fmla="*/ 98071 h 171450"/>
                  <a:gd name="connsiteX74" fmla="*/ 164446 w 447675"/>
                  <a:gd name="connsiteY74" fmla="*/ 105453 h 171450"/>
                  <a:gd name="connsiteX75" fmla="*/ 168136 w 447675"/>
                  <a:gd name="connsiteY75" fmla="*/ 105453 h 171450"/>
                  <a:gd name="connsiteX76" fmla="*/ 171825 w 447675"/>
                  <a:gd name="connsiteY76" fmla="*/ 109148 h 171450"/>
                  <a:gd name="connsiteX77" fmla="*/ 171825 w 447675"/>
                  <a:gd name="connsiteY77" fmla="*/ 112835 h 171450"/>
                  <a:gd name="connsiteX78" fmla="*/ 182892 w 447675"/>
                  <a:gd name="connsiteY78" fmla="*/ 112835 h 171450"/>
                  <a:gd name="connsiteX79" fmla="*/ 186581 w 447675"/>
                  <a:gd name="connsiteY79" fmla="*/ 116530 h 171450"/>
                  <a:gd name="connsiteX80" fmla="*/ 186581 w 447675"/>
                  <a:gd name="connsiteY80" fmla="*/ 112835 h 171450"/>
                  <a:gd name="connsiteX81" fmla="*/ 201338 w 447675"/>
                  <a:gd name="connsiteY81" fmla="*/ 116530 h 171450"/>
                  <a:gd name="connsiteX82" fmla="*/ 205027 w 447675"/>
                  <a:gd name="connsiteY82" fmla="*/ 116530 h 171450"/>
                  <a:gd name="connsiteX83" fmla="*/ 208716 w 447675"/>
                  <a:gd name="connsiteY83" fmla="*/ 123912 h 171450"/>
                  <a:gd name="connsiteX84" fmla="*/ 212406 w 447675"/>
                  <a:gd name="connsiteY84" fmla="*/ 123912 h 171450"/>
                  <a:gd name="connsiteX85" fmla="*/ 212406 w 447675"/>
                  <a:gd name="connsiteY85" fmla="*/ 120216 h 171450"/>
                  <a:gd name="connsiteX86" fmla="*/ 216095 w 447675"/>
                  <a:gd name="connsiteY86" fmla="*/ 123912 h 171450"/>
                  <a:gd name="connsiteX87" fmla="*/ 219784 w 447675"/>
                  <a:gd name="connsiteY87" fmla="*/ 127598 h 171450"/>
                  <a:gd name="connsiteX88" fmla="*/ 223473 w 447675"/>
                  <a:gd name="connsiteY88" fmla="*/ 127598 h 171450"/>
                  <a:gd name="connsiteX89" fmla="*/ 223473 w 447675"/>
                  <a:gd name="connsiteY89" fmla="*/ 131294 h 171450"/>
                  <a:gd name="connsiteX90" fmla="*/ 219784 w 447675"/>
                  <a:gd name="connsiteY90" fmla="*/ 134980 h 171450"/>
                  <a:gd name="connsiteX91" fmla="*/ 219784 w 447675"/>
                  <a:gd name="connsiteY91" fmla="*/ 142362 h 171450"/>
                  <a:gd name="connsiteX92" fmla="*/ 219784 w 447675"/>
                  <a:gd name="connsiteY92" fmla="*/ 153430 h 171450"/>
                  <a:gd name="connsiteX93" fmla="*/ 219784 w 447675"/>
                  <a:gd name="connsiteY93" fmla="*/ 160812 h 171450"/>
                  <a:gd name="connsiteX94" fmla="*/ 223473 w 447675"/>
                  <a:gd name="connsiteY94" fmla="*/ 164508 h 171450"/>
                  <a:gd name="connsiteX95" fmla="*/ 227162 w 447675"/>
                  <a:gd name="connsiteY95" fmla="*/ 164508 h 171450"/>
                  <a:gd name="connsiteX96" fmla="*/ 227162 w 447675"/>
                  <a:gd name="connsiteY96" fmla="*/ 160812 h 171450"/>
                  <a:gd name="connsiteX97" fmla="*/ 230852 w 447675"/>
                  <a:gd name="connsiteY97" fmla="*/ 164508 h 171450"/>
                  <a:gd name="connsiteX98" fmla="*/ 234541 w 447675"/>
                  <a:gd name="connsiteY98" fmla="*/ 164508 h 171450"/>
                  <a:gd name="connsiteX99" fmla="*/ 238231 w 447675"/>
                  <a:gd name="connsiteY99" fmla="*/ 164508 h 171450"/>
                  <a:gd name="connsiteX100" fmla="*/ 241920 w 447675"/>
                  <a:gd name="connsiteY100" fmla="*/ 164508 h 171450"/>
                  <a:gd name="connsiteX101" fmla="*/ 245609 w 447675"/>
                  <a:gd name="connsiteY101" fmla="*/ 164508 h 171450"/>
                  <a:gd name="connsiteX102" fmla="*/ 249298 w 447675"/>
                  <a:gd name="connsiteY102" fmla="*/ 164508 h 171450"/>
                  <a:gd name="connsiteX103" fmla="*/ 252987 w 447675"/>
                  <a:gd name="connsiteY103" fmla="*/ 164508 h 171450"/>
                  <a:gd name="connsiteX104" fmla="*/ 256676 w 447675"/>
                  <a:gd name="connsiteY104" fmla="*/ 164508 h 171450"/>
                  <a:gd name="connsiteX105" fmla="*/ 264055 w 447675"/>
                  <a:gd name="connsiteY105" fmla="*/ 157126 h 171450"/>
                  <a:gd name="connsiteX106" fmla="*/ 267744 w 447675"/>
                  <a:gd name="connsiteY106" fmla="*/ 157126 h 171450"/>
                  <a:gd name="connsiteX107" fmla="*/ 271433 w 447675"/>
                  <a:gd name="connsiteY107" fmla="*/ 157126 h 171450"/>
                  <a:gd name="connsiteX108" fmla="*/ 271433 w 447675"/>
                  <a:gd name="connsiteY108" fmla="*/ 164508 h 171450"/>
                  <a:gd name="connsiteX109" fmla="*/ 267744 w 447675"/>
                  <a:gd name="connsiteY109" fmla="*/ 164508 h 171450"/>
                  <a:gd name="connsiteX110" fmla="*/ 264055 w 447675"/>
                  <a:gd name="connsiteY110" fmla="*/ 168194 h 171450"/>
                  <a:gd name="connsiteX111" fmla="*/ 267744 w 447675"/>
                  <a:gd name="connsiteY111" fmla="*/ 171890 h 171450"/>
                  <a:gd name="connsiteX112" fmla="*/ 271433 w 447675"/>
                  <a:gd name="connsiteY112" fmla="*/ 171890 h 171450"/>
                  <a:gd name="connsiteX113" fmla="*/ 275122 w 447675"/>
                  <a:gd name="connsiteY113" fmla="*/ 171890 h 171450"/>
                  <a:gd name="connsiteX114" fmla="*/ 282501 w 447675"/>
                  <a:gd name="connsiteY114" fmla="*/ 168194 h 171450"/>
                  <a:gd name="connsiteX115" fmla="*/ 286190 w 447675"/>
                  <a:gd name="connsiteY115" fmla="*/ 168194 h 171450"/>
                  <a:gd name="connsiteX116" fmla="*/ 282501 w 447675"/>
                  <a:gd name="connsiteY116" fmla="*/ 160812 h 171450"/>
                  <a:gd name="connsiteX117" fmla="*/ 289879 w 447675"/>
                  <a:gd name="connsiteY117" fmla="*/ 157126 h 171450"/>
                  <a:gd name="connsiteX118" fmla="*/ 293568 w 447675"/>
                  <a:gd name="connsiteY118" fmla="*/ 164508 h 171450"/>
                  <a:gd name="connsiteX119" fmla="*/ 297257 w 447675"/>
                  <a:gd name="connsiteY119" fmla="*/ 164508 h 171450"/>
                  <a:gd name="connsiteX120" fmla="*/ 297257 w 447675"/>
                  <a:gd name="connsiteY120" fmla="*/ 160812 h 171450"/>
                  <a:gd name="connsiteX121" fmla="*/ 300946 w 447675"/>
                  <a:gd name="connsiteY121" fmla="*/ 160812 h 171450"/>
                  <a:gd name="connsiteX122" fmla="*/ 304635 w 447675"/>
                  <a:gd name="connsiteY122" fmla="*/ 160812 h 171450"/>
                  <a:gd name="connsiteX123" fmla="*/ 308325 w 447675"/>
                  <a:gd name="connsiteY123" fmla="*/ 157126 h 171450"/>
                  <a:gd name="connsiteX124" fmla="*/ 308325 w 447675"/>
                  <a:gd name="connsiteY124" fmla="*/ 153430 h 171450"/>
                  <a:gd name="connsiteX125" fmla="*/ 315703 w 447675"/>
                  <a:gd name="connsiteY125" fmla="*/ 153430 h 171450"/>
                  <a:gd name="connsiteX126" fmla="*/ 319392 w 447675"/>
                  <a:gd name="connsiteY126" fmla="*/ 146048 h 171450"/>
                  <a:gd name="connsiteX127" fmla="*/ 323081 w 447675"/>
                  <a:gd name="connsiteY127" fmla="*/ 146048 h 171450"/>
                  <a:gd name="connsiteX128" fmla="*/ 326770 w 447675"/>
                  <a:gd name="connsiteY128" fmla="*/ 142362 h 171450"/>
                  <a:gd name="connsiteX129" fmla="*/ 334149 w 447675"/>
                  <a:gd name="connsiteY129" fmla="*/ 138666 h 171450"/>
                  <a:gd name="connsiteX130" fmla="*/ 337838 w 447675"/>
                  <a:gd name="connsiteY130" fmla="*/ 138666 h 171450"/>
                  <a:gd name="connsiteX131" fmla="*/ 337838 w 447675"/>
                  <a:gd name="connsiteY131" fmla="*/ 142362 h 171450"/>
                  <a:gd name="connsiteX132" fmla="*/ 341527 w 447675"/>
                  <a:gd name="connsiteY132" fmla="*/ 142362 h 171450"/>
                  <a:gd name="connsiteX133" fmla="*/ 345216 w 447675"/>
                  <a:gd name="connsiteY133" fmla="*/ 138666 h 171450"/>
                  <a:gd name="connsiteX134" fmla="*/ 345216 w 447675"/>
                  <a:gd name="connsiteY134" fmla="*/ 142362 h 171450"/>
                  <a:gd name="connsiteX135" fmla="*/ 352595 w 447675"/>
                  <a:gd name="connsiteY135" fmla="*/ 142362 h 171450"/>
                  <a:gd name="connsiteX136" fmla="*/ 356284 w 447675"/>
                  <a:gd name="connsiteY136" fmla="*/ 138666 h 171450"/>
                  <a:gd name="connsiteX137" fmla="*/ 359973 w 447675"/>
                  <a:gd name="connsiteY137" fmla="*/ 138666 h 171450"/>
                  <a:gd name="connsiteX138" fmla="*/ 363662 w 447675"/>
                  <a:gd name="connsiteY138" fmla="*/ 134980 h 171450"/>
                  <a:gd name="connsiteX139" fmla="*/ 371040 w 447675"/>
                  <a:gd name="connsiteY139" fmla="*/ 127598 h 171450"/>
                  <a:gd name="connsiteX140" fmla="*/ 378419 w 447675"/>
                  <a:gd name="connsiteY140" fmla="*/ 123912 h 171450"/>
                  <a:gd name="connsiteX141" fmla="*/ 385798 w 447675"/>
                  <a:gd name="connsiteY141" fmla="*/ 120216 h 171450"/>
                  <a:gd name="connsiteX142" fmla="*/ 404244 w 447675"/>
                  <a:gd name="connsiteY142" fmla="*/ 105453 h 171450"/>
                  <a:gd name="connsiteX143" fmla="*/ 407933 w 447675"/>
                  <a:gd name="connsiteY143" fmla="*/ 101766 h 171450"/>
                  <a:gd name="connsiteX144" fmla="*/ 444825 w 447675"/>
                  <a:gd name="connsiteY144" fmla="*/ 57475 h 171450"/>
                  <a:gd name="connsiteX145" fmla="*/ 441135 w 447675"/>
                  <a:gd name="connsiteY145" fmla="*/ 57475 h 171450"/>
                  <a:gd name="connsiteX146" fmla="*/ 441135 w 447675"/>
                  <a:gd name="connsiteY146" fmla="*/ 53789 h 171450"/>
                  <a:gd name="connsiteX147" fmla="*/ 437446 w 447675"/>
                  <a:gd name="connsiteY147" fmla="*/ 53789 h 171450"/>
                  <a:gd name="connsiteX148" fmla="*/ 437446 w 447675"/>
                  <a:gd name="connsiteY148" fmla="*/ 50093 h 171450"/>
                  <a:gd name="connsiteX149" fmla="*/ 437446 w 447675"/>
                  <a:gd name="connsiteY149" fmla="*/ 46407 h 171450"/>
                  <a:gd name="connsiteX150" fmla="*/ 433757 w 447675"/>
                  <a:gd name="connsiteY150" fmla="*/ 50093 h 171450"/>
                  <a:gd name="connsiteX151" fmla="*/ 433757 w 447675"/>
                  <a:gd name="connsiteY151" fmla="*/ 46407 h 171450"/>
                  <a:gd name="connsiteX152" fmla="*/ 433757 w 447675"/>
                  <a:gd name="connsiteY152" fmla="*/ 42711 h 171450"/>
                  <a:gd name="connsiteX153" fmla="*/ 430068 w 447675"/>
                  <a:gd name="connsiteY153" fmla="*/ 39025 h 171450"/>
                  <a:gd name="connsiteX154" fmla="*/ 426379 w 447675"/>
                  <a:gd name="connsiteY154" fmla="*/ 39025 h 171450"/>
                  <a:gd name="connsiteX155" fmla="*/ 422690 w 447675"/>
                  <a:gd name="connsiteY155" fmla="*/ 39025 h 171450"/>
                  <a:gd name="connsiteX156" fmla="*/ 426379 w 447675"/>
                  <a:gd name="connsiteY156" fmla="*/ 35339 h 171450"/>
                  <a:gd name="connsiteX157" fmla="*/ 422690 w 447675"/>
                  <a:gd name="connsiteY157" fmla="*/ 35339 h 171450"/>
                  <a:gd name="connsiteX158" fmla="*/ 419000 w 447675"/>
                  <a:gd name="connsiteY158" fmla="*/ 35339 h 171450"/>
                  <a:gd name="connsiteX159" fmla="*/ 419000 w 447675"/>
                  <a:gd name="connsiteY159" fmla="*/ 39025 h 171450"/>
                  <a:gd name="connsiteX160" fmla="*/ 415311 w 447675"/>
                  <a:gd name="connsiteY160" fmla="*/ 42711 h 171450"/>
                  <a:gd name="connsiteX161" fmla="*/ 415311 w 447675"/>
                  <a:gd name="connsiteY161" fmla="*/ 46407 h 171450"/>
                  <a:gd name="connsiteX162" fmla="*/ 419000 w 447675"/>
                  <a:gd name="connsiteY162" fmla="*/ 50093 h 171450"/>
                  <a:gd name="connsiteX163" fmla="*/ 422690 w 447675"/>
                  <a:gd name="connsiteY163" fmla="*/ 50093 h 171450"/>
                  <a:gd name="connsiteX164" fmla="*/ 422690 w 447675"/>
                  <a:gd name="connsiteY164" fmla="*/ 53789 h 171450"/>
                  <a:gd name="connsiteX165" fmla="*/ 422690 w 447675"/>
                  <a:gd name="connsiteY165" fmla="*/ 57475 h 171450"/>
                  <a:gd name="connsiteX166" fmla="*/ 419000 w 447675"/>
                  <a:gd name="connsiteY166" fmla="*/ 53789 h 171450"/>
                  <a:gd name="connsiteX167" fmla="*/ 415311 w 447675"/>
                  <a:gd name="connsiteY167" fmla="*/ 57475 h 171450"/>
                  <a:gd name="connsiteX168" fmla="*/ 419000 w 447675"/>
                  <a:gd name="connsiteY168" fmla="*/ 57475 h 171450"/>
                  <a:gd name="connsiteX169" fmla="*/ 415311 w 447675"/>
                  <a:gd name="connsiteY169" fmla="*/ 61171 h 171450"/>
                  <a:gd name="connsiteX170" fmla="*/ 419000 w 447675"/>
                  <a:gd name="connsiteY170" fmla="*/ 61171 h 171450"/>
                  <a:gd name="connsiteX171" fmla="*/ 419000 w 447675"/>
                  <a:gd name="connsiteY171" fmla="*/ 64857 h 171450"/>
                  <a:gd name="connsiteX172" fmla="*/ 415311 w 447675"/>
                  <a:gd name="connsiteY172" fmla="*/ 61171 h 171450"/>
                  <a:gd name="connsiteX173" fmla="*/ 407933 w 447675"/>
                  <a:gd name="connsiteY173" fmla="*/ 61171 h 171450"/>
                  <a:gd name="connsiteX174" fmla="*/ 411622 w 447675"/>
                  <a:gd name="connsiteY174" fmla="*/ 64857 h 171450"/>
                  <a:gd name="connsiteX175" fmla="*/ 411622 w 447675"/>
                  <a:gd name="connsiteY175" fmla="*/ 68553 h 171450"/>
                  <a:gd name="connsiteX176" fmla="*/ 407933 w 447675"/>
                  <a:gd name="connsiteY176" fmla="*/ 61171 h 171450"/>
                  <a:gd name="connsiteX177" fmla="*/ 404244 w 447675"/>
                  <a:gd name="connsiteY177" fmla="*/ 57475 h 171450"/>
                  <a:gd name="connsiteX178" fmla="*/ 400555 w 447675"/>
                  <a:gd name="connsiteY178" fmla="*/ 57475 h 171450"/>
                  <a:gd name="connsiteX179" fmla="*/ 404244 w 447675"/>
                  <a:gd name="connsiteY179" fmla="*/ 61171 h 171450"/>
                  <a:gd name="connsiteX180" fmla="*/ 407933 w 447675"/>
                  <a:gd name="connsiteY180" fmla="*/ 64857 h 171450"/>
                  <a:gd name="connsiteX181" fmla="*/ 404244 w 447675"/>
                  <a:gd name="connsiteY181" fmla="*/ 64857 h 171450"/>
                  <a:gd name="connsiteX182" fmla="*/ 404244 w 447675"/>
                  <a:gd name="connsiteY182" fmla="*/ 61171 h 171450"/>
                  <a:gd name="connsiteX183" fmla="*/ 400555 w 447675"/>
                  <a:gd name="connsiteY183" fmla="*/ 61171 h 171450"/>
                  <a:gd name="connsiteX184" fmla="*/ 396865 w 447675"/>
                  <a:gd name="connsiteY184" fmla="*/ 61171 h 171450"/>
                  <a:gd name="connsiteX185" fmla="*/ 393176 w 447675"/>
                  <a:gd name="connsiteY185" fmla="*/ 61171 h 171450"/>
                  <a:gd name="connsiteX186" fmla="*/ 393176 w 447675"/>
                  <a:gd name="connsiteY186" fmla="*/ 64857 h 171450"/>
                  <a:gd name="connsiteX187" fmla="*/ 396865 w 447675"/>
                  <a:gd name="connsiteY187" fmla="*/ 64857 h 171450"/>
                  <a:gd name="connsiteX188" fmla="*/ 396865 w 447675"/>
                  <a:gd name="connsiteY188" fmla="*/ 68553 h 171450"/>
                  <a:gd name="connsiteX189" fmla="*/ 393176 w 447675"/>
                  <a:gd name="connsiteY189" fmla="*/ 68553 h 171450"/>
                  <a:gd name="connsiteX190" fmla="*/ 385798 w 447675"/>
                  <a:gd name="connsiteY190" fmla="*/ 53789 h 171450"/>
                  <a:gd name="connsiteX191" fmla="*/ 382109 w 447675"/>
                  <a:gd name="connsiteY191" fmla="*/ 53789 h 171450"/>
                  <a:gd name="connsiteX192" fmla="*/ 371040 w 447675"/>
                  <a:gd name="connsiteY192" fmla="*/ 46407 h 171450"/>
                  <a:gd name="connsiteX193" fmla="*/ 371040 w 447675"/>
                  <a:gd name="connsiteY193" fmla="*/ 42711 h 171450"/>
                  <a:gd name="connsiteX194" fmla="*/ 367351 w 447675"/>
                  <a:gd name="connsiteY194" fmla="*/ 42711 h 171450"/>
                  <a:gd name="connsiteX195" fmla="*/ 367351 w 447675"/>
                  <a:gd name="connsiteY195" fmla="*/ 46407 h 171450"/>
                  <a:gd name="connsiteX196" fmla="*/ 352595 w 447675"/>
                  <a:gd name="connsiteY196" fmla="*/ 42711 h 171450"/>
                  <a:gd name="connsiteX197" fmla="*/ 348905 w 447675"/>
                  <a:gd name="connsiteY197" fmla="*/ 39025 h 171450"/>
                  <a:gd name="connsiteX198" fmla="*/ 348905 w 447675"/>
                  <a:gd name="connsiteY198" fmla="*/ 35339 h 171450"/>
                  <a:gd name="connsiteX199" fmla="*/ 345216 w 447675"/>
                  <a:gd name="connsiteY199" fmla="*/ 31643 h 171450"/>
                  <a:gd name="connsiteX200" fmla="*/ 345216 w 447675"/>
                  <a:gd name="connsiteY200" fmla="*/ 27957 h 171450"/>
                  <a:gd name="connsiteX201" fmla="*/ 341527 w 447675"/>
                  <a:gd name="connsiteY201" fmla="*/ 24262 h 171450"/>
                  <a:gd name="connsiteX202" fmla="*/ 345216 w 447675"/>
                  <a:gd name="connsiteY202" fmla="*/ 20575 h 171450"/>
                  <a:gd name="connsiteX203" fmla="*/ 341527 w 447675"/>
                  <a:gd name="connsiteY203" fmla="*/ 20575 h 171450"/>
                  <a:gd name="connsiteX204" fmla="*/ 337838 w 447675"/>
                  <a:gd name="connsiteY204" fmla="*/ 16880 h 171450"/>
                  <a:gd name="connsiteX205" fmla="*/ 337838 w 447675"/>
                  <a:gd name="connsiteY205" fmla="*/ 13194 h 171450"/>
                  <a:gd name="connsiteX206" fmla="*/ 330460 w 447675"/>
                  <a:gd name="connsiteY206" fmla="*/ 13194 h 171450"/>
                  <a:gd name="connsiteX207" fmla="*/ 326770 w 447675"/>
                  <a:gd name="connsiteY207" fmla="*/ 13194 h 171450"/>
                  <a:gd name="connsiteX208" fmla="*/ 323081 w 447675"/>
                  <a:gd name="connsiteY208" fmla="*/ 9498 h 171450"/>
                  <a:gd name="connsiteX209" fmla="*/ 315703 w 447675"/>
                  <a:gd name="connsiteY209" fmla="*/ 9498 h 171450"/>
                  <a:gd name="connsiteX210" fmla="*/ 312014 w 447675"/>
                  <a:gd name="connsiteY210" fmla="*/ 16880 h 171450"/>
                  <a:gd name="connsiteX211" fmla="*/ 312014 w 447675"/>
                  <a:gd name="connsiteY211" fmla="*/ 20575 h 171450"/>
                  <a:gd name="connsiteX212" fmla="*/ 308325 w 447675"/>
                  <a:gd name="connsiteY212" fmla="*/ 20575 h 171450"/>
                  <a:gd name="connsiteX213" fmla="*/ 308325 w 447675"/>
                  <a:gd name="connsiteY213" fmla="*/ 27957 h 171450"/>
                  <a:gd name="connsiteX214" fmla="*/ 308325 w 447675"/>
                  <a:gd name="connsiteY214" fmla="*/ 31643 h 171450"/>
                  <a:gd name="connsiteX215" fmla="*/ 308325 w 447675"/>
                  <a:gd name="connsiteY215" fmla="*/ 35339 h 171450"/>
                  <a:gd name="connsiteX216" fmla="*/ 308325 w 447675"/>
                  <a:gd name="connsiteY216" fmla="*/ 39025 h 171450"/>
                  <a:gd name="connsiteX217" fmla="*/ 304635 w 447675"/>
                  <a:gd name="connsiteY217" fmla="*/ 42711 h 171450"/>
                  <a:gd name="connsiteX218" fmla="*/ 297257 w 447675"/>
                  <a:gd name="connsiteY218" fmla="*/ 42711 h 171450"/>
                  <a:gd name="connsiteX219" fmla="*/ 286190 w 447675"/>
                  <a:gd name="connsiteY219" fmla="*/ 46407 h 171450"/>
                  <a:gd name="connsiteX220" fmla="*/ 278811 w 447675"/>
                  <a:gd name="connsiteY220" fmla="*/ 50093 h 171450"/>
                  <a:gd name="connsiteX221" fmla="*/ 275122 w 447675"/>
                  <a:gd name="connsiteY221" fmla="*/ 53789 h 171450"/>
                  <a:gd name="connsiteX222" fmla="*/ 271433 w 447675"/>
                  <a:gd name="connsiteY222" fmla="*/ 53789 h 171450"/>
                  <a:gd name="connsiteX223" fmla="*/ 271433 w 447675"/>
                  <a:gd name="connsiteY223" fmla="*/ 57475 h 171450"/>
                  <a:gd name="connsiteX224" fmla="*/ 264055 w 447675"/>
                  <a:gd name="connsiteY224" fmla="*/ 57475 h 171450"/>
                  <a:gd name="connsiteX225" fmla="*/ 264055 w 447675"/>
                  <a:gd name="connsiteY225" fmla="*/ 61171 h 171450"/>
                  <a:gd name="connsiteX226" fmla="*/ 260366 w 447675"/>
                  <a:gd name="connsiteY226" fmla="*/ 64857 h 171450"/>
                  <a:gd name="connsiteX227" fmla="*/ 256676 w 447675"/>
                  <a:gd name="connsiteY227" fmla="*/ 64857 h 171450"/>
                  <a:gd name="connsiteX228" fmla="*/ 249298 w 447675"/>
                  <a:gd name="connsiteY228" fmla="*/ 64857 h 171450"/>
                  <a:gd name="connsiteX229" fmla="*/ 245609 w 447675"/>
                  <a:gd name="connsiteY229" fmla="*/ 64857 h 171450"/>
                  <a:gd name="connsiteX230" fmla="*/ 241920 w 447675"/>
                  <a:gd name="connsiteY230" fmla="*/ 61171 h 171450"/>
                  <a:gd name="connsiteX231" fmla="*/ 238231 w 447675"/>
                  <a:gd name="connsiteY231" fmla="*/ 61171 h 171450"/>
                  <a:gd name="connsiteX232" fmla="*/ 238231 w 447675"/>
                  <a:gd name="connsiteY232" fmla="*/ 64857 h 171450"/>
                  <a:gd name="connsiteX233" fmla="*/ 234541 w 447675"/>
                  <a:gd name="connsiteY233" fmla="*/ 61171 h 171450"/>
                  <a:gd name="connsiteX234" fmla="*/ 234541 w 447675"/>
                  <a:gd name="connsiteY234" fmla="*/ 64857 h 171450"/>
                  <a:gd name="connsiteX235" fmla="*/ 234541 w 447675"/>
                  <a:gd name="connsiteY235" fmla="*/ 68553 h 171450"/>
                  <a:gd name="connsiteX236" fmla="*/ 230852 w 447675"/>
                  <a:gd name="connsiteY236" fmla="*/ 61171 h 171450"/>
                  <a:gd name="connsiteX237" fmla="*/ 230852 w 447675"/>
                  <a:gd name="connsiteY237" fmla="*/ 57475 h 171450"/>
                  <a:gd name="connsiteX238" fmla="*/ 227162 w 447675"/>
                  <a:gd name="connsiteY238" fmla="*/ 57475 h 171450"/>
                  <a:gd name="connsiteX239" fmla="*/ 223473 w 447675"/>
                  <a:gd name="connsiteY239" fmla="*/ 57475 h 171450"/>
                  <a:gd name="connsiteX240" fmla="*/ 223473 w 447675"/>
                  <a:gd name="connsiteY240" fmla="*/ 53789 h 171450"/>
                  <a:gd name="connsiteX241" fmla="*/ 212406 w 447675"/>
                  <a:gd name="connsiteY241" fmla="*/ 53789 h 171450"/>
                  <a:gd name="connsiteX242" fmla="*/ 212406 w 447675"/>
                  <a:gd name="connsiteY242" fmla="*/ 64857 h 171450"/>
                  <a:gd name="connsiteX243" fmla="*/ 205027 w 447675"/>
                  <a:gd name="connsiteY243" fmla="*/ 61171 h 171450"/>
                  <a:gd name="connsiteX244" fmla="*/ 205027 w 447675"/>
                  <a:gd name="connsiteY244" fmla="*/ 57475 h 171450"/>
                  <a:gd name="connsiteX245" fmla="*/ 208716 w 447675"/>
                  <a:gd name="connsiteY245" fmla="*/ 53789 h 171450"/>
                  <a:gd name="connsiteX246" fmla="*/ 205027 w 447675"/>
                  <a:gd name="connsiteY246" fmla="*/ 53789 h 171450"/>
                  <a:gd name="connsiteX247" fmla="*/ 197649 w 447675"/>
                  <a:gd name="connsiteY247" fmla="*/ 53789 h 171450"/>
                  <a:gd name="connsiteX248" fmla="*/ 193960 w 447675"/>
                  <a:gd name="connsiteY248" fmla="*/ 53789 h 171450"/>
                  <a:gd name="connsiteX249" fmla="*/ 190271 w 447675"/>
                  <a:gd name="connsiteY249" fmla="*/ 53789 h 171450"/>
                  <a:gd name="connsiteX250" fmla="*/ 186581 w 447675"/>
                  <a:gd name="connsiteY250" fmla="*/ 53789 h 171450"/>
                  <a:gd name="connsiteX251" fmla="*/ 186581 w 447675"/>
                  <a:gd name="connsiteY251" fmla="*/ 50093 h 171450"/>
                  <a:gd name="connsiteX252" fmla="*/ 182892 w 447675"/>
                  <a:gd name="connsiteY252" fmla="*/ 46407 h 171450"/>
                  <a:gd name="connsiteX253" fmla="*/ 179203 w 447675"/>
                  <a:gd name="connsiteY253" fmla="*/ 42711 h 171450"/>
                  <a:gd name="connsiteX254" fmla="*/ 175514 w 447675"/>
                  <a:gd name="connsiteY254" fmla="*/ 42711 h 171450"/>
                  <a:gd name="connsiteX255" fmla="*/ 175514 w 447675"/>
                  <a:gd name="connsiteY255" fmla="*/ 39025 h 171450"/>
                  <a:gd name="connsiteX256" fmla="*/ 171825 w 447675"/>
                  <a:gd name="connsiteY256" fmla="*/ 35339 h 171450"/>
                  <a:gd name="connsiteX257" fmla="*/ 160757 w 447675"/>
                  <a:gd name="connsiteY257" fmla="*/ 35339 h 171450"/>
                  <a:gd name="connsiteX258" fmla="*/ 153379 w 447675"/>
                  <a:gd name="connsiteY258" fmla="*/ 31643 h 171450"/>
                  <a:gd name="connsiteX259" fmla="*/ 149690 w 447675"/>
                  <a:gd name="connsiteY259" fmla="*/ 31643 h 171450"/>
                  <a:gd name="connsiteX260" fmla="*/ 138622 w 447675"/>
                  <a:gd name="connsiteY260" fmla="*/ 27957 h 171450"/>
                  <a:gd name="connsiteX261" fmla="*/ 134933 w 447675"/>
                  <a:gd name="connsiteY261" fmla="*/ 27957 h 171450"/>
                  <a:gd name="connsiteX262" fmla="*/ 134933 w 447675"/>
                  <a:gd name="connsiteY262" fmla="*/ 24262 h 171450"/>
                  <a:gd name="connsiteX263" fmla="*/ 131244 w 447675"/>
                  <a:gd name="connsiteY263" fmla="*/ 24262 h 171450"/>
                  <a:gd name="connsiteX264" fmla="*/ 123866 w 447675"/>
                  <a:gd name="connsiteY264" fmla="*/ 20575 h 171450"/>
                  <a:gd name="connsiteX265" fmla="*/ 120177 w 447675"/>
                  <a:gd name="connsiteY265" fmla="*/ 20575 h 171450"/>
                  <a:gd name="connsiteX266" fmla="*/ 116487 w 447675"/>
                  <a:gd name="connsiteY266" fmla="*/ 16880 h 171450"/>
                  <a:gd name="connsiteX267" fmla="*/ 112798 w 447675"/>
                  <a:gd name="connsiteY267" fmla="*/ 13194 h 171450"/>
                  <a:gd name="connsiteX268" fmla="*/ 109109 w 447675"/>
                  <a:gd name="connsiteY268" fmla="*/ 13194 h 171450"/>
                  <a:gd name="connsiteX269" fmla="*/ 105420 w 447675"/>
                  <a:gd name="connsiteY269" fmla="*/ 9498 h 171450"/>
                  <a:gd name="connsiteX270" fmla="*/ 101731 w 447675"/>
                  <a:gd name="connsiteY270" fmla="*/ 9498 h 171450"/>
                  <a:gd name="connsiteX271" fmla="*/ 101731 w 447675"/>
                  <a:gd name="connsiteY271" fmla="*/ 5812 h 171450"/>
                  <a:gd name="connsiteX272" fmla="*/ 90663 w 447675"/>
                  <a:gd name="connsiteY272" fmla="*/ 5812 h 171450"/>
                  <a:gd name="connsiteX273" fmla="*/ 86974 w 447675"/>
                  <a:gd name="connsiteY273" fmla="*/ 5812 h 171450"/>
                  <a:gd name="connsiteX274" fmla="*/ 79595 w 447675"/>
                  <a:gd name="connsiteY274" fmla="*/ 5812 h 171450"/>
                  <a:gd name="connsiteX275" fmla="*/ 415311 w 447675"/>
                  <a:gd name="connsiteY275" fmla="*/ 57475 h 171450"/>
                  <a:gd name="connsiteX276" fmla="*/ 411622 w 447675"/>
                  <a:gd name="connsiteY276" fmla="*/ 53789 h 171450"/>
                  <a:gd name="connsiteX277" fmla="*/ 407933 w 447675"/>
                  <a:gd name="connsiteY277" fmla="*/ 57475 h 171450"/>
                  <a:gd name="connsiteX278" fmla="*/ 415311 w 447675"/>
                  <a:gd name="connsiteY278" fmla="*/ 57475 h 171450"/>
                  <a:gd name="connsiteX279" fmla="*/ 411622 w 447675"/>
                  <a:gd name="connsiteY279" fmla="*/ 53789 h 171450"/>
                  <a:gd name="connsiteX280" fmla="*/ 415311 w 447675"/>
                  <a:gd name="connsiteY280" fmla="*/ 53789 h 171450"/>
                  <a:gd name="connsiteX281" fmla="*/ 419000 w 447675"/>
                  <a:gd name="connsiteY281" fmla="*/ 53789 h 171450"/>
                  <a:gd name="connsiteX282" fmla="*/ 422690 w 447675"/>
                  <a:gd name="connsiteY282" fmla="*/ 53789 h 171450"/>
                  <a:gd name="connsiteX283" fmla="*/ 419000 w 447675"/>
                  <a:gd name="connsiteY283" fmla="*/ 50093 h 171450"/>
                  <a:gd name="connsiteX284" fmla="*/ 415311 w 447675"/>
                  <a:gd name="connsiteY284" fmla="*/ 50093 h 171450"/>
                  <a:gd name="connsiteX285" fmla="*/ 411622 w 447675"/>
                  <a:gd name="connsiteY285" fmla="*/ 50093 h 171450"/>
                  <a:gd name="connsiteX286" fmla="*/ 411622 w 447675"/>
                  <a:gd name="connsiteY286" fmla="*/ 53789 h 171450"/>
                  <a:gd name="connsiteX287" fmla="*/ 419000 w 447675"/>
                  <a:gd name="connsiteY287" fmla="*/ 42711 h 171450"/>
                  <a:gd name="connsiteX288" fmla="*/ 422690 w 447675"/>
                  <a:gd name="connsiteY288" fmla="*/ 46407 h 171450"/>
                  <a:gd name="connsiteX289" fmla="*/ 419000 w 447675"/>
                  <a:gd name="connsiteY289" fmla="*/ 46407 h 171450"/>
                  <a:gd name="connsiteX290" fmla="*/ 419000 w 447675"/>
                  <a:gd name="connsiteY290" fmla="*/ 42711 h 171450"/>
                  <a:gd name="connsiteX291" fmla="*/ 426379 w 447675"/>
                  <a:gd name="connsiteY291" fmla="*/ 42711 h 171450"/>
                  <a:gd name="connsiteX292" fmla="*/ 430068 w 447675"/>
                  <a:gd name="connsiteY292" fmla="*/ 42711 h 171450"/>
                  <a:gd name="connsiteX293" fmla="*/ 426379 w 447675"/>
                  <a:gd name="connsiteY293" fmla="*/ 46407 h 171450"/>
                  <a:gd name="connsiteX294" fmla="*/ 426379 w 447675"/>
                  <a:gd name="connsiteY294" fmla="*/ 42711 h 171450"/>
                  <a:gd name="connsiteX295" fmla="*/ 400555 w 447675"/>
                  <a:gd name="connsiteY295" fmla="*/ 68553 h 171450"/>
                  <a:gd name="connsiteX296" fmla="*/ 404244 w 447675"/>
                  <a:gd name="connsiteY296" fmla="*/ 68553 h 171450"/>
                  <a:gd name="connsiteX297" fmla="*/ 404244 w 447675"/>
                  <a:gd name="connsiteY297" fmla="*/ 72239 h 171450"/>
                  <a:gd name="connsiteX298" fmla="*/ 400555 w 447675"/>
                  <a:gd name="connsiteY298" fmla="*/ 72239 h 171450"/>
                  <a:gd name="connsiteX299" fmla="*/ 400555 w 447675"/>
                  <a:gd name="connsiteY299" fmla="*/ 6855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Lst>
                <a:rect l="l" t="t" r="r" b="b"/>
                <a:pathLst>
                  <a:path w="447675" h="171450">
                    <a:moveTo>
                      <a:pt x="79595" y="5812"/>
                    </a:moveTo>
                    <a:lnTo>
                      <a:pt x="79595" y="9498"/>
                    </a:lnTo>
                    <a:lnTo>
                      <a:pt x="75906" y="9498"/>
                    </a:lnTo>
                    <a:lnTo>
                      <a:pt x="72217" y="9498"/>
                    </a:lnTo>
                    <a:lnTo>
                      <a:pt x="64839" y="13194"/>
                    </a:lnTo>
                    <a:lnTo>
                      <a:pt x="61149" y="13194"/>
                    </a:lnTo>
                    <a:lnTo>
                      <a:pt x="57460" y="13194"/>
                    </a:lnTo>
                    <a:lnTo>
                      <a:pt x="53771" y="16880"/>
                    </a:lnTo>
                    <a:lnTo>
                      <a:pt x="50082" y="16880"/>
                    </a:lnTo>
                    <a:lnTo>
                      <a:pt x="46393" y="16880"/>
                    </a:lnTo>
                    <a:lnTo>
                      <a:pt x="42703" y="16880"/>
                    </a:lnTo>
                    <a:lnTo>
                      <a:pt x="39014" y="16880"/>
                    </a:lnTo>
                    <a:lnTo>
                      <a:pt x="35325" y="16880"/>
                    </a:lnTo>
                    <a:lnTo>
                      <a:pt x="35325" y="20575"/>
                    </a:lnTo>
                    <a:lnTo>
                      <a:pt x="31636" y="20575"/>
                    </a:lnTo>
                    <a:lnTo>
                      <a:pt x="27947" y="24262"/>
                    </a:lnTo>
                    <a:lnTo>
                      <a:pt x="24258" y="24262"/>
                    </a:lnTo>
                    <a:lnTo>
                      <a:pt x="20568" y="24262"/>
                    </a:lnTo>
                    <a:lnTo>
                      <a:pt x="16879" y="27957"/>
                    </a:lnTo>
                    <a:lnTo>
                      <a:pt x="13190" y="27957"/>
                    </a:lnTo>
                    <a:lnTo>
                      <a:pt x="13190" y="31643"/>
                    </a:lnTo>
                    <a:lnTo>
                      <a:pt x="16879" y="35339"/>
                    </a:lnTo>
                    <a:lnTo>
                      <a:pt x="16879" y="42711"/>
                    </a:lnTo>
                    <a:lnTo>
                      <a:pt x="16879" y="46407"/>
                    </a:lnTo>
                    <a:lnTo>
                      <a:pt x="16879" y="50093"/>
                    </a:lnTo>
                    <a:lnTo>
                      <a:pt x="20568" y="53789"/>
                    </a:lnTo>
                    <a:lnTo>
                      <a:pt x="20568" y="61171"/>
                    </a:lnTo>
                    <a:lnTo>
                      <a:pt x="9501" y="72239"/>
                    </a:lnTo>
                    <a:lnTo>
                      <a:pt x="5812" y="75935"/>
                    </a:lnTo>
                    <a:lnTo>
                      <a:pt x="9501" y="79621"/>
                    </a:lnTo>
                    <a:lnTo>
                      <a:pt x="16879" y="87003"/>
                    </a:lnTo>
                    <a:lnTo>
                      <a:pt x="13190" y="87003"/>
                    </a:lnTo>
                    <a:lnTo>
                      <a:pt x="9501" y="87003"/>
                    </a:lnTo>
                    <a:lnTo>
                      <a:pt x="9501" y="90689"/>
                    </a:lnTo>
                    <a:lnTo>
                      <a:pt x="13190" y="94385"/>
                    </a:lnTo>
                    <a:lnTo>
                      <a:pt x="16879" y="98071"/>
                    </a:lnTo>
                    <a:lnTo>
                      <a:pt x="16879" y="101766"/>
                    </a:lnTo>
                    <a:lnTo>
                      <a:pt x="13190" y="105453"/>
                    </a:lnTo>
                    <a:lnTo>
                      <a:pt x="16879" y="109148"/>
                    </a:lnTo>
                    <a:lnTo>
                      <a:pt x="20568" y="109148"/>
                    </a:lnTo>
                    <a:lnTo>
                      <a:pt x="24258" y="116530"/>
                    </a:lnTo>
                    <a:lnTo>
                      <a:pt x="27947" y="116530"/>
                    </a:lnTo>
                    <a:lnTo>
                      <a:pt x="31636" y="123912"/>
                    </a:lnTo>
                    <a:lnTo>
                      <a:pt x="35325" y="120216"/>
                    </a:lnTo>
                    <a:lnTo>
                      <a:pt x="39014" y="123912"/>
                    </a:lnTo>
                    <a:lnTo>
                      <a:pt x="39014" y="127598"/>
                    </a:lnTo>
                    <a:lnTo>
                      <a:pt x="39014" y="131294"/>
                    </a:lnTo>
                    <a:lnTo>
                      <a:pt x="42703" y="131294"/>
                    </a:lnTo>
                    <a:lnTo>
                      <a:pt x="46393" y="134980"/>
                    </a:lnTo>
                    <a:lnTo>
                      <a:pt x="50082" y="134980"/>
                    </a:lnTo>
                    <a:lnTo>
                      <a:pt x="61149" y="134980"/>
                    </a:lnTo>
                    <a:lnTo>
                      <a:pt x="90663" y="131294"/>
                    </a:lnTo>
                    <a:lnTo>
                      <a:pt x="86974" y="105453"/>
                    </a:lnTo>
                    <a:lnTo>
                      <a:pt x="83284" y="101766"/>
                    </a:lnTo>
                    <a:lnTo>
                      <a:pt x="90663" y="98071"/>
                    </a:lnTo>
                    <a:lnTo>
                      <a:pt x="94352" y="101766"/>
                    </a:lnTo>
                    <a:lnTo>
                      <a:pt x="98042" y="101766"/>
                    </a:lnTo>
                    <a:lnTo>
                      <a:pt x="98042" y="98071"/>
                    </a:lnTo>
                    <a:lnTo>
                      <a:pt x="101731" y="98071"/>
                    </a:lnTo>
                    <a:lnTo>
                      <a:pt x="105420" y="98071"/>
                    </a:lnTo>
                    <a:lnTo>
                      <a:pt x="105420" y="94385"/>
                    </a:lnTo>
                    <a:lnTo>
                      <a:pt x="109109" y="94385"/>
                    </a:lnTo>
                    <a:lnTo>
                      <a:pt x="112798" y="98071"/>
                    </a:lnTo>
                    <a:lnTo>
                      <a:pt x="116487" y="101766"/>
                    </a:lnTo>
                    <a:lnTo>
                      <a:pt x="120177" y="98071"/>
                    </a:lnTo>
                    <a:lnTo>
                      <a:pt x="116487" y="90689"/>
                    </a:lnTo>
                    <a:lnTo>
                      <a:pt x="123866" y="87003"/>
                    </a:lnTo>
                    <a:lnTo>
                      <a:pt x="127555" y="90689"/>
                    </a:lnTo>
                    <a:lnTo>
                      <a:pt x="134933" y="94385"/>
                    </a:lnTo>
                    <a:lnTo>
                      <a:pt x="138622" y="98071"/>
                    </a:lnTo>
                    <a:lnTo>
                      <a:pt x="146001" y="101766"/>
                    </a:lnTo>
                    <a:lnTo>
                      <a:pt x="149690" y="101766"/>
                    </a:lnTo>
                    <a:lnTo>
                      <a:pt x="149690" y="98071"/>
                    </a:lnTo>
                    <a:lnTo>
                      <a:pt x="157068" y="98071"/>
                    </a:lnTo>
                    <a:lnTo>
                      <a:pt x="164446" y="105453"/>
                    </a:lnTo>
                    <a:lnTo>
                      <a:pt x="168136" y="105453"/>
                    </a:lnTo>
                    <a:lnTo>
                      <a:pt x="171825" y="109148"/>
                    </a:lnTo>
                    <a:lnTo>
                      <a:pt x="171825" y="112835"/>
                    </a:lnTo>
                    <a:lnTo>
                      <a:pt x="182892" y="112835"/>
                    </a:lnTo>
                    <a:lnTo>
                      <a:pt x="186581" y="116530"/>
                    </a:lnTo>
                    <a:lnTo>
                      <a:pt x="186581" y="112835"/>
                    </a:lnTo>
                    <a:lnTo>
                      <a:pt x="201338" y="116530"/>
                    </a:lnTo>
                    <a:lnTo>
                      <a:pt x="205027" y="116530"/>
                    </a:lnTo>
                    <a:lnTo>
                      <a:pt x="208716" y="123912"/>
                    </a:lnTo>
                    <a:lnTo>
                      <a:pt x="212406" y="123912"/>
                    </a:lnTo>
                    <a:lnTo>
                      <a:pt x="212406" y="120216"/>
                    </a:lnTo>
                    <a:lnTo>
                      <a:pt x="216095" y="123912"/>
                    </a:lnTo>
                    <a:lnTo>
                      <a:pt x="219784" y="127598"/>
                    </a:lnTo>
                    <a:lnTo>
                      <a:pt x="223473" y="127598"/>
                    </a:lnTo>
                    <a:lnTo>
                      <a:pt x="223473" y="131294"/>
                    </a:lnTo>
                    <a:lnTo>
                      <a:pt x="219784" y="134980"/>
                    </a:lnTo>
                    <a:lnTo>
                      <a:pt x="219784" y="142362"/>
                    </a:lnTo>
                    <a:lnTo>
                      <a:pt x="219784" y="153430"/>
                    </a:lnTo>
                    <a:lnTo>
                      <a:pt x="219784" y="160812"/>
                    </a:lnTo>
                    <a:lnTo>
                      <a:pt x="223473" y="164508"/>
                    </a:lnTo>
                    <a:lnTo>
                      <a:pt x="227162" y="164508"/>
                    </a:lnTo>
                    <a:lnTo>
                      <a:pt x="227162" y="160812"/>
                    </a:lnTo>
                    <a:lnTo>
                      <a:pt x="230852" y="164508"/>
                    </a:lnTo>
                    <a:lnTo>
                      <a:pt x="234541" y="164508"/>
                    </a:lnTo>
                    <a:lnTo>
                      <a:pt x="238231" y="164508"/>
                    </a:lnTo>
                    <a:lnTo>
                      <a:pt x="241920" y="164508"/>
                    </a:lnTo>
                    <a:lnTo>
                      <a:pt x="245609" y="164508"/>
                    </a:lnTo>
                    <a:lnTo>
                      <a:pt x="249298" y="164508"/>
                    </a:lnTo>
                    <a:lnTo>
                      <a:pt x="252987" y="164508"/>
                    </a:lnTo>
                    <a:lnTo>
                      <a:pt x="256676" y="164508"/>
                    </a:lnTo>
                    <a:lnTo>
                      <a:pt x="264055" y="157126"/>
                    </a:lnTo>
                    <a:lnTo>
                      <a:pt x="267744" y="157126"/>
                    </a:lnTo>
                    <a:lnTo>
                      <a:pt x="271433" y="157126"/>
                    </a:lnTo>
                    <a:lnTo>
                      <a:pt x="271433" y="164508"/>
                    </a:lnTo>
                    <a:lnTo>
                      <a:pt x="267744" y="164508"/>
                    </a:lnTo>
                    <a:lnTo>
                      <a:pt x="264055" y="168194"/>
                    </a:lnTo>
                    <a:lnTo>
                      <a:pt x="267744" y="171890"/>
                    </a:lnTo>
                    <a:lnTo>
                      <a:pt x="271433" y="171890"/>
                    </a:lnTo>
                    <a:lnTo>
                      <a:pt x="275122" y="171890"/>
                    </a:lnTo>
                    <a:lnTo>
                      <a:pt x="282501" y="168194"/>
                    </a:lnTo>
                    <a:lnTo>
                      <a:pt x="286190" y="168194"/>
                    </a:lnTo>
                    <a:lnTo>
                      <a:pt x="282501" y="160812"/>
                    </a:lnTo>
                    <a:lnTo>
                      <a:pt x="289879" y="157126"/>
                    </a:lnTo>
                    <a:lnTo>
                      <a:pt x="293568" y="164508"/>
                    </a:lnTo>
                    <a:lnTo>
                      <a:pt x="297257" y="164508"/>
                    </a:lnTo>
                    <a:lnTo>
                      <a:pt x="297257" y="160812"/>
                    </a:lnTo>
                    <a:lnTo>
                      <a:pt x="300946" y="160812"/>
                    </a:lnTo>
                    <a:lnTo>
                      <a:pt x="304635" y="160812"/>
                    </a:lnTo>
                    <a:lnTo>
                      <a:pt x="308325" y="157126"/>
                    </a:lnTo>
                    <a:lnTo>
                      <a:pt x="308325" y="153430"/>
                    </a:lnTo>
                    <a:lnTo>
                      <a:pt x="315703" y="153430"/>
                    </a:lnTo>
                    <a:lnTo>
                      <a:pt x="319392" y="146048"/>
                    </a:lnTo>
                    <a:lnTo>
                      <a:pt x="323081" y="146048"/>
                    </a:lnTo>
                    <a:lnTo>
                      <a:pt x="326770" y="142362"/>
                    </a:lnTo>
                    <a:lnTo>
                      <a:pt x="334149" y="138666"/>
                    </a:lnTo>
                    <a:lnTo>
                      <a:pt x="337838" y="138666"/>
                    </a:lnTo>
                    <a:lnTo>
                      <a:pt x="337838" y="142362"/>
                    </a:lnTo>
                    <a:lnTo>
                      <a:pt x="341527" y="142362"/>
                    </a:lnTo>
                    <a:lnTo>
                      <a:pt x="345216" y="138666"/>
                    </a:lnTo>
                    <a:lnTo>
                      <a:pt x="345216" y="142362"/>
                    </a:lnTo>
                    <a:lnTo>
                      <a:pt x="352595" y="142362"/>
                    </a:lnTo>
                    <a:lnTo>
                      <a:pt x="356284" y="138666"/>
                    </a:lnTo>
                    <a:lnTo>
                      <a:pt x="359973" y="138666"/>
                    </a:lnTo>
                    <a:lnTo>
                      <a:pt x="363662" y="134980"/>
                    </a:lnTo>
                    <a:lnTo>
                      <a:pt x="371040" y="127598"/>
                    </a:lnTo>
                    <a:lnTo>
                      <a:pt x="378419" y="123912"/>
                    </a:lnTo>
                    <a:lnTo>
                      <a:pt x="385798" y="120216"/>
                    </a:lnTo>
                    <a:lnTo>
                      <a:pt x="404244" y="105453"/>
                    </a:lnTo>
                    <a:lnTo>
                      <a:pt x="407933" y="101766"/>
                    </a:lnTo>
                    <a:lnTo>
                      <a:pt x="444825" y="57475"/>
                    </a:lnTo>
                    <a:lnTo>
                      <a:pt x="441135" y="57475"/>
                    </a:lnTo>
                    <a:lnTo>
                      <a:pt x="441135" y="53789"/>
                    </a:lnTo>
                    <a:lnTo>
                      <a:pt x="437446" y="53789"/>
                    </a:lnTo>
                    <a:lnTo>
                      <a:pt x="437446" y="50093"/>
                    </a:lnTo>
                    <a:lnTo>
                      <a:pt x="437446" y="46407"/>
                    </a:lnTo>
                    <a:lnTo>
                      <a:pt x="433757" y="50093"/>
                    </a:lnTo>
                    <a:lnTo>
                      <a:pt x="433757" y="46407"/>
                    </a:lnTo>
                    <a:lnTo>
                      <a:pt x="433757" y="42711"/>
                    </a:lnTo>
                    <a:lnTo>
                      <a:pt x="430068" y="39025"/>
                    </a:lnTo>
                    <a:lnTo>
                      <a:pt x="426379" y="39025"/>
                    </a:lnTo>
                    <a:lnTo>
                      <a:pt x="422690" y="39025"/>
                    </a:lnTo>
                    <a:lnTo>
                      <a:pt x="426379" y="35339"/>
                    </a:lnTo>
                    <a:lnTo>
                      <a:pt x="422690" y="35339"/>
                    </a:lnTo>
                    <a:lnTo>
                      <a:pt x="419000" y="35339"/>
                    </a:lnTo>
                    <a:lnTo>
                      <a:pt x="419000" y="39025"/>
                    </a:lnTo>
                    <a:lnTo>
                      <a:pt x="415311" y="42711"/>
                    </a:lnTo>
                    <a:lnTo>
                      <a:pt x="415311" y="46407"/>
                    </a:lnTo>
                    <a:lnTo>
                      <a:pt x="419000" y="50093"/>
                    </a:lnTo>
                    <a:lnTo>
                      <a:pt x="422690" y="50093"/>
                    </a:lnTo>
                    <a:lnTo>
                      <a:pt x="422690" y="53789"/>
                    </a:lnTo>
                    <a:lnTo>
                      <a:pt x="422690" y="57475"/>
                    </a:lnTo>
                    <a:lnTo>
                      <a:pt x="419000" y="53789"/>
                    </a:lnTo>
                    <a:lnTo>
                      <a:pt x="415311" y="57475"/>
                    </a:lnTo>
                    <a:lnTo>
                      <a:pt x="419000" y="57475"/>
                    </a:lnTo>
                    <a:lnTo>
                      <a:pt x="415311" y="61171"/>
                    </a:lnTo>
                    <a:lnTo>
                      <a:pt x="419000" y="61171"/>
                    </a:lnTo>
                    <a:lnTo>
                      <a:pt x="419000" y="64857"/>
                    </a:lnTo>
                    <a:lnTo>
                      <a:pt x="415311" y="61171"/>
                    </a:lnTo>
                    <a:lnTo>
                      <a:pt x="407933" y="61171"/>
                    </a:lnTo>
                    <a:lnTo>
                      <a:pt x="411622" y="64857"/>
                    </a:lnTo>
                    <a:lnTo>
                      <a:pt x="411622" y="68553"/>
                    </a:lnTo>
                    <a:lnTo>
                      <a:pt x="407933" y="61171"/>
                    </a:lnTo>
                    <a:lnTo>
                      <a:pt x="404244" y="57475"/>
                    </a:lnTo>
                    <a:lnTo>
                      <a:pt x="400555" y="57475"/>
                    </a:lnTo>
                    <a:lnTo>
                      <a:pt x="404244" y="61171"/>
                    </a:lnTo>
                    <a:lnTo>
                      <a:pt x="407933" y="64857"/>
                    </a:lnTo>
                    <a:lnTo>
                      <a:pt x="404244" y="64857"/>
                    </a:lnTo>
                    <a:lnTo>
                      <a:pt x="404244" y="61171"/>
                    </a:lnTo>
                    <a:lnTo>
                      <a:pt x="400555" y="61171"/>
                    </a:lnTo>
                    <a:lnTo>
                      <a:pt x="396865" y="61171"/>
                    </a:lnTo>
                    <a:lnTo>
                      <a:pt x="393176" y="61171"/>
                    </a:lnTo>
                    <a:lnTo>
                      <a:pt x="393176" y="64857"/>
                    </a:lnTo>
                    <a:lnTo>
                      <a:pt x="396865" y="64857"/>
                    </a:lnTo>
                    <a:lnTo>
                      <a:pt x="396865" y="68553"/>
                    </a:lnTo>
                    <a:lnTo>
                      <a:pt x="393176" y="68553"/>
                    </a:lnTo>
                    <a:lnTo>
                      <a:pt x="385798" y="53789"/>
                    </a:lnTo>
                    <a:lnTo>
                      <a:pt x="382109" y="53789"/>
                    </a:lnTo>
                    <a:lnTo>
                      <a:pt x="371040" y="46407"/>
                    </a:lnTo>
                    <a:lnTo>
                      <a:pt x="371040" y="42711"/>
                    </a:lnTo>
                    <a:lnTo>
                      <a:pt x="367351" y="42711"/>
                    </a:lnTo>
                    <a:lnTo>
                      <a:pt x="367351" y="46407"/>
                    </a:lnTo>
                    <a:lnTo>
                      <a:pt x="352595" y="42711"/>
                    </a:lnTo>
                    <a:lnTo>
                      <a:pt x="348905" y="39025"/>
                    </a:lnTo>
                    <a:lnTo>
                      <a:pt x="348905" y="35339"/>
                    </a:lnTo>
                    <a:lnTo>
                      <a:pt x="345216" y="31643"/>
                    </a:lnTo>
                    <a:lnTo>
                      <a:pt x="345216" y="27957"/>
                    </a:lnTo>
                    <a:lnTo>
                      <a:pt x="341527" y="24262"/>
                    </a:lnTo>
                    <a:lnTo>
                      <a:pt x="345216" y="20575"/>
                    </a:lnTo>
                    <a:lnTo>
                      <a:pt x="341527" y="20575"/>
                    </a:lnTo>
                    <a:lnTo>
                      <a:pt x="337838" y="16880"/>
                    </a:lnTo>
                    <a:lnTo>
                      <a:pt x="337838" y="13194"/>
                    </a:lnTo>
                    <a:lnTo>
                      <a:pt x="330460" y="13194"/>
                    </a:lnTo>
                    <a:lnTo>
                      <a:pt x="326770" y="13194"/>
                    </a:lnTo>
                    <a:lnTo>
                      <a:pt x="323081" y="9498"/>
                    </a:lnTo>
                    <a:lnTo>
                      <a:pt x="315703" y="9498"/>
                    </a:lnTo>
                    <a:lnTo>
                      <a:pt x="312014" y="16880"/>
                    </a:lnTo>
                    <a:lnTo>
                      <a:pt x="312014" y="20575"/>
                    </a:lnTo>
                    <a:lnTo>
                      <a:pt x="308325" y="20575"/>
                    </a:lnTo>
                    <a:lnTo>
                      <a:pt x="308325" y="27957"/>
                    </a:lnTo>
                    <a:lnTo>
                      <a:pt x="308325" y="31643"/>
                    </a:lnTo>
                    <a:lnTo>
                      <a:pt x="308325" y="35339"/>
                    </a:lnTo>
                    <a:lnTo>
                      <a:pt x="308325" y="39025"/>
                    </a:lnTo>
                    <a:lnTo>
                      <a:pt x="304635" y="42711"/>
                    </a:lnTo>
                    <a:lnTo>
                      <a:pt x="297257" y="42711"/>
                    </a:lnTo>
                    <a:lnTo>
                      <a:pt x="286190" y="46407"/>
                    </a:lnTo>
                    <a:lnTo>
                      <a:pt x="278811" y="50093"/>
                    </a:lnTo>
                    <a:lnTo>
                      <a:pt x="275122" y="53789"/>
                    </a:lnTo>
                    <a:lnTo>
                      <a:pt x="271433" y="53789"/>
                    </a:lnTo>
                    <a:lnTo>
                      <a:pt x="271433" y="57475"/>
                    </a:lnTo>
                    <a:lnTo>
                      <a:pt x="264055" y="57475"/>
                    </a:lnTo>
                    <a:lnTo>
                      <a:pt x="264055" y="61171"/>
                    </a:lnTo>
                    <a:lnTo>
                      <a:pt x="260366" y="64857"/>
                    </a:lnTo>
                    <a:lnTo>
                      <a:pt x="256676" y="64857"/>
                    </a:lnTo>
                    <a:lnTo>
                      <a:pt x="249298" y="64857"/>
                    </a:lnTo>
                    <a:lnTo>
                      <a:pt x="245609" y="64857"/>
                    </a:lnTo>
                    <a:lnTo>
                      <a:pt x="241920" y="61171"/>
                    </a:lnTo>
                    <a:lnTo>
                      <a:pt x="238231" y="61171"/>
                    </a:lnTo>
                    <a:lnTo>
                      <a:pt x="238231" y="64857"/>
                    </a:lnTo>
                    <a:lnTo>
                      <a:pt x="234541" y="61171"/>
                    </a:lnTo>
                    <a:lnTo>
                      <a:pt x="234541" y="64857"/>
                    </a:lnTo>
                    <a:lnTo>
                      <a:pt x="234541" y="68553"/>
                    </a:lnTo>
                    <a:lnTo>
                      <a:pt x="230852" y="61171"/>
                    </a:lnTo>
                    <a:lnTo>
                      <a:pt x="230852" y="57475"/>
                    </a:lnTo>
                    <a:lnTo>
                      <a:pt x="227162" y="57475"/>
                    </a:lnTo>
                    <a:lnTo>
                      <a:pt x="223473" y="57475"/>
                    </a:lnTo>
                    <a:lnTo>
                      <a:pt x="223473" y="53789"/>
                    </a:lnTo>
                    <a:lnTo>
                      <a:pt x="212406" y="53789"/>
                    </a:lnTo>
                    <a:lnTo>
                      <a:pt x="212406" y="64857"/>
                    </a:lnTo>
                    <a:lnTo>
                      <a:pt x="205027" y="61171"/>
                    </a:lnTo>
                    <a:lnTo>
                      <a:pt x="205027" y="57475"/>
                    </a:lnTo>
                    <a:lnTo>
                      <a:pt x="208716" y="53789"/>
                    </a:lnTo>
                    <a:lnTo>
                      <a:pt x="205027" y="53789"/>
                    </a:lnTo>
                    <a:lnTo>
                      <a:pt x="197649" y="53789"/>
                    </a:lnTo>
                    <a:lnTo>
                      <a:pt x="193960" y="53789"/>
                    </a:lnTo>
                    <a:lnTo>
                      <a:pt x="190271" y="53789"/>
                    </a:lnTo>
                    <a:lnTo>
                      <a:pt x="186581" y="53789"/>
                    </a:lnTo>
                    <a:lnTo>
                      <a:pt x="186581" y="50093"/>
                    </a:lnTo>
                    <a:lnTo>
                      <a:pt x="182892" y="46407"/>
                    </a:lnTo>
                    <a:lnTo>
                      <a:pt x="179203" y="42711"/>
                    </a:lnTo>
                    <a:lnTo>
                      <a:pt x="175514" y="42711"/>
                    </a:lnTo>
                    <a:lnTo>
                      <a:pt x="175514" y="39025"/>
                    </a:lnTo>
                    <a:lnTo>
                      <a:pt x="171825" y="35339"/>
                    </a:lnTo>
                    <a:lnTo>
                      <a:pt x="160757" y="35339"/>
                    </a:lnTo>
                    <a:lnTo>
                      <a:pt x="153379" y="31643"/>
                    </a:lnTo>
                    <a:lnTo>
                      <a:pt x="149690" y="31643"/>
                    </a:lnTo>
                    <a:lnTo>
                      <a:pt x="138622" y="27957"/>
                    </a:lnTo>
                    <a:lnTo>
                      <a:pt x="134933" y="27957"/>
                    </a:lnTo>
                    <a:lnTo>
                      <a:pt x="134933" y="24262"/>
                    </a:lnTo>
                    <a:lnTo>
                      <a:pt x="131244" y="24262"/>
                    </a:lnTo>
                    <a:lnTo>
                      <a:pt x="123866" y="20575"/>
                    </a:lnTo>
                    <a:lnTo>
                      <a:pt x="120177" y="20575"/>
                    </a:lnTo>
                    <a:lnTo>
                      <a:pt x="116487" y="16880"/>
                    </a:lnTo>
                    <a:lnTo>
                      <a:pt x="112798" y="13194"/>
                    </a:lnTo>
                    <a:lnTo>
                      <a:pt x="109109" y="13194"/>
                    </a:lnTo>
                    <a:lnTo>
                      <a:pt x="105420" y="9498"/>
                    </a:lnTo>
                    <a:lnTo>
                      <a:pt x="101731" y="9498"/>
                    </a:lnTo>
                    <a:lnTo>
                      <a:pt x="101731" y="5812"/>
                    </a:lnTo>
                    <a:lnTo>
                      <a:pt x="90663" y="5812"/>
                    </a:lnTo>
                    <a:lnTo>
                      <a:pt x="86974" y="5812"/>
                    </a:lnTo>
                    <a:lnTo>
                      <a:pt x="79595" y="5812"/>
                    </a:lnTo>
                    <a:close/>
                    <a:moveTo>
                      <a:pt x="415311" y="57475"/>
                    </a:moveTo>
                    <a:lnTo>
                      <a:pt x="411622" y="53789"/>
                    </a:lnTo>
                    <a:lnTo>
                      <a:pt x="407933" y="57475"/>
                    </a:lnTo>
                    <a:lnTo>
                      <a:pt x="415311" y="57475"/>
                    </a:lnTo>
                    <a:close/>
                    <a:moveTo>
                      <a:pt x="411622" y="53789"/>
                    </a:moveTo>
                    <a:lnTo>
                      <a:pt x="415311" y="53789"/>
                    </a:lnTo>
                    <a:lnTo>
                      <a:pt x="419000" y="53789"/>
                    </a:lnTo>
                    <a:lnTo>
                      <a:pt x="422690" y="53789"/>
                    </a:lnTo>
                    <a:lnTo>
                      <a:pt x="419000" y="50093"/>
                    </a:lnTo>
                    <a:lnTo>
                      <a:pt x="415311" y="50093"/>
                    </a:lnTo>
                    <a:lnTo>
                      <a:pt x="411622" y="50093"/>
                    </a:lnTo>
                    <a:lnTo>
                      <a:pt x="411622" y="53789"/>
                    </a:lnTo>
                    <a:close/>
                    <a:moveTo>
                      <a:pt x="419000" y="42711"/>
                    </a:moveTo>
                    <a:lnTo>
                      <a:pt x="422690" y="46407"/>
                    </a:lnTo>
                    <a:lnTo>
                      <a:pt x="419000" y="46407"/>
                    </a:lnTo>
                    <a:lnTo>
                      <a:pt x="419000" y="42711"/>
                    </a:lnTo>
                    <a:close/>
                    <a:moveTo>
                      <a:pt x="426379" y="42711"/>
                    </a:moveTo>
                    <a:lnTo>
                      <a:pt x="430068" y="42711"/>
                    </a:lnTo>
                    <a:lnTo>
                      <a:pt x="426379" y="46407"/>
                    </a:lnTo>
                    <a:lnTo>
                      <a:pt x="426379" y="42711"/>
                    </a:lnTo>
                    <a:close/>
                    <a:moveTo>
                      <a:pt x="400555" y="68553"/>
                    </a:moveTo>
                    <a:lnTo>
                      <a:pt x="404244" y="68553"/>
                    </a:lnTo>
                    <a:lnTo>
                      <a:pt x="404244" y="72239"/>
                    </a:lnTo>
                    <a:lnTo>
                      <a:pt x="400555" y="72239"/>
                    </a:lnTo>
                    <a:lnTo>
                      <a:pt x="400555" y="68553"/>
                    </a:lnTo>
                    <a:close/>
                  </a:path>
                </a:pathLst>
              </a:custGeom>
              <a:solidFill>
                <a:srgbClr val="EC6224">
                  <a:alpha val="60000"/>
                </a:srgbClr>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61" name="Freeform: Shape 60">
                <a:extLst>
                  <a:ext uri="{FF2B5EF4-FFF2-40B4-BE49-F238E27FC236}">
                    <a16:creationId xmlns:a16="http://schemas.microsoft.com/office/drawing/2014/main" id="{6E475366-B946-4D83-8BC9-10270B48C78F}"/>
                  </a:ext>
                </a:extLst>
              </p:cNvPr>
              <p:cNvSpPr/>
              <p:nvPr/>
            </p:nvSpPr>
            <p:spPr>
              <a:xfrm>
                <a:off x="1420946" y="4678804"/>
                <a:ext cx="21660" cy="43320"/>
              </a:xfrm>
              <a:custGeom>
                <a:avLst/>
                <a:gdLst>
                  <a:gd name="connsiteX0" fmla="*/ 9501 w 9525"/>
                  <a:gd name="connsiteY0" fmla="*/ 13184 h 19050"/>
                  <a:gd name="connsiteX1" fmla="*/ 9501 w 9525"/>
                  <a:gd name="connsiteY1" fmla="*/ 13184 h 19050"/>
                  <a:gd name="connsiteX2" fmla="*/ 5812 w 9525"/>
                  <a:gd name="connsiteY2" fmla="*/ 9498 h 19050"/>
                  <a:gd name="connsiteX3" fmla="*/ 5812 w 9525"/>
                  <a:gd name="connsiteY3" fmla="*/ 5812 h 19050"/>
                  <a:gd name="connsiteX4" fmla="*/ 5812 w 9525"/>
                  <a:gd name="connsiteY4" fmla="*/ 5812 h 19050"/>
                  <a:gd name="connsiteX5" fmla="*/ 9501 w 9525"/>
                  <a:gd name="connsiteY5" fmla="*/ 5812 h 19050"/>
                  <a:gd name="connsiteX6" fmla="*/ 13190 w 9525"/>
                  <a:gd name="connsiteY6" fmla="*/ 9498 h 19050"/>
                  <a:gd name="connsiteX7" fmla="*/ 13190 w 9525"/>
                  <a:gd name="connsiteY7" fmla="*/ 13184 h 19050"/>
                  <a:gd name="connsiteX8" fmla="*/ 9501 w 9525"/>
                  <a:gd name="connsiteY8" fmla="*/ 16879 h 19050"/>
                  <a:gd name="connsiteX9" fmla="*/ 9501 w 9525"/>
                  <a:gd name="connsiteY9" fmla="*/ 16879 h 19050"/>
                  <a:gd name="connsiteX10" fmla="*/ 9501 w 9525"/>
                  <a:gd name="connsiteY10" fmla="*/ 13184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25" h="19050">
                    <a:moveTo>
                      <a:pt x="9501" y="13184"/>
                    </a:moveTo>
                    <a:lnTo>
                      <a:pt x="9501" y="13184"/>
                    </a:lnTo>
                    <a:lnTo>
                      <a:pt x="5812" y="9498"/>
                    </a:lnTo>
                    <a:lnTo>
                      <a:pt x="5812" y="5812"/>
                    </a:lnTo>
                    <a:lnTo>
                      <a:pt x="5812" y="5812"/>
                    </a:lnTo>
                    <a:lnTo>
                      <a:pt x="9501" y="5812"/>
                    </a:lnTo>
                    <a:lnTo>
                      <a:pt x="13190" y="9498"/>
                    </a:lnTo>
                    <a:lnTo>
                      <a:pt x="13190" y="13184"/>
                    </a:lnTo>
                    <a:lnTo>
                      <a:pt x="9501" y="16879"/>
                    </a:lnTo>
                    <a:lnTo>
                      <a:pt x="9501" y="16879"/>
                    </a:lnTo>
                    <a:lnTo>
                      <a:pt x="9501" y="13184"/>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62" name="Freeform: Shape 61">
                <a:extLst>
                  <a:ext uri="{FF2B5EF4-FFF2-40B4-BE49-F238E27FC236}">
                    <a16:creationId xmlns:a16="http://schemas.microsoft.com/office/drawing/2014/main" id="{278AD402-1521-44EC-AE4C-5FC5F1EC9E72}"/>
                  </a:ext>
                </a:extLst>
              </p:cNvPr>
              <p:cNvSpPr/>
              <p:nvPr/>
            </p:nvSpPr>
            <p:spPr>
              <a:xfrm>
                <a:off x="1412557" y="4502559"/>
                <a:ext cx="86640" cy="108300"/>
              </a:xfrm>
              <a:custGeom>
                <a:avLst/>
                <a:gdLst>
                  <a:gd name="connsiteX0" fmla="*/ 31636 w 38100"/>
                  <a:gd name="connsiteY0" fmla="*/ 5812 h 47625"/>
                  <a:gd name="connsiteX1" fmla="*/ 31636 w 38100"/>
                  <a:gd name="connsiteY1" fmla="*/ 5812 h 47625"/>
                  <a:gd name="connsiteX2" fmla="*/ 31636 w 38100"/>
                  <a:gd name="connsiteY2" fmla="*/ 5812 h 47625"/>
                  <a:gd name="connsiteX3" fmla="*/ 27947 w 38100"/>
                  <a:gd name="connsiteY3" fmla="*/ 9498 h 47625"/>
                  <a:gd name="connsiteX4" fmla="*/ 27947 w 38100"/>
                  <a:gd name="connsiteY4" fmla="*/ 16880 h 47625"/>
                  <a:gd name="connsiteX5" fmla="*/ 27947 w 38100"/>
                  <a:gd name="connsiteY5" fmla="*/ 20575 h 47625"/>
                  <a:gd name="connsiteX6" fmla="*/ 27947 w 38100"/>
                  <a:gd name="connsiteY6" fmla="*/ 20575 h 47625"/>
                  <a:gd name="connsiteX7" fmla="*/ 31636 w 38100"/>
                  <a:gd name="connsiteY7" fmla="*/ 24261 h 47625"/>
                  <a:gd name="connsiteX8" fmla="*/ 35325 w 38100"/>
                  <a:gd name="connsiteY8" fmla="*/ 20575 h 47625"/>
                  <a:gd name="connsiteX9" fmla="*/ 31636 w 38100"/>
                  <a:gd name="connsiteY9" fmla="*/ 16880 h 47625"/>
                  <a:gd name="connsiteX10" fmla="*/ 31636 w 38100"/>
                  <a:gd name="connsiteY10" fmla="*/ 16880 h 47625"/>
                  <a:gd name="connsiteX11" fmla="*/ 35325 w 38100"/>
                  <a:gd name="connsiteY11" fmla="*/ 20575 h 47625"/>
                  <a:gd name="connsiteX12" fmla="*/ 31636 w 38100"/>
                  <a:gd name="connsiteY12" fmla="*/ 24261 h 47625"/>
                  <a:gd name="connsiteX13" fmla="*/ 31636 w 38100"/>
                  <a:gd name="connsiteY13" fmla="*/ 24261 h 47625"/>
                  <a:gd name="connsiteX14" fmla="*/ 24257 w 38100"/>
                  <a:gd name="connsiteY14" fmla="*/ 20575 h 47625"/>
                  <a:gd name="connsiteX15" fmla="*/ 24257 w 38100"/>
                  <a:gd name="connsiteY15" fmla="*/ 24261 h 47625"/>
                  <a:gd name="connsiteX16" fmla="*/ 24257 w 38100"/>
                  <a:gd name="connsiteY16" fmla="*/ 27957 h 47625"/>
                  <a:gd name="connsiteX17" fmla="*/ 24257 w 38100"/>
                  <a:gd name="connsiteY17" fmla="*/ 27957 h 47625"/>
                  <a:gd name="connsiteX18" fmla="*/ 24257 w 38100"/>
                  <a:gd name="connsiteY18" fmla="*/ 27957 h 47625"/>
                  <a:gd name="connsiteX19" fmla="*/ 20568 w 38100"/>
                  <a:gd name="connsiteY19" fmla="*/ 24261 h 47625"/>
                  <a:gd name="connsiteX20" fmla="*/ 20568 w 38100"/>
                  <a:gd name="connsiteY20" fmla="*/ 24261 h 47625"/>
                  <a:gd name="connsiteX21" fmla="*/ 20568 w 38100"/>
                  <a:gd name="connsiteY21" fmla="*/ 24261 h 47625"/>
                  <a:gd name="connsiteX22" fmla="*/ 16879 w 38100"/>
                  <a:gd name="connsiteY22" fmla="*/ 27957 h 47625"/>
                  <a:gd name="connsiteX23" fmla="*/ 16879 w 38100"/>
                  <a:gd name="connsiteY23" fmla="*/ 27957 h 47625"/>
                  <a:gd name="connsiteX24" fmla="*/ 20568 w 38100"/>
                  <a:gd name="connsiteY24" fmla="*/ 27957 h 47625"/>
                  <a:gd name="connsiteX25" fmla="*/ 20568 w 38100"/>
                  <a:gd name="connsiteY25" fmla="*/ 31643 h 47625"/>
                  <a:gd name="connsiteX26" fmla="*/ 16879 w 38100"/>
                  <a:gd name="connsiteY26" fmla="*/ 31643 h 47625"/>
                  <a:gd name="connsiteX27" fmla="*/ 16879 w 38100"/>
                  <a:gd name="connsiteY27" fmla="*/ 27957 h 47625"/>
                  <a:gd name="connsiteX28" fmla="*/ 13190 w 38100"/>
                  <a:gd name="connsiteY28" fmla="*/ 31643 h 47625"/>
                  <a:gd name="connsiteX29" fmla="*/ 13190 w 38100"/>
                  <a:gd name="connsiteY29" fmla="*/ 31643 h 47625"/>
                  <a:gd name="connsiteX30" fmla="*/ 13190 w 38100"/>
                  <a:gd name="connsiteY30" fmla="*/ 35339 h 47625"/>
                  <a:gd name="connsiteX31" fmla="*/ 13190 w 38100"/>
                  <a:gd name="connsiteY31" fmla="*/ 42711 h 47625"/>
                  <a:gd name="connsiteX32" fmla="*/ 9501 w 38100"/>
                  <a:gd name="connsiteY32" fmla="*/ 42711 h 47625"/>
                  <a:gd name="connsiteX33" fmla="*/ 9501 w 38100"/>
                  <a:gd name="connsiteY33" fmla="*/ 42711 h 47625"/>
                  <a:gd name="connsiteX34" fmla="*/ 13190 w 38100"/>
                  <a:gd name="connsiteY34" fmla="*/ 35339 h 47625"/>
                  <a:gd name="connsiteX35" fmla="*/ 13190 w 38100"/>
                  <a:gd name="connsiteY35" fmla="*/ 31643 h 47625"/>
                  <a:gd name="connsiteX36" fmla="*/ 9501 w 38100"/>
                  <a:gd name="connsiteY36" fmla="*/ 27957 h 47625"/>
                  <a:gd name="connsiteX37" fmla="*/ 9501 w 38100"/>
                  <a:gd name="connsiteY37" fmla="*/ 27957 h 47625"/>
                  <a:gd name="connsiteX38" fmla="*/ 5812 w 38100"/>
                  <a:gd name="connsiteY38" fmla="*/ 27957 h 47625"/>
                  <a:gd name="connsiteX39" fmla="*/ 5812 w 38100"/>
                  <a:gd name="connsiteY39" fmla="*/ 27957 h 47625"/>
                  <a:gd name="connsiteX40" fmla="*/ 5812 w 38100"/>
                  <a:gd name="connsiteY40" fmla="*/ 27957 h 47625"/>
                  <a:gd name="connsiteX41" fmla="*/ 5812 w 38100"/>
                  <a:gd name="connsiteY41" fmla="*/ 27957 h 47625"/>
                  <a:gd name="connsiteX42" fmla="*/ 9501 w 38100"/>
                  <a:gd name="connsiteY42" fmla="*/ 27957 h 47625"/>
                  <a:gd name="connsiteX43" fmla="*/ 13190 w 38100"/>
                  <a:gd name="connsiteY43" fmla="*/ 20575 h 47625"/>
                  <a:gd name="connsiteX44" fmla="*/ 20568 w 38100"/>
                  <a:gd name="connsiteY44" fmla="*/ 16880 h 47625"/>
                  <a:gd name="connsiteX45" fmla="*/ 20568 w 38100"/>
                  <a:gd name="connsiteY45" fmla="*/ 13194 h 47625"/>
                  <a:gd name="connsiteX46" fmla="*/ 20568 w 38100"/>
                  <a:gd name="connsiteY46" fmla="*/ 13194 h 47625"/>
                  <a:gd name="connsiteX47" fmla="*/ 20568 w 38100"/>
                  <a:gd name="connsiteY47" fmla="*/ 9498 h 47625"/>
                  <a:gd name="connsiteX48" fmla="*/ 20568 w 38100"/>
                  <a:gd name="connsiteY48" fmla="*/ 9498 h 47625"/>
                  <a:gd name="connsiteX49" fmla="*/ 20568 w 38100"/>
                  <a:gd name="connsiteY49" fmla="*/ 9498 h 47625"/>
                  <a:gd name="connsiteX50" fmla="*/ 20568 w 38100"/>
                  <a:gd name="connsiteY50" fmla="*/ 13194 h 47625"/>
                  <a:gd name="connsiteX51" fmla="*/ 20568 w 38100"/>
                  <a:gd name="connsiteY51" fmla="*/ 13194 h 47625"/>
                  <a:gd name="connsiteX52" fmla="*/ 20568 w 38100"/>
                  <a:gd name="connsiteY52" fmla="*/ 13194 h 47625"/>
                  <a:gd name="connsiteX53" fmla="*/ 24257 w 38100"/>
                  <a:gd name="connsiteY53" fmla="*/ 13194 h 47625"/>
                  <a:gd name="connsiteX54" fmla="*/ 24257 w 38100"/>
                  <a:gd name="connsiteY54" fmla="*/ 13194 h 47625"/>
                  <a:gd name="connsiteX55" fmla="*/ 24257 w 38100"/>
                  <a:gd name="connsiteY55" fmla="*/ 13194 h 47625"/>
                  <a:gd name="connsiteX56" fmla="*/ 24257 w 38100"/>
                  <a:gd name="connsiteY56" fmla="*/ 13194 h 47625"/>
                  <a:gd name="connsiteX57" fmla="*/ 27947 w 38100"/>
                  <a:gd name="connsiteY57" fmla="*/ 13194 h 47625"/>
                  <a:gd name="connsiteX58" fmla="*/ 27947 w 38100"/>
                  <a:gd name="connsiteY58" fmla="*/ 9498 h 47625"/>
                  <a:gd name="connsiteX59" fmla="*/ 31636 w 38100"/>
                  <a:gd name="connsiteY59" fmla="*/ 5812 h 47625"/>
                  <a:gd name="connsiteX60" fmla="*/ 31636 w 38100"/>
                  <a:gd name="connsiteY60" fmla="*/ 581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100" h="47625">
                    <a:moveTo>
                      <a:pt x="31636" y="5812"/>
                    </a:moveTo>
                    <a:lnTo>
                      <a:pt x="31636" y="5812"/>
                    </a:lnTo>
                    <a:lnTo>
                      <a:pt x="31636" y="5812"/>
                    </a:lnTo>
                    <a:lnTo>
                      <a:pt x="27947" y="9498"/>
                    </a:lnTo>
                    <a:lnTo>
                      <a:pt x="27947" y="16880"/>
                    </a:lnTo>
                    <a:lnTo>
                      <a:pt x="27947" y="20575"/>
                    </a:lnTo>
                    <a:lnTo>
                      <a:pt x="27947" y="20575"/>
                    </a:lnTo>
                    <a:lnTo>
                      <a:pt x="31636" y="24261"/>
                    </a:lnTo>
                    <a:lnTo>
                      <a:pt x="35325" y="20575"/>
                    </a:lnTo>
                    <a:lnTo>
                      <a:pt x="31636" y="16880"/>
                    </a:lnTo>
                    <a:lnTo>
                      <a:pt x="31636" y="16880"/>
                    </a:lnTo>
                    <a:lnTo>
                      <a:pt x="35325" y="20575"/>
                    </a:lnTo>
                    <a:lnTo>
                      <a:pt x="31636" y="24261"/>
                    </a:lnTo>
                    <a:lnTo>
                      <a:pt x="31636" y="24261"/>
                    </a:lnTo>
                    <a:lnTo>
                      <a:pt x="24257" y="20575"/>
                    </a:lnTo>
                    <a:lnTo>
                      <a:pt x="24257" y="24261"/>
                    </a:lnTo>
                    <a:lnTo>
                      <a:pt x="24257" y="27957"/>
                    </a:lnTo>
                    <a:lnTo>
                      <a:pt x="24257" y="27957"/>
                    </a:lnTo>
                    <a:lnTo>
                      <a:pt x="24257" y="27957"/>
                    </a:lnTo>
                    <a:lnTo>
                      <a:pt x="20568" y="24261"/>
                    </a:lnTo>
                    <a:lnTo>
                      <a:pt x="20568" y="24261"/>
                    </a:lnTo>
                    <a:lnTo>
                      <a:pt x="20568" y="24261"/>
                    </a:lnTo>
                    <a:lnTo>
                      <a:pt x="16879" y="27957"/>
                    </a:lnTo>
                    <a:lnTo>
                      <a:pt x="16879" y="27957"/>
                    </a:lnTo>
                    <a:lnTo>
                      <a:pt x="20568" y="27957"/>
                    </a:lnTo>
                    <a:lnTo>
                      <a:pt x="20568" y="31643"/>
                    </a:lnTo>
                    <a:lnTo>
                      <a:pt x="16879" y="31643"/>
                    </a:lnTo>
                    <a:lnTo>
                      <a:pt x="16879" y="27957"/>
                    </a:lnTo>
                    <a:lnTo>
                      <a:pt x="13190" y="31643"/>
                    </a:lnTo>
                    <a:lnTo>
                      <a:pt x="13190" y="31643"/>
                    </a:lnTo>
                    <a:lnTo>
                      <a:pt x="13190" y="35339"/>
                    </a:lnTo>
                    <a:lnTo>
                      <a:pt x="13190" y="42711"/>
                    </a:lnTo>
                    <a:lnTo>
                      <a:pt x="9501" y="42711"/>
                    </a:lnTo>
                    <a:lnTo>
                      <a:pt x="9501" y="42711"/>
                    </a:lnTo>
                    <a:lnTo>
                      <a:pt x="13190" y="35339"/>
                    </a:lnTo>
                    <a:lnTo>
                      <a:pt x="13190" y="31643"/>
                    </a:lnTo>
                    <a:lnTo>
                      <a:pt x="9501" y="27957"/>
                    </a:lnTo>
                    <a:lnTo>
                      <a:pt x="9501" y="27957"/>
                    </a:lnTo>
                    <a:lnTo>
                      <a:pt x="5812" y="27957"/>
                    </a:lnTo>
                    <a:lnTo>
                      <a:pt x="5812" y="27957"/>
                    </a:lnTo>
                    <a:lnTo>
                      <a:pt x="5812" y="27957"/>
                    </a:lnTo>
                    <a:lnTo>
                      <a:pt x="5812" y="27957"/>
                    </a:lnTo>
                    <a:lnTo>
                      <a:pt x="9501" y="27957"/>
                    </a:lnTo>
                    <a:lnTo>
                      <a:pt x="13190" y="20575"/>
                    </a:lnTo>
                    <a:lnTo>
                      <a:pt x="20568" y="16880"/>
                    </a:lnTo>
                    <a:lnTo>
                      <a:pt x="20568" y="13194"/>
                    </a:lnTo>
                    <a:lnTo>
                      <a:pt x="20568" y="13194"/>
                    </a:lnTo>
                    <a:lnTo>
                      <a:pt x="20568" y="9498"/>
                    </a:lnTo>
                    <a:lnTo>
                      <a:pt x="20568" y="9498"/>
                    </a:lnTo>
                    <a:lnTo>
                      <a:pt x="20568" y="9498"/>
                    </a:lnTo>
                    <a:lnTo>
                      <a:pt x="20568" y="13194"/>
                    </a:lnTo>
                    <a:lnTo>
                      <a:pt x="20568" y="13194"/>
                    </a:lnTo>
                    <a:lnTo>
                      <a:pt x="20568" y="13194"/>
                    </a:lnTo>
                    <a:lnTo>
                      <a:pt x="24257" y="13194"/>
                    </a:lnTo>
                    <a:lnTo>
                      <a:pt x="24257" y="13194"/>
                    </a:lnTo>
                    <a:lnTo>
                      <a:pt x="24257" y="13194"/>
                    </a:lnTo>
                    <a:lnTo>
                      <a:pt x="24257" y="13194"/>
                    </a:lnTo>
                    <a:lnTo>
                      <a:pt x="27947" y="13194"/>
                    </a:lnTo>
                    <a:lnTo>
                      <a:pt x="27947" y="9498"/>
                    </a:lnTo>
                    <a:lnTo>
                      <a:pt x="31636" y="5812"/>
                    </a:lnTo>
                    <a:lnTo>
                      <a:pt x="31636" y="5812"/>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63" name="Freeform: Shape 62">
                <a:extLst>
                  <a:ext uri="{FF2B5EF4-FFF2-40B4-BE49-F238E27FC236}">
                    <a16:creationId xmlns:a16="http://schemas.microsoft.com/office/drawing/2014/main" id="{4834007C-07E4-436F-A665-122707032C32}"/>
                  </a:ext>
                </a:extLst>
              </p:cNvPr>
              <p:cNvSpPr/>
              <p:nvPr/>
            </p:nvSpPr>
            <p:spPr>
              <a:xfrm>
                <a:off x="1412557" y="4846647"/>
                <a:ext cx="43320" cy="64980"/>
              </a:xfrm>
              <a:custGeom>
                <a:avLst/>
                <a:gdLst>
                  <a:gd name="connsiteX0" fmla="*/ 20568 w 19050"/>
                  <a:gd name="connsiteY0" fmla="*/ 24261 h 28575"/>
                  <a:gd name="connsiteX1" fmla="*/ 9501 w 19050"/>
                  <a:gd name="connsiteY1" fmla="*/ 16880 h 28575"/>
                  <a:gd name="connsiteX2" fmla="*/ 5812 w 19050"/>
                  <a:gd name="connsiteY2" fmla="*/ 13193 h 28575"/>
                  <a:gd name="connsiteX3" fmla="*/ 5812 w 19050"/>
                  <a:gd name="connsiteY3" fmla="*/ 13193 h 28575"/>
                  <a:gd name="connsiteX4" fmla="*/ 9501 w 19050"/>
                  <a:gd name="connsiteY4" fmla="*/ 5812 h 28575"/>
                  <a:gd name="connsiteX5" fmla="*/ 13190 w 19050"/>
                  <a:gd name="connsiteY5" fmla="*/ 9498 h 28575"/>
                  <a:gd name="connsiteX6" fmla="*/ 20568 w 19050"/>
                  <a:gd name="connsiteY6" fmla="*/ 13193 h 28575"/>
                  <a:gd name="connsiteX7" fmla="*/ 16879 w 19050"/>
                  <a:gd name="connsiteY7" fmla="*/ 16880 h 28575"/>
                  <a:gd name="connsiteX8" fmla="*/ 16879 w 19050"/>
                  <a:gd name="connsiteY8" fmla="*/ 20575 h 28575"/>
                  <a:gd name="connsiteX9" fmla="*/ 20568 w 19050"/>
                  <a:gd name="connsiteY9" fmla="*/ 24261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28575">
                    <a:moveTo>
                      <a:pt x="20568" y="24261"/>
                    </a:moveTo>
                    <a:lnTo>
                      <a:pt x="9501" y="16880"/>
                    </a:lnTo>
                    <a:lnTo>
                      <a:pt x="5812" y="13193"/>
                    </a:lnTo>
                    <a:lnTo>
                      <a:pt x="5812" y="13193"/>
                    </a:lnTo>
                    <a:lnTo>
                      <a:pt x="9501" y="5812"/>
                    </a:lnTo>
                    <a:lnTo>
                      <a:pt x="13190" y="9498"/>
                    </a:lnTo>
                    <a:lnTo>
                      <a:pt x="20568" y="13193"/>
                    </a:lnTo>
                    <a:lnTo>
                      <a:pt x="16879" y="16880"/>
                    </a:lnTo>
                    <a:lnTo>
                      <a:pt x="16879" y="20575"/>
                    </a:lnTo>
                    <a:lnTo>
                      <a:pt x="20568" y="24261"/>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64" name="Freeform: Shape 63">
                <a:extLst>
                  <a:ext uri="{FF2B5EF4-FFF2-40B4-BE49-F238E27FC236}">
                    <a16:creationId xmlns:a16="http://schemas.microsoft.com/office/drawing/2014/main" id="{F6604A44-0899-432A-83BE-5747C0CAB5A1}"/>
                  </a:ext>
                </a:extLst>
              </p:cNvPr>
              <p:cNvSpPr/>
              <p:nvPr/>
            </p:nvSpPr>
            <p:spPr>
              <a:xfrm>
                <a:off x="1429335" y="4838242"/>
                <a:ext cx="43320" cy="21660"/>
              </a:xfrm>
              <a:custGeom>
                <a:avLst/>
                <a:gdLst>
                  <a:gd name="connsiteX0" fmla="*/ 16879 w 19050"/>
                  <a:gd name="connsiteY0" fmla="*/ 13193 h 9525"/>
                  <a:gd name="connsiteX1" fmla="*/ 13190 w 19050"/>
                  <a:gd name="connsiteY1" fmla="*/ 13193 h 9525"/>
                  <a:gd name="connsiteX2" fmla="*/ 5812 w 19050"/>
                  <a:gd name="connsiteY2" fmla="*/ 9507 h 9525"/>
                  <a:gd name="connsiteX3" fmla="*/ 5812 w 19050"/>
                  <a:gd name="connsiteY3" fmla="*/ 9507 h 9525"/>
                  <a:gd name="connsiteX4" fmla="*/ 13190 w 19050"/>
                  <a:gd name="connsiteY4" fmla="*/ 5812 h 9525"/>
                  <a:gd name="connsiteX5" fmla="*/ 16879 w 19050"/>
                  <a:gd name="connsiteY5" fmla="*/ 5812 h 9525"/>
                  <a:gd name="connsiteX6" fmla="*/ 16879 w 19050"/>
                  <a:gd name="connsiteY6" fmla="*/ 5812 h 9525"/>
                  <a:gd name="connsiteX7" fmla="*/ 16879 w 19050"/>
                  <a:gd name="connsiteY7" fmla="*/ 13193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 h="9525">
                    <a:moveTo>
                      <a:pt x="16879" y="13193"/>
                    </a:moveTo>
                    <a:lnTo>
                      <a:pt x="13190" y="13193"/>
                    </a:lnTo>
                    <a:lnTo>
                      <a:pt x="5812" y="9507"/>
                    </a:lnTo>
                    <a:lnTo>
                      <a:pt x="5812" y="9507"/>
                    </a:lnTo>
                    <a:lnTo>
                      <a:pt x="13190" y="5812"/>
                    </a:lnTo>
                    <a:lnTo>
                      <a:pt x="16879" y="5812"/>
                    </a:lnTo>
                    <a:lnTo>
                      <a:pt x="16879" y="5812"/>
                    </a:lnTo>
                    <a:lnTo>
                      <a:pt x="16879" y="13193"/>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65" name="Freeform: Shape 64">
                <a:extLst>
                  <a:ext uri="{FF2B5EF4-FFF2-40B4-BE49-F238E27FC236}">
                    <a16:creationId xmlns:a16="http://schemas.microsoft.com/office/drawing/2014/main" id="{93D37567-F07E-4C65-A18C-0CE1AA16A8EB}"/>
                  </a:ext>
                </a:extLst>
              </p:cNvPr>
              <p:cNvSpPr/>
              <p:nvPr/>
            </p:nvSpPr>
            <p:spPr>
              <a:xfrm>
                <a:off x="1689403" y="4343098"/>
                <a:ext cx="43320" cy="21660"/>
              </a:xfrm>
              <a:custGeom>
                <a:avLst/>
                <a:gdLst>
                  <a:gd name="connsiteX0" fmla="*/ 5812 w 19050"/>
                  <a:gd name="connsiteY0" fmla="*/ 9507 h 9525"/>
                  <a:gd name="connsiteX1" fmla="*/ 5812 w 19050"/>
                  <a:gd name="connsiteY1" fmla="*/ 9507 h 9525"/>
                  <a:gd name="connsiteX2" fmla="*/ 5812 w 19050"/>
                  <a:gd name="connsiteY2" fmla="*/ 9507 h 9525"/>
                  <a:gd name="connsiteX3" fmla="*/ 5812 w 19050"/>
                  <a:gd name="connsiteY3" fmla="*/ 5812 h 9525"/>
                  <a:gd name="connsiteX4" fmla="*/ 9501 w 19050"/>
                  <a:gd name="connsiteY4" fmla="*/ 5812 h 9525"/>
                  <a:gd name="connsiteX5" fmla="*/ 16879 w 19050"/>
                  <a:gd name="connsiteY5" fmla="*/ 9507 h 9525"/>
                  <a:gd name="connsiteX6" fmla="*/ 13190 w 19050"/>
                  <a:gd name="connsiteY6" fmla="*/ 9507 h 9525"/>
                  <a:gd name="connsiteX7" fmla="*/ 5812 w 19050"/>
                  <a:gd name="connsiteY7" fmla="*/ 9507 h 9525"/>
                  <a:gd name="connsiteX8" fmla="*/ 5812 w 19050"/>
                  <a:gd name="connsiteY8" fmla="*/ 9507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 h="9525">
                    <a:moveTo>
                      <a:pt x="5812" y="9507"/>
                    </a:moveTo>
                    <a:lnTo>
                      <a:pt x="5812" y="9507"/>
                    </a:lnTo>
                    <a:lnTo>
                      <a:pt x="5812" y="9507"/>
                    </a:lnTo>
                    <a:lnTo>
                      <a:pt x="5812" y="5812"/>
                    </a:lnTo>
                    <a:lnTo>
                      <a:pt x="9501" y="5812"/>
                    </a:lnTo>
                    <a:lnTo>
                      <a:pt x="16879" y="9507"/>
                    </a:lnTo>
                    <a:lnTo>
                      <a:pt x="13190" y="9507"/>
                    </a:lnTo>
                    <a:lnTo>
                      <a:pt x="5812" y="9507"/>
                    </a:lnTo>
                    <a:lnTo>
                      <a:pt x="5812" y="9507"/>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66" name="Freeform: Shape 65">
                <a:extLst>
                  <a:ext uri="{FF2B5EF4-FFF2-40B4-BE49-F238E27FC236}">
                    <a16:creationId xmlns:a16="http://schemas.microsoft.com/office/drawing/2014/main" id="{95155136-0631-4154-BE97-BDCB8678E257}"/>
                  </a:ext>
                </a:extLst>
              </p:cNvPr>
              <p:cNvSpPr/>
              <p:nvPr/>
            </p:nvSpPr>
            <p:spPr>
              <a:xfrm>
                <a:off x="1941080" y="4494154"/>
                <a:ext cx="64980" cy="64980"/>
              </a:xfrm>
              <a:custGeom>
                <a:avLst/>
                <a:gdLst>
                  <a:gd name="connsiteX0" fmla="*/ 31636 w 28575"/>
                  <a:gd name="connsiteY0" fmla="*/ 24271 h 28575"/>
                  <a:gd name="connsiteX1" fmla="*/ 31636 w 28575"/>
                  <a:gd name="connsiteY1" fmla="*/ 20575 h 28575"/>
                  <a:gd name="connsiteX2" fmla="*/ 27947 w 28575"/>
                  <a:gd name="connsiteY2" fmla="*/ 16889 h 28575"/>
                  <a:gd name="connsiteX3" fmla="*/ 24257 w 28575"/>
                  <a:gd name="connsiteY3" fmla="*/ 13194 h 28575"/>
                  <a:gd name="connsiteX4" fmla="*/ 24257 w 28575"/>
                  <a:gd name="connsiteY4" fmla="*/ 16889 h 28575"/>
                  <a:gd name="connsiteX5" fmla="*/ 20568 w 28575"/>
                  <a:gd name="connsiteY5" fmla="*/ 16889 h 28575"/>
                  <a:gd name="connsiteX6" fmla="*/ 13190 w 28575"/>
                  <a:gd name="connsiteY6" fmla="*/ 9507 h 28575"/>
                  <a:gd name="connsiteX7" fmla="*/ 16879 w 28575"/>
                  <a:gd name="connsiteY7" fmla="*/ 5812 h 28575"/>
                  <a:gd name="connsiteX8" fmla="*/ 16879 w 28575"/>
                  <a:gd name="connsiteY8" fmla="*/ 5812 h 28575"/>
                  <a:gd name="connsiteX9" fmla="*/ 13190 w 28575"/>
                  <a:gd name="connsiteY9" fmla="*/ 5812 h 28575"/>
                  <a:gd name="connsiteX10" fmla="*/ 13190 w 28575"/>
                  <a:gd name="connsiteY10" fmla="*/ 9507 h 28575"/>
                  <a:gd name="connsiteX11" fmla="*/ 5812 w 28575"/>
                  <a:gd name="connsiteY11" fmla="*/ 9507 h 28575"/>
                  <a:gd name="connsiteX12" fmla="*/ 5812 w 28575"/>
                  <a:gd name="connsiteY12" fmla="*/ 5812 h 28575"/>
                  <a:gd name="connsiteX13" fmla="*/ 13190 w 28575"/>
                  <a:gd name="connsiteY13" fmla="*/ 5812 h 28575"/>
                  <a:gd name="connsiteX14" fmla="*/ 13190 w 28575"/>
                  <a:gd name="connsiteY14" fmla="*/ 5812 h 28575"/>
                  <a:gd name="connsiteX15" fmla="*/ 24257 w 28575"/>
                  <a:gd name="connsiteY15" fmla="*/ 5812 h 28575"/>
                  <a:gd name="connsiteX16" fmla="*/ 27947 w 28575"/>
                  <a:gd name="connsiteY16" fmla="*/ 5812 h 28575"/>
                  <a:gd name="connsiteX17" fmla="*/ 27947 w 28575"/>
                  <a:gd name="connsiteY17" fmla="*/ 5812 h 28575"/>
                  <a:gd name="connsiteX18" fmla="*/ 24257 w 28575"/>
                  <a:gd name="connsiteY18" fmla="*/ 5812 h 28575"/>
                  <a:gd name="connsiteX19" fmla="*/ 24257 w 28575"/>
                  <a:gd name="connsiteY19" fmla="*/ 5812 h 28575"/>
                  <a:gd name="connsiteX20" fmla="*/ 20568 w 28575"/>
                  <a:gd name="connsiteY20" fmla="*/ 5812 h 28575"/>
                  <a:gd name="connsiteX21" fmla="*/ 20568 w 28575"/>
                  <a:gd name="connsiteY21" fmla="*/ 5812 h 28575"/>
                  <a:gd name="connsiteX22" fmla="*/ 20568 w 28575"/>
                  <a:gd name="connsiteY22" fmla="*/ 9507 h 28575"/>
                  <a:gd name="connsiteX23" fmla="*/ 20568 w 28575"/>
                  <a:gd name="connsiteY23" fmla="*/ 9507 h 28575"/>
                  <a:gd name="connsiteX24" fmla="*/ 27947 w 28575"/>
                  <a:gd name="connsiteY24" fmla="*/ 9507 h 28575"/>
                  <a:gd name="connsiteX25" fmla="*/ 27947 w 28575"/>
                  <a:gd name="connsiteY25" fmla="*/ 13194 h 28575"/>
                  <a:gd name="connsiteX26" fmla="*/ 31636 w 28575"/>
                  <a:gd name="connsiteY26" fmla="*/ 16889 h 28575"/>
                  <a:gd name="connsiteX27" fmla="*/ 31636 w 28575"/>
                  <a:gd name="connsiteY27" fmla="*/ 20575 h 28575"/>
                  <a:gd name="connsiteX28" fmla="*/ 31636 w 28575"/>
                  <a:gd name="connsiteY28" fmla="*/ 24271 h 28575"/>
                  <a:gd name="connsiteX29" fmla="*/ 31636 w 28575"/>
                  <a:gd name="connsiteY29" fmla="*/ 24271 h 28575"/>
                  <a:gd name="connsiteX30" fmla="*/ 31636 w 28575"/>
                  <a:gd name="connsiteY30" fmla="*/ 24271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8575" h="28575">
                    <a:moveTo>
                      <a:pt x="31636" y="24271"/>
                    </a:moveTo>
                    <a:lnTo>
                      <a:pt x="31636" y="20575"/>
                    </a:lnTo>
                    <a:lnTo>
                      <a:pt x="27947" y="16889"/>
                    </a:lnTo>
                    <a:lnTo>
                      <a:pt x="24257" y="13194"/>
                    </a:lnTo>
                    <a:lnTo>
                      <a:pt x="24257" y="16889"/>
                    </a:lnTo>
                    <a:lnTo>
                      <a:pt x="20568" y="16889"/>
                    </a:lnTo>
                    <a:lnTo>
                      <a:pt x="13190" y="9507"/>
                    </a:lnTo>
                    <a:lnTo>
                      <a:pt x="16879" y="5812"/>
                    </a:lnTo>
                    <a:lnTo>
                      <a:pt x="16879" y="5812"/>
                    </a:lnTo>
                    <a:lnTo>
                      <a:pt x="13190" y="5812"/>
                    </a:lnTo>
                    <a:lnTo>
                      <a:pt x="13190" y="9507"/>
                    </a:lnTo>
                    <a:lnTo>
                      <a:pt x="5812" y="9507"/>
                    </a:lnTo>
                    <a:lnTo>
                      <a:pt x="5812" y="5812"/>
                    </a:lnTo>
                    <a:lnTo>
                      <a:pt x="13190" y="5812"/>
                    </a:lnTo>
                    <a:lnTo>
                      <a:pt x="13190" y="5812"/>
                    </a:lnTo>
                    <a:lnTo>
                      <a:pt x="24257" y="5812"/>
                    </a:lnTo>
                    <a:lnTo>
                      <a:pt x="27947" y="5812"/>
                    </a:lnTo>
                    <a:lnTo>
                      <a:pt x="27947" y="5812"/>
                    </a:lnTo>
                    <a:lnTo>
                      <a:pt x="24257" y="5812"/>
                    </a:lnTo>
                    <a:lnTo>
                      <a:pt x="24257" y="5812"/>
                    </a:lnTo>
                    <a:lnTo>
                      <a:pt x="20568" y="5812"/>
                    </a:lnTo>
                    <a:lnTo>
                      <a:pt x="20568" y="5812"/>
                    </a:lnTo>
                    <a:lnTo>
                      <a:pt x="20568" y="9507"/>
                    </a:lnTo>
                    <a:lnTo>
                      <a:pt x="20568" y="9507"/>
                    </a:lnTo>
                    <a:lnTo>
                      <a:pt x="27947" y="9507"/>
                    </a:lnTo>
                    <a:lnTo>
                      <a:pt x="27947" y="13194"/>
                    </a:lnTo>
                    <a:lnTo>
                      <a:pt x="31636" y="16889"/>
                    </a:lnTo>
                    <a:lnTo>
                      <a:pt x="31636" y="20575"/>
                    </a:lnTo>
                    <a:lnTo>
                      <a:pt x="31636" y="24271"/>
                    </a:lnTo>
                    <a:lnTo>
                      <a:pt x="31636" y="24271"/>
                    </a:lnTo>
                    <a:lnTo>
                      <a:pt x="31636" y="24271"/>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67" name="Freeform: Shape 66">
                <a:extLst>
                  <a:ext uri="{FF2B5EF4-FFF2-40B4-BE49-F238E27FC236}">
                    <a16:creationId xmlns:a16="http://schemas.microsoft.com/office/drawing/2014/main" id="{F27B4E78-DC1C-4C4E-B88F-DBFB30BCEF31}"/>
                  </a:ext>
                </a:extLst>
              </p:cNvPr>
              <p:cNvSpPr/>
              <p:nvPr/>
            </p:nvSpPr>
            <p:spPr>
              <a:xfrm>
                <a:off x="1622288" y="4695568"/>
                <a:ext cx="21660" cy="21660"/>
              </a:xfrm>
              <a:custGeom>
                <a:avLst/>
                <a:gdLst>
                  <a:gd name="connsiteX0" fmla="*/ 9501 w 9525"/>
                  <a:gd name="connsiteY0" fmla="*/ 9507 h 9525"/>
                  <a:gd name="connsiteX1" fmla="*/ 9501 w 9525"/>
                  <a:gd name="connsiteY1" fmla="*/ 5812 h 9525"/>
                  <a:gd name="connsiteX2" fmla="*/ 5812 w 9525"/>
                  <a:gd name="connsiteY2" fmla="*/ 5812 h 9525"/>
                  <a:gd name="connsiteX3" fmla="*/ 9501 w 9525"/>
                  <a:gd name="connsiteY3" fmla="*/ 5812 h 9525"/>
                  <a:gd name="connsiteX4" fmla="*/ 9501 w 9525"/>
                  <a:gd name="connsiteY4" fmla="*/ 5812 h 9525"/>
                  <a:gd name="connsiteX5" fmla="*/ 9501 w 9525"/>
                  <a:gd name="connsiteY5" fmla="*/ 9507 h 9525"/>
                  <a:gd name="connsiteX6" fmla="*/ 9501 w 9525"/>
                  <a:gd name="connsiteY6" fmla="*/ 9507 h 9525"/>
                  <a:gd name="connsiteX7" fmla="*/ 9501 w 9525"/>
                  <a:gd name="connsiteY7" fmla="*/ 9507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 h="9525">
                    <a:moveTo>
                      <a:pt x="9501" y="9507"/>
                    </a:moveTo>
                    <a:lnTo>
                      <a:pt x="9501" y="5812"/>
                    </a:lnTo>
                    <a:lnTo>
                      <a:pt x="5812" y="5812"/>
                    </a:lnTo>
                    <a:lnTo>
                      <a:pt x="9501" y="5812"/>
                    </a:lnTo>
                    <a:lnTo>
                      <a:pt x="9501" y="5812"/>
                    </a:lnTo>
                    <a:lnTo>
                      <a:pt x="9501" y="9507"/>
                    </a:lnTo>
                    <a:lnTo>
                      <a:pt x="9501" y="9507"/>
                    </a:lnTo>
                    <a:lnTo>
                      <a:pt x="9501" y="9507"/>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68" name="Freeform: Shape 67">
                <a:extLst>
                  <a:ext uri="{FF2B5EF4-FFF2-40B4-BE49-F238E27FC236}">
                    <a16:creationId xmlns:a16="http://schemas.microsoft.com/office/drawing/2014/main" id="{FECB6E8C-2362-41DE-9B4B-381EF1F10D44}"/>
                  </a:ext>
                </a:extLst>
              </p:cNvPr>
              <p:cNvSpPr/>
              <p:nvPr/>
            </p:nvSpPr>
            <p:spPr>
              <a:xfrm>
                <a:off x="1370613" y="4586470"/>
                <a:ext cx="303240" cy="151620"/>
              </a:xfrm>
              <a:custGeom>
                <a:avLst/>
                <a:gdLst>
                  <a:gd name="connsiteX0" fmla="*/ 109108 w 133350"/>
                  <a:gd name="connsiteY0" fmla="*/ 5812 h 66675"/>
                  <a:gd name="connsiteX1" fmla="*/ 109108 w 133350"/>
                  <a:gd name="connsiteY1" fmla="*/ 5812 h 66675"/>
                  <a:gd name="connsiteX2" fmla="*/ 112797 w 133350"/>
                  <a:gd name="connsiteY2" fmla="*/ 5812 h 66675"/>
                  <a:gd name="connsiteX3" fmla="*/ 112797 w 133350"/>
                  <a:gd name="connsiteY3" fmla="*/ 5812 h 66675"/>
                  <a:gd name="connsiteX4" fmla="*/ 112797 w 133350"/>
                  <a:gd name="connsiteY4" fmla="*/ 9507 h 66675"/>
                  <a:gd name="connsiteX5" fmla="*/ 116487 w 133350"/>
                  <a:gd name="connsiteY5" fmla="*/ 9507 h 66675"/>
                  <a:gd name="connsiteX6" fmla="*/ 120176 w 133350"/>
                  <a:gd name="connsiteY6" fmla="*/ 9507 h 66675"/>
                  <a:gd name="connsiteX7" fmla="*/ 123865 w 133350"/>
                  <a:gd name="connsiteY7" fmla="*/ 13193 h 66675"/>
                  <a:gd name="connsiteX8" fmla="*/ 123865 w 133350"/>
                  <a:gd name="connsiteY8" fmla="*/ 16889 h 66675"/>
                  <a:gd name="connsiteX9" fmla="*/ 127554 w 133350"/>
                  <a:gd name="connsiteY9" fmla="*/ 24271 h 66675"/>
                  <a:gd name="connsiteX10" fmla="*/ 131243 w 133350"/>
                  <a:gd name="connsiteY10" fmla="*/ 27957 h 66675"/>
                  <a:gd name="connsiteX11" fmla="*/ 131243 w 133350"/>
                  <a:gd name="connsiteY11" fmla="*/ 31653 h 66675"/>
                  <a:gd name="connsiteX12" fmla="*/ 131243 w 133350"/>
                  <a:gd name="connsiteY12" fmla="*/ 31653 h 66675"/>
                  <a:gd name="connsiteX13" fmla="*/ 134932 w 133350"/>
                  <a:gd name="connsiteY13" fmla="*/ 31653 h 66675"/>
                  <a:gd name="connsiteX14" fmla="*/ 134932 w 133350"/>
                  <a:gd name="connsiteY14" fmla="*/ 35339 h 66675"/>
                  <a:gd name="connsiteX15" fmla="*/ 134932 w 133350"/>
                  <a:gd name="connsiteY15" fmla="*/ 39035 h 66675"/>
                  <a:gd name="connsiteX16" fmla="*/ 134932 w 133350"/>
                  <a:gd name="connsiteY16" fmla="*/ 39035 h 66675"/>
                  <a:gd name="connsiteX17" fmla="*/ 134932 w 133350"/>
                  <a:gd name="connsiteY17" fmla="*/ 42721 h 66675"/>
                  <a:gd name="connsiteX18" fmla="*/ 134932 w 133350"/>
                  <a:gd name="connsiteY18" fmla="*/ 42721 h 66675"/>
                  <a:gd name="connsiteX19" fmla="*/ 131243 w 133350"/>
                  <a:gd name="connsiteY19" fmla="*/ 46417 h 66675"/>
                  <a:gd name="connsiteX20" fmla="*/ 123865 w 133350"/>
                  <a:gd name="connsiteY20" fmla="*/ 46417 h 66675"/>
                  <a:gd name="connsiteX21" fmla="*/ 123865 w 133350"/>
                  <a:gd name="connsiteY21" fmla="*/ 46417 h 66675"/>
                  <a:gd name="connsiteX22" fmla="*/ 123865 w 133350"/>
                  <a:gd name="connsiteY22" fmla="*/ 46417 h 66675"/>
                  <a:gd name="connsiteX23" fmla="*/ 120176 w 133350"/>
                  <a:gd name="connsiteY23" fmla="*/ 53789 h 66675"/>
                  <a:gd name="connsiteX24" fmla="*/ 120176 w 133350"/>
                  <a:gd name="connsiteY24" fmla="*/ 53789 h 66675"/>
                  <a:gd name="connsiteX25" fmla="*/ 112797 w 133350"/>
                  <a:gd name="connsiteY25" fmla="*/ 53789 h 66675"/>
                  <a:gd name="connsiteX26" fmla="*/ 109108 w 133350"/>
                  <a:gd name="connsiteY26" fmla="*/ 50103 h 66675"/>
                  <a:gd name="connsiteX27" fmla="*/ 105419 w 133350"/>
                  <a:gd name="connsiteY27" fmla="*/ 46417 h 66675"/>
                  <a:gd name="connsiteX28" fmla="*/ 105419 w 133350"/>
                  <a:gd name="connsiteY28" fmla="*/ 46417 h 66675"/>
                  <a:gd name="connsiteX29" fmla="*/ 98041 w 133350"/>
                  <a:gd name="connsiteY29" fmla="*/ 46417 h 66675"/>
                  <a:gd name="connsiteX30" fmla="*/ 94352 w 133350"/>
                  <a:gd name="connsiteY30" fmla="*/ 46417 h 66675"/>
                  <a:gd name="connsiteX31" fmla="*/ 94352 w 133350"/>
                  <a:gd name="connsiteY31" fmla="*/ 50103 h 66675"/>
                  <a:gd name="connsiteX32" fmla="*/ 90662 w 133350"/>
                  <a:gd name="connsiteY32" fmla="*/ 50103 h 66675"/>
                  <a:gd name="connsiteX33" fmla="*/ 90662 w 133350"/>
                  <a:gd name="connsiteY33" fmla="*/ 50103 h 66675"/>
                  <a:gd name="connsiteX34" fmla="*/ 86973 w 133350"/>
                  <a:gd name="connsiteY34" fmla="*/ 50103 h 66675"/>
                  <a:gd name="connsiteX35" fmla="*/ 79595 w 133350"/>
                  <a:gd name="connsiteY35" fmla="*/ 50103 h 66675"/>
                  <a:gd name="connsiteX36" fmla="*/ 75906 w 133350"/>
                  <a:gd name="connsiteY36" fmla="*/ 46417 h 66675"/>
                  <a:gd name="connsiteX37" fmla="*/ 68528 w 133350"/>
                  <a:gd name="connsiteY37" fmla="*/ 46417 h 66675"/>
                  <a:gd name="connsiteX38" fmla="*/ 53771 w 133350"/>
                  <a:gd name="connsiteY38" fmla="*/ 50103 h 66675"/>
                  <a:gd name="connsiteX39" fmla="*/ 50082 w 133350"/>
                  <a:gd name="connsiteY39" fmla="*/ 53789 h 66675"/>
                  <a:gd name="connsiteX40" fmla="*/ 46393 w 133350"/>
                  <a:gd name="connsiteY40" fmla="*/ 61171 h 66675"/>
                  <a:gd name="connsiteX41" fmla="*/ 42703 w 133350"/>
                  <a:gd name="connsiteY41" fmla="*/ 61171 h 66675"/>
                  <a:gd name="connsiteX42" fmla="*/ 39014 w 133350"/>
                  <a:gd name="connsiteY42" fmla="*/ 68553 h 66675"/>
                  <a:gd name="connsiteX43" fmla="*/ 39014 w 133350"/>
                  <a:gd name="connsiteY43" fmla="*/ 68553 h 66675"/>
                  <a:gd name="connsiteX44" fmla="*/ 39014 w 133350"/>
                  <a:gd name="connsiteY44" fmla="*/ 64867 h 66675"/>
                  <a:gd name="connsiteX45" fmla="*/ 35325 w 133350"/>
                  <a:gd name="connsiteY45" fmla="*/ 61171 h 66675"/>
                  <a:gd name="connsiteX46" fmla="*/ 39014 w 133350"/>
                  <a:gd name="connsiteY46" fmla="*/ 57485 h 66675"/>
                  <a:gd name="connsiteX47" fmla="*/ 39014 w 133350"/>
                  <a:gd name="connsiteY47" fmla="*/ 53789 h 66675"/>
                  <a:gd name="connsiteX48" fmla="*/ 39014 w 133350"/>
                  <a:gd name="connsiteY48" fmla="*/ 50103 h 66675"/>
                  <a:gd name="connsiteX49" fmla="*/ 31636 w 133350"/>
                  <a:gd name="connsiteY49" fmla="*/ 42721 h 66675"/>
                  <a:gd name="connsiteX50" fmla="*/ 35325 w 133350"/>
                  <a:gd name="connsiteY50" fmla="*/ 42721 h 66675"/>
                  <a:gd name="connsiteX51" fmla="*/ 35325 w 133350"/>
                  <a:gd name="connsiteY51" fmla="*/ 39035 h 66675"/>
                  <a:gd name="connsiteX52" fmla="*/ 39014 w 133350"/>
                  <a:gd name="connsiteY52" fmla="*/ 35339 h 66675"/>
                  <a:gd name="connsiteX53" fmla="*/ 39014 w 133350"/>
                  <a:gd name="connsiteY53" fmla="*/ 35339 h 66675"/>
                  <a:gd name="connsiteX54" fmla="*/ 35325 w 133350"/>
                  <a:gd name="connsiteY54" fmla="*/ 39035 h 66675"/>
                  <a:gd name="connsiteX55" fmla="*/ 35325 w 133350"/>
                  <a:gd name="connsiteY55" fmla="*/ 39035 h 66675"/>
                  <a:gd name="connsiteX56" fmla="*/ 31636 w 133350"/>
                  <a:gd name="connsiteY56" fmla="*/ 42721 h 66675"/>
                  <a:gd name="connsiteX57" fmla="*/ 31636 w 133350"/>
                  <a:gd name="connsiteY57" fmla="*/ 42721 h 66675"/>
                  <a:gd name="connsiteX58" fmla="*/ 27947 w 133350"/>
                  <a:gd name="connsiteY58" fmla="*/ 39035 h 66675"/>
                  <a:gd name="connsiteX59" fmla="*/ 24258 w 133350"/>
                  <a:gd name="connsiteY59" fmla="*/ 35339 h 66675"/>
                  <a:gd name="connsiteX60" fmla="*/ 20568 w 133350"/>
                  <a:gd name="connsiteY60" fmla="*/ 35339 h 66675"/>
                  <a:gd name="connsiteX61" fmla="*/ 16879 w 133350"/>
                  <a:gd name="connsiteY61" fmla="*/ 31653 h 66675"/>
                  <a:gd name="connsiteX62" fmla="*/ 13190 w 133350"/>
                  <a:gd name="connsiteY62" fmla="*/ 31653 h 66675"/>
                  <a:gd name="connsiteX63" fmla="*/ 13190 w 133350"/>
                  <a:gd name="connsiteY63" fmla="*/ 24271 h 66675"/>
                  <a:gd name="connsiteX64" fmla="*/ 9501 w 133350"/>
                  <a:gd name="connsiteY64" fmla="*/ 24271 h 66675"/>
                  <a:gd name="connsiteX65" fmla="*/ 9501 w 133350"/>
                  <a:gd name="connsiteY65" fmla="*/ 20575 h 66675"/>
                  <a:gd name="connsiteX66" fmla="*/ 9501 w 133350"/>
                  <a:gd name="connsiteY66" fmla="*/ 16889 h 66675"/>
                  <a:gd name="connsiteX67" fmla="*/ 13190 w 133350"/>
                  <a:gd name="connsiteY67" fmla="*/ 16889 h 66675"/>
                  <a:gd name="connsiteX68" fmla="*/ 13190 w 133350"/>
                  <a:gd name="connsiteY68" fmla="*/ 16889 h 66675"/>
                  <a:gd name="connsiteX69" fmla="*/ 9501 w 133350"/>
                  <a:gd name="connsiteY69" fmla="*/ 16889 h 66675"/>
                  <a:gd name="connsiteX70" fmla="*/ 5812 w 133350"/>
                  <a:gd name="connsiteY70" fmla="*/ 16889 h 66675"/>
                  <a:gd name="connsiteX71" fmla="*/ 5812 w 133350"/>
                  <a:gd name="connsiteY71" fmla="*/ 16889 h 66675"/>
                  <a:gd name="connsiteX72" fmla="*/ 5812 w 133350"/>
                  <a:gd name="connsiteY72" fmla="*/ 16889 h 66675"/>
                  <a:gd name="connsiteX73" fmla="*/ 16879 w 133350"/>
                  <a:gd name="connsiteY73" fmla="*/ 13193 h 66675"/>
                  <a:gd name="connsiteX74" fmla="*/ 27947 w 133350"/>
                  <a:gd name="connsiteY74" fmla="*/ 9507 h 66675"/>
                  <a:gd name="connsiteX75" fmla="*/ 27947 w 133350"/>
                  <a:gd name="connsiteY75" fmla="*/ 5812 h 66675"/>
                  <a:gd name="connsiteX76" fmla="*/ 27947 w 133350"/>
                  <a:gd name="connsiteY76" fmla="*/ 5812 h 66675"/>
                  <a:gd name="connsiteX77" fmla="*/ 31636 w 133350"/>
                  <a:gd name="connsiteY77" fmla="*/ 5812 h 66675"/>
                  <a:gd name="connsiteX78" fmla="*/ 31636 w 133350"/>
                  <a:gd name="connsiteY78" fmla="*/ 5812 h 66675"/>
                  <a:gd name="connsiteX79" fmla="*/ 31636 w 133350"/>
                  <a:gd name="connsiteY79" fmla="*/ 9507 h 66675"/>
                  <a:gd name="connsiteX80" fmla="*/ 35325 w 133350"/>
                  <a:gd name="connsiteY80" fmla="*/ 9507 h 66675"/>
                  <a:gd name="connsiteX81" fmla="*/ 39014 w 133350"/>
                  <a:gd name="connsiteY81" fmla="*/ 9507 h 66675"/>
                  <a:gd name="connsiteX82" fmla="*/ 42703 w 133350"/>
                  <a:gd name="connsiteY82" fmla="*/ 13193 h 66675"/>
                  <a:gd name="connsiteX83" fmla="*/ 46393 w 133350"/>
                  <a:gd name="connsiteY83" fmla="*/ 13193 h 66675"/>
                  <a:gd name="connsiteX84" fmla="*/ 50082 w 133350"/>
                  <a:gd name="connsiteY84" fmla="*/ 16889 h 66675"/>
                  <a:gd name="connsiteX85" fmla="*/ 50082 w 133350"/>
                  <a:gd name="connsiteY85" fmla="*/ 16889 h 66675"/>
                  <a:gd name="connsiteX86" fmla="*/ 53771 w 133350"/>
                  <a:gd name="connsiteY86" fmla="*/ 16889 h 66675"/>
                  <a:gd name="connsiteX87" fmla="*/ 57460 w 133350"/>
                  <a:gd name="connsiteY87" fmla="*/ 13193 h 66675"/>
                  <a:gd name="connsiteX88" fmla="*/ 61149 w 133350"/>
                  <a:gd name="connsiteY88" fmla="*/ 13193 h 66675"/>
                  <a:gd name="connsiteX89" fmla="*/ 68528 w 133350"/>
                  <a:gd name="connsiteY89" fmla="*/ 9507 h 66675"/>
                  <a:gd name="connsiteX90" fmla="*/ 68528 w 133350"/>
                  <a:gd name="connsiteY90" fmla="*/ 9507 h 66675"/>
                  <a:gd name="connsiteX91" fmla="*/ 75906 w 133350"/>
                  <a:gd name="connsiteY91" fmla="*/ 13193 h 66675"/>
                  <a:gd name="connsiteX92" fmla="*/ 79595 w 133350"/>
                  <a:gd name="connsiteY92" fmla="*/ 9507 h 66675"/>
                  <a:gd name="connsiteX93" fmla="*/ 79595 w 133350"/>
                  <a:gd name="connsiteY93" fmla="*/ 9507 h 66675"/>
                  <a:gd name="connsiteX94" fmla="*/ 86973 w 133350"/>
                  <a:gd name="connsiteY94" fmla="*/ 5812 h 66675"/>
                  <a:gd name="connsiteX95" fmla="*/ 86973 w 133350"/>
                  <a:gd name="connsiteY95" fmla="*/ 5812 h 66675"/>
                  <a:gd name="connsiteX96" fmla="*/ 94352 w 133350"/>
                  <a:gd name="connsiteY96" fmla="*/ 5812 h 66675"/>
                  <a:gd name="connsiteX97" fmla="*/ 98041 w 133350"/>
                  <a:gd name="connsiteY97" fmla="*/ 9507 h 66675"/>
                  <a:gd name="connsiteX98" fmla="*/ 105419 w 133350"/>
                  <a:gd name="connsiteY98" fmla="*/ 5812 h 66675"/>
                  <a:gd name="connsiteX99" fmla="*/ 109108 w 133350"/>
                  <a:gd name="connsiteY99" fmla="*/ 5812 h 66675"/>
                  <a:gd name="connsiteX100" fmla="*/ 109108 w 133350"/>
                  <a:gd name="connsiteY100" fmla="*/ 5812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33350" h="66675">
                    <a:moveTo>
                      <a:pt x="109108" y="5812"/>
                    </a:moveTo>
                    <a:lnTo>
                      <a:pt x="109108" y="5812"/>
                    </a:lnTo>
                    <a:lnTo>
                      <a:pt x="112797" y="5812"/>
                    </a:lnTo>
                    <a:lnTo>
                      <a:pt x="112797" y="5812"/>
                    </a:lnTo>
                    <a:lnTo>
                      <a:pt x="112797" y="9507"/>
                    </a:lnTo>
                    <a:lnTo>
                      <a:pt x="116487" y="9507"/>
                    </a:lnTo>
                    <a:lnTo>
                      <a:pt x="120176" y="9507"/>
                    </a:lnTo>
                    <a:lnTo>
                      <a:pt x="123865" y="13193"/>
                    </a:lnTo>
                    <a:lnTo>
                      <a:pt x="123865" y="16889"/>
                    </a:lnTo>
                    <a:lnTo>
                      <a:pt x="127554" y="24271"/>
                    </a:lnTo>
                    <a:lnTo>
                      <a:pt x="131243" y="27957"/>
                    </a:lnTo>
                    <a:lnTo>
                      <a:pt x="131243" y="31653"/>
                    </a:lnTo>
                    <a:lnTo>
                      <a:pt x="131243" y="31653"/>
                    </a:lnTo>
                    <a:lnTo>
                      <a:pt x="134932" y="31653"/>
                    </a:lnTo>
                    <a:lnTo>
                      <a:pt x="134932" y="35339"/>
                    </a:lnTo>
                    <a:lnTo>
                      <a:pt x="134932" y="39035"/>
                    </a:lnTo>
                    <a:lnTo>
                      <a:pt x="134932" y="39035"/>
                    </a:lnTo>
                    <a:lnTo>
                      <a:pt x="134932" y="42721"/>
                    </a:lnTo>
                    <a:lnTo>
                      <a:pt x="134932" y="42721"/>
                    </a:lnTo>
                    <a:lnTo>
                      <a:pt x="131243" y="46417"/>
                    </a:lnTo>
                    <a:lnTo>
                      <a:pt x="123865" y="46417"/>
                    </a:lnTo>
                    <a:lnTo>
                      <a:pt x="123865" y="46417"/>
                    </a:lnTo>
                    <a:lnTo>
                      <a:pt x="123865" y="46417"/>
                    </a:lnTo>
                    <a:lnTo>
                      <a:pt x="120176" y="53789"/>
                    </a:lnTo>
                    <a:lnTo>
                      <a:pt x="120176" y="53789"/>
                    </a:lnTo>
                    <a:lnTo>
                      <a:pt x="112797" y="53789"/>
                    </a:lnTo>
                    <a:lnTo>
                      <a:pt x="109108" y="50103"/>
                    </a:lnTo>
                    <a:lnTo>
                      <a:pt x="105419" y="46417"/>
                    </a:lnTo>
                    <a:lnTo>
                      <a:pt x="105419" y="46417"/>
                    </a:lnTo>
                    <a:lnTo>
                      <a:pt x="98041" y="46417"/>
                    </a:lnTo>
                    <a:lnTo>
                      <a:pt x="94352" y="46417"/>
                    </a:lnTo>
                    <a:lnTo>
                      <a:pt x="94352" y="50103"/>
                    </a:lnTo>
                    <a:lnTo>
                      <a:pt x="90662" y="50103"/>
                    </a:lnTo>
                    <a:lnTo>
                      <a:pt x="90662" y="50103"/>
                    </a:lnTo>
                    <a:lnTo>
                      <a:pt x="86973" y="50103"/>
                    </a:lnTo>
                    <a:lnTo>
                      <a:pt x="79595" y="50103"/>
                    </a:lnTo>
                    <a:lnTo>
                      <a:pt x="75906" y="46417"/>
                    </a:lnTo>
                    <a:lnTo>
                      <a:pt x="68528" y="46417"/>
                    </a:lnTo>
                    <a:lnTo>
                      <a:pt x="53771" y="50103"/>
                    </a:lnTo>
                    <a:lnTo>
                      <a:pt x="50082" y="53789"/>
                    </a:lnTo>
                    <a:lnTo>
                      <a:pt x="46393" y="61171"/>
                    </a:lnTo>
                    <a:lnTo>
                      <a:pt x="42703" y="61171"/>
                    </a:lnTo>
                    <a:lnTo>
                      <a:pt x="39014" y="68553"/>
                    </a:lnTo>
                    <a:lnTo>
                      <a:pt x="39014" y="68553"/>
                    </a:lnTo>
                    <a:lnTo>
                      <a:pt x="39014" y="64867"/>
                    </a:lnTo>
                    <a:lnTo>
                      <a:pt x="35325" y="61171"/>
                    </a:lnTo>
                    <a:lnTo>
                      <a:pt x="39014" y="57485"/>
                    </a:lnTo>
                    <a:lnTo>
                      <a:pt x="39014" y="53789"/>
                    </a:lnTo>
                    <a:lnTo>
                      <a:pt x="39014" y="50103"/>
                    </a:lnTo>
                    <a:lnTo>
                      <a:pt x="31636" y="42721"/>
                    </a:lnTo>
                    <a:lnTo>
                      <a:pt x="35325" y="42721"/>
                    </a:lnTo>
                    <a:lnTo>
                      <a:pt x="35325" y="39035"/>
                    </a:lnTo>
                    <a:lnTo>
                      <a:pt x="39014" y="35339"/>
                    </a:lnTo>
                    <a:lnTo>
                      <a:pt x="39014" y="35339"/>
                    </a:lnTo>
                    <a:lnTo>
                      <a:pt x="35325" y="39035"/>
                    </a:lnTo>
                    <a:lnTo>
                      <a:pt x="35325" y="39035"/>
                    </a:lnTo>
                    <a:lnTo>
                      <a:pt x="31636" y="42721"/>
                    </a:lnTo>
                    <a:lnTo>
                      <a:pt x="31636" y="42721"/>
                    </a:lnTo>
                    <a:lnTo>
                      <a:pt x="27947" y="39035"/>
                    </a:lnTo>
                    <a:lnTo>
                      <a:pt x="24258" y="35339"/>
                    </a:lnTo>
                    <a:lnTo>
                      <a:pt x="20568" y="35339"/>
                    </a:lnTo>
                    <a:lnTo>
                      <a:pt x="16879" y="31653"/>
                    </a:lnTo>
                    <a:lnTo>
                      <a:pt x="13190" y="31653"/>
                    </a:lnTo>
                    <a:lnTo>
                      <a:pt x="13190" y="24271"/>
                    </a:lnTo>
                    <a:lnTo>
                      <a:pt x="9501" y="24271"/>
                    </a:lnTo>
                    <a:lnTo>
                      <a:pt x="9501" y="20575"/>
                    </a:lnTo>
                    <a:lnTo>
                      <a:pt x="9501" y="16889"/>
                    </a:lnTo>
                    <a:lnTo>
                      <a:pt x="13190" y="16889"/>
                    </a:lnTo>
                    <a:lnTo>
                      <a:pt x="13190" y="16889"/>
                    </a:lnTo>
                    <a:lnTo>
                      <a:pt x="9501" y="16889"/>
                    </a:lnTo>
                    <a:lnTo>
                      <a:pt x="5812" y="16889"/>
                    </a:lnTo>
                    <a:lnTo>
                      <a:pt x="5812" y="16889"/>
                    </a:lnTo>
                    <a:lnTo>
                      <a:pt x="5812" y="16889"/>
                    </a:lnTo>
                    <a:lnTo>
                      <a:pt x="16879" y="13193"/>
                    </a:lnTo>
                    <a:lnTo>
                      <a:pt x="27947" y="9507"/>
                    </a:lnTo>
                    <a:lnTo>
                      <a:pt x="27947" y="5812"/>
                    </a:lnTo>
                    <a:lnTo>
                      <a:pt x="27947" y="5812"/>
                    </a:lnTo>
                    <a:lnTo>
                      <a:pt x="31636" y="5812"/>
                    </a:lnTo>
                    <a:lnTo>
                      <a:pt x="31636" y="5812"/>
                    </a:lnTo>
                    <a:lnTo>
                      <a:pt x="31636" y="9507"/>
                    </a:lnTo>
                    <a:lnTo>
                      <a:pt x="35325" y="9507"/>
                    </a:lnTo>
                    <a:lnTo>
                      <a:pt x="39014" y="9507"/>
                    </a:lnTo>
                    <a:lnTo>
                      <a:pt x="42703" y="13193"/>
                    </a:lnTo>
                    <a:lnTo>
                      <a:pt x="46393" y="13193"/>
                    </a:lnTo>
                    <a:lnTo>
                      <a:pt x="50082" y="16889"/>
                    </a:lnTo>
                    <a:lnTo>
                      <a:pt x="50082" y="16889"/>
                    </a:lnTo>
                    <a:lnTo>
                      <a:pt x="53771" y="16889"/>
                    </a:lnTo>
                    <a:lnTo>
                      <a:pt x="57460" y="13193"/>
                    </a:lnTo>
                    <a:lnTo>
                      <a:pt x="61149" y="13193"/>
                    </a:lnTo>
                    <a:lnTo>
                      <a:pt x="68528" y="9507"/>
                    </a:lnTo>
                    <a:lnTo>
                      <a:pt x="68528" y="9507"/>
                    </a:lnTo>
                    <a:lnTo>
                      <a:pt x="75906" y="13193"/>
                    </a:lnTo>
                    <a:lnTo>
                      <a:pt x="79595" y="9507"/>
                    </a:lnTo>
                    <a:lnTo>
                      <a:pt x="79595" y="9507"/>
                    </a:lnTo>
                    <a:lnTo>
                      <a:pt x="86973" y="5812"/>
                    </a:lnTo>
                    <a:lnTo>
                      <a:pt x="86973" y="5812"/>
                    </a:lnTo>
                    <a:lnTo>
                      <a:pt x="94352" y="5812"/>
                    </a:lnTo>
                    <a:lnTo>
                      <a:pt x="98041" y="9507"/>
                    </a:lnTo>
                    <a:lnTo>
                      <a:pt x="105419" y="5812"/>
                    </a:lnTo>
                    <a:lnTo>
                      <a:pt x="109108" y="5812"/>
                    </a:lnTo>
                    <a:lnTo>
                      <a:pt x="109108" y="5812"/>
                    </a:lnTo>
                    <a:close/>
                  </a:path>
                </a:pathLst>
              </a:custGeom>
              <a:solidFill>
                <a:srgbClr val="EC6224">
                  <a:alpha val="60000"/>
                </a:srgbClr>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grpSp>
        <p:grpSp>
          <p:nvGrpSpPr>
            <p:cNvPr id="43" name="Group 42">
              <a:extLst>
                <a:ext uri="{FF2B5EF4-FFF2-40B4-BE49-F238E27FC236}">
                  <a16:creationId xmlns:a16="http://schemas.microsoft.com/office/drawing/2014/main" id="{3FBB3DB9-63A8-461F-9B3A-645BA26DF9CF}"/>
                </a:ext>
              </a:extLst>
            </p:cNvPr>
            <p:cNvGrpSpPr/>
            <p:nvPr/>
          </p:nvGrpSpPr>
          <p:grpSpPr>
            <a:xfrm>
              <a:off x="4124034" y="3382017"/>
              <a:ext cx="1462979" cy="1202811"/>
              <a:chOff x="1605510" y="3294039"/>
              <a:chExt cx="1489044" cy="1224241"/>
            </a:xfrm>
            <a:solidFill>
              <a:srgbClr val="DFE3E5"/>
            </a:solidFill>
          </p:grpSpPr>
          <p:sp>
            <p:nvSpPr>
              <p:cNvPr id="46" name="Freeform: Shape 45">
                <a:extLst>
                  <a:ext uri="{FF2B5EF4-FFF2-40B4-BE49-F238E27FC236}">
                    <a16:creationId xmlns:a16="http://schemas.microsoft.com/office/drawing/2014/main" id="{47F6F812-CF60-4AF5-877D-48B23868FB18}"/>
                  </a:ext>
                </a:extLst>
              </p:cNvPr>
              <p:cNvSpPr/>
              <p:nvPr/>
            </p:nvSpPr>
            <p:spPr>
              <a:xfrm>
                <a:off x="1773296" y="3294039"/>
                <a:ext cx="1321258" cy="1147977"/>
              </a:xfrm>
              <a:custGeom>
                <a:avLst/>
                <a:gdLst>
                  <a:gd name="connsiteX0" fmla="*/ 260365 w 581025"/>
                  <a:gd name="connsiteY0" fmla="*/ 5812 h 504825"/>
                  <a:gd name="connsiteX1" fmla="*/ 238230 w 581025"/>
                  <a:gd name="connsiteY1" fmla="*/ 53789 h 504825"/>
                  <a:gd name="connsiteX2" fmla="*/ 230852 w 581025"/>
                  <a:gd name="connsiteY2" fmla="*/ 64867 h 504825"/>
                  <a:gd name="connsiteX3" fmla="*/ 227163 w 581025"/>
                  <a:gd name="connsiteY3" fmla="*/ 72248 h 504825"/>
                  <a:gd name="connsiteX4" fmla="*/ 216096 w 581025"/>
                  <a:gd name="connsiteY4" fmla="*/ 90698 h 504825"/>
                  <a:gd name="connsiteX5" fmla="*/ 212406 w 581025"/>
                  <a:gd name="connsiteY5" fmla="*/ 94385 h 504825"/>
                  <a:gd name="connsiteX6" fmla="*/ 212406 w 581025"/>
                  <a:gd name="connsiteY6" fmla="*/ 98080 h 504825"/>
                  <a:gd name="connsiteX7" fmla="*/ 205028 w 581025"/>
                  <a:gd name="connsiteY7" fmla="*/ 109148 h 504825"/>
                  <a:gd name="connsiteX8" fmla="*/ 201339 w 581025"/>
                  <a:gd name="connsiteY8" fmla="*/ 116530 h 504825"/>
                  <a:gd name="connsiteX9" fmla="*/ 190271 w 581025"/>
                  <a:gd name="connsiteY9" fmla="*/ 131294 h 504825"/>
                  <a:gd name="connsiteX10" fmla="*/ 168136 w 581025"/>
                  <a:gd name="connsiteY10" fmla="*/ 160821 h 504825"/>
                  <a:gd name="connsiteX11" fmla="*/ 157069 w 581025"/>
                  <a:gd name="connsiteY11" fmla="*/ 168203 h 504825"/>
                  <a:gd name="connsiteX12" fmla="*/ 157069 w 581025"/>
                  <a:gd name="connsiteY12" fmla="*/ 171889 h 504825"/>
                  <a:gd name="connsiteX13" fmla="*/ 149690 w 581025"/>
                  <a:gd name="connsiteY13" fmla="*/ 179271 h 504825"/>
                  <a:gd name="connsiteX14" fmla="*/ 146001 w 581025"/>
                  <a:gd name="connsiteY14" fmla="*/ 179271 h 504825"/>
                  <a:gd name="connsiteX15" fmla="*/ 146001 w 581025"/>
                  <a:gd name="connsiteY15" fmla="*/ 182967 h 504825"/>
                  <a:gd name="connsiteX16" fmla="*/ 146001 w 581025"/>
                  <a:gd name="connsiteY16" fmla="*/ 186653 h 504825"/>
                  <a:gd name="connsiteX17" fmla="*/ 149690 w 581025"/>
                  <a:gd name="connsiteY17" fmla="*/ 186653 h 504825"/>
                  <a:gd name="connsiteX18" fmla="*/ 146001 w 581025"/>
                  <a:gd name="connsiteY18" fmla="*/ 190339 h 504825"/>
                  <a:gd name="connsiteX19" fmla="*/ 146001 w 581025"/>
                  <a:gd name="connsiteY19" fmla="*/ 186653 h 504825"/>
                  <a:gd name="connsiteX20" fmla="*/ 142311 w 581025"/>
                  <a:gd name="connsiteY20" fmla="*/ 186653 h 504825"/>
                  <a:gd name="connsiteX21" fmla="*/ 138622 w 581025"/>
                  <a:gd name="connsiteY21" fmla="*/ 190339 h 504825"/>
                  <a:gd name="connsiteX22" fmla="*/ 134933 w 581025"/>
                  <a:gd name="connsiteY22" fmla="*/ 197721 h 504825"/>
                  <a:gd name="connsiteX23" fmla="*/ 131244 w 581025"/>
                  <a:gd name="connsiteY23" fmla="*/ 201417 h 504825"/>
                  <a:gd name="connsiteX24" fmla="*/ 120176 w 581025"/>
                  <a:gd name="connsiteY24" fmla="*/ 212485 h 504825"/>
                  <a:gd name="connsiteX25" fmla="*/ 112798 w 581025"/>
                  <a:gd name="connsiteY25" fmla="*/ 219867 h 504825"/>
                  <a:gd name="connsiteX26" fmla="*/ 101731 w 581025"/>
                  <a:gd name="connsiteY26" fmla="*/ 234631 h 504825"/>
                  <a:gd name="connsiteX27" fmla="*/ 98041 w 581025"/>
                  <a:gd name="connsiteY27" fmla="*/ 238317 h 504825"/>
                  <a:gd name="connsiteX28" fmla="*/ 90663 w 581025"/>
                  <a:gd name="connsiteY28" fmla="*/ 245699 h 504825"/>
                  <a:gd name="connsiteX29" fmla="*/ 86974 w 581025"/>
                  <a:gd name="connsiteY29" fmla="*/ 249394 h 504825"/>
                  <a:gd name="connsiteX30" fmla="*/ 86974 w 581025"/>
                  <a:gd name="connsiteY30" fmla="*/ 253081 h 504825"/>
                  <a:gd name="connsiteX31" fmla="*/ 79596 w 581025"/>
                  <a:gd name="connsiteY31" fmla="*/ 264158 h 504825"/>
                  <a:gd name="connsiteX32" fmla="*/ 72217 w 581025"/>
                  <a:gd name="connsiteY32" fmla="*/ 267844 h 504825"/>
                  <a:gd name="connsiteX33" fmla="*/ 64839 w 581025"/>
                  <a:gd name="connsiteY33" fmla="*/ 275226 h 504825"/>
                  <a:gd name="connsiteX34" fmla="*/ 61150 w 581025"/>
                  <a:gd name="connsiteY34" fmla="*/ 275226 h 504825"/>
                  <a:gd name="connsiteX35" fmla="*/ 57461 w 581025"/>
                  <a:gd name="connsiteY35" fmla="*/ 271540 h 504825"/>
                  <a:gd name="connsiteX36" fmla="*/ 39015 w 581025"/>
                  <a:gd name="connsiteY36" fmla="*/ 267844 h 504825"/>
                  <a:gd name="connsiteX37" fmla="*/ 35326 w 581025"/>
                  <a:gd name="connsiteY37" fmla="*/ 271540 h 504825"/>
                  <a:gd name="connsiteX38" fmla="*/ 31637 w 581025"/>
                  <a:gd name="connsiteY38" fmla="*/ 271540 h 504825"/>
                  <a:gd name="connsiteX39" fmla="*/ 27947 w 581025"/>
                  <a:gd name="connsiteY39" fmla="*/ 271540 h 504825"/>
                  <a:gd name="connsiteX40" fmla="*/ 24258 w 581025"/>
                  <a:gd name="connsiteY40" fmla="*/ 275226 h 504825"/>
                  <a:gd name="connsiteX41" fmla="*/ 24258 w 581025"/>
                  <a:gd name="connsiteY41" fmla="*/ 278922 h 504825"/>
                  <a:gd name="connsiteX42" fmla="*/ 20569 w 581025"/>
                  <a:gd name="connsiteY42" fmla="*/ 282608 h 504825"/>
                  <a:gd name="connsiteX43" fmla="*/ 16880 w 581025"/>
                  <a:gd name="connsiteY43" fmla="*/ 289990 h 504825"/>
                  <a:gd name="connsiteX44" fmla="*/ 20569 w 581025"/>
                  <a:gd name="connsiteY44" fmla="*/ 293676 h 504825"/>
                  <a:gd name="connsiteX45" fmla="*/ 24258 w 581025"/>
                  <a:gd name="connsiteY45" fmla="*/ 297372 h 504825"/>
                  <a:gd name="connsiteX46" fmla="*/ 24258 w 581025"/>
                  <a:gd name="connsiteY46" fmla="*/ 301058 h 504825"/>
                  <a:gd name="connsiteX47" fmla="*/ 16880 w 581025"/>
                  <a:gd name="connsiteY47" fmla="*/ 308440 h 504825"/>
                  <a:gd name="connsiteX48" fmla="*/ 13191 w 581025"/>
                  <a:gd name="connsiteY48" fmla="*/ 315822 h 504825"/>
                  <a:gd name="connsiteX49" fmla="*/ 5812 w 581025"/>
                  <a:gd name="connsiteY49" fmla="*/ 326899 h 504825"/>
                  <a:gd name="connsiteX50" fmla="*/ 9502 w 581025"/>
                  <a:gd name="connsiteY50" fmla="*/ 326899 h 504825"/>
                  <a:gd name="connsiteX51" fmla="*/ 13191 w 581025"/>
                  <a:gd name="connsiteY51" fmla="*/ 326899 h 504825"/>
                  <a:gd name="connsiteX52" fmla="*/ 16880 w 581025"/>
                  <a:gd name="connsiteY52" fmla="*/ 330585 h 504825"/>
                  <a:gd name="connsiteX53" fmla="*/ 20569 w 581025"/>
                  <a:gd name="connsiteY53" fmla="*/ 326899 h 504825"/>
                  <a:gd name="connsiteX54" fmla="*/ 35326 w 581025"/>
                  <a:gd name="connsiteY54" fmla="*/ 323204 h 504825"/>
                  <a:gd name="connsiteX55" fmla="*/ 39015 w 581025"/>
                  <a:gd name="connsiteY55" fmla="*/ 323204 h 504825"/>
                  <a:gd name="connsiteX56" fmla="*/ 42704 w 581025"/>
                  <a:gd name="connsiteY56" fmla="*/ 330585 h 504825"/>
                  <a:gd name="connsiteX57" fmla="*/ 39015 w 581025"/>
                  <a:gd name="connsiteY57" fmla="*/ 330585 h 504825"/>
                  <a:gd name="connsiteX58" fmla="*/ 39015 w 581025"/>
                  <a:gd name="connsiteY58" fmla="*/ 334272 h 504825"/>
                  <a:gd name="connsiteX59" fmla="*/ 31637 w 581025"/>
                  <a:gd name="connsiteY59" fmla="*/ 341654 h 504825"/>
                  <a:gd name="connsiteX60" fmla="*/ 31637 w 581025"/>
                  <a:gd name="connsiteY60" fmla="*/ 345349 h 504825"/>
                  <a:gd name="connsiteX61" fmla="*/ 27947 w 581025"/>
                  <a:gd name="connsiteY61" fmla="*/ 349035 h 504825"/>
                  <a:gd name="connsiteX62" fmla="*/ 27947 w 581025"/>
                  <a:gd name="connsiteY62" fmla="*/ 352731 h 504825"/>
                  <a:gd name="connsiteX63" fmla="*/ 31637 w 581025"/>
                  <a:gd name="connsiteY63" fmla="*/ 356417 h 504825"/>
                  <a:gd name="connsiteX64" fmla="*/ 46393 w 581025"/>
                  <a:gd name="connsiteY64" fmla="*/ 378563 h 504825"/>
                  <a:gd name="connsiteX65" fmla="*/ 46393 w 581025"/>
                  <a:gd name="connsiteY65" fmla="*/ 382249 h 504825"/>
                  <a:gd name="connsiteX66" fmla="*/ 46393 w 581025"/>
                  <a:gd name="connsiteY66" fmla="*/ 385945 h 504825"/>
                  <a:gd name="connsiteX67" fmla="*/ 42704 w 581025"/>
                  <a:gd name="connsiteY67" fmla="*/ 389631 h 504825"/>
                  <a:gd name="connsiteX68" fmla="*/ 50082 w 581025"/>
                  <a:gd name="connsiteY68" fmla="*/ 385945 h 504825"/>
                  <a:gd name="connsiteX69" fmla="*/ 53772 w 581025"/>
                  <a:gd name="connsiteY69" fmla="*/ 389631 h 504825"/>
                  <a:gd name="connsiteX70" fmla="*/ 57461 w 581025"/>
                  <a:gd name="connsiteY70" fmla="*/ 393327 h 504825"/>
                  <a:gd name="connsiteX71" fmla="*/ 61150 w 581025"/>
                  <a:gd name="connsiteY71" fmla="*/ 397013 h 504825"/>
                  <a:gd name="connsiteX72" fmla="*/ 61150 w 581025"/>
                  <a:gd name="connsiteY72" fmla="*/ 400709 h 504825"/>
                  <a:gd name="connsiteX73" fmla="*/ 64839 w 581025"/>
                  <a:gd name="connsiteY73" fmla="*/ 400709 h 504825"/>
                  <a:gd name="connsiteX74" fmla="*/ 68528 w 581025"/>
                  <a:gd name="connsiteY74" fmla="*/ 400709 h 504825"/>
                  <a:gd name="connsiteX75" fmla="*/ 72217 w 581025"/>
                  <a:gd name="connsiteY75" fmla="*/ 400709 h 504825"/>
                  <a:gd name="connsiteX76" fmla="*/ 75906 w 581025"/>
                  <a:gd name="connsiteY76" fmla="*/ 400709 h 504825"/>
                  <a:gd name="connsiteX77" fmla="*/ 72217 w 581025"/>
                  <a:gd name="connsiteY77" fmla="*/ 404395 h 504825"/>
                  <a:gd name="connsiteX78" fmla="*/ 75906 w 581025"/>
                  <a:gd name="connsiteY78" fmla="*/ 408090 h 504825"/>
                  <a:gd name="connsiteX79" fmla="*/ 79596 w 581025"/>
                  <a:gd name="connsiteY79" fmla="*/ 408090 h 504825"/>
                  <a:gd name="connsiteX80" fmla="*/ 79596 w 581025"/>
                  <a:gd name="connsiteY80" fmla="*/ 404395 h 504825"/>
                  <a:gd name="connsiteX81" fmla="*/ 83285 w 581025"/>
                  <a:gd name="connsiteY81" fmla="*/ 404395 h 504825"/>
                  <a:gd name="connsiteX82" fmla="*/ 86974 w 581025"/>
                  <a:gd name="connsiteY82" fmla="*/ 404395 h 504825"/>
                  <a:gd name="connsiteX83" fmla="*/ 90663 w 581025"/>
                  <a:gd name="connsiteY83" fmla="*/ 404395 h 504825"/>
                  <a:gd name="connsiteX84" fmla="*/ 94352 w 581025"/>
                  <a:gd name="connsiteY84" fmla="*/ 408090 h 504825"/>
                  <a:gd name="connsiteX85" fmla="*/ 101731 w 581025"/>
                  <a:gd name="connsiteY85" fmla="*/ 419158 h 504825"/>
                  <a:gd name="connsiteX86" fmla="*/ 105420 w 581025"/>
                  <a:gd name="connsiteY86" fmla="*/ 419158 h 504825"/>
                  <a:gd name="connsiteX87" fmla="*/ 109109 w 581025"/>
                  <a:gd name="connsiteY87" fmla="*/ 419158 h 504825"/>
                  <a:gd name="connsiteX88" fmla="*/ 112798 w 581025"/>
                  <a:gd name="connsiteY88" fmla="*/ 419158 h 504825"/>
                  <a:gd name="connsiteX89" fmla="*/ 112798 w 581025"/>
                  <a:gd name="connsiteY89" fmla="*/ 422854 h 504825"/>
                  <a:gd name="connsiteX90" fmla="*/ 120176 w 581025"/>
                  <a:gd name="connsiteY90" fmla="*/ 422854 h 504825"/>
                  <a:gd name="connsiteX91" fmla="*/ 123866 w 581025"/>
                  <a:gd name="connsiteY91" fmla="*/ 430227 h 504825"/>
                  <a:gd name="connsiteX92" fmla="*/ 127555 w 581025"/>
                  <a:gd name="connsiteY92" fmla="*/ 433922 h 504825"/>
                  <a:gd name="connsiteX93" fmla="*/ 131244 w 581025"/>
                  <a:gd name="connsiteY93" fmla="*/ 433922 h 504825"/>
                  <a:gd name="connsiteX94" fmla="*/ 134933 w 581025"/>
                  <a:gd name="connsiteY94" fmla="*/ 433922 h 504825"/>
                  <a:gd name="connsiteX95" fmla="*/ 131244 w 581025"/>
                  <a:gd name="connsiteY95" fmla="*/ 437608 h 504825"/>
                  <a:gd name="connsiteX96" fmla="*/ 127555 w 581025"/>
                  <a:gd name="connsiteY96" fmla="*/ 437608 h 504825"/>
                  <a:gd name="connsiteX97" fmla="*/ 131244 w 581025"/>
                  <a:gd name="connsiteY97" fmla="*/ 444990 h 504825"/>
                  <a:gd name="connsiteX98" fmla="*/ 134933 w 581025"/>
                  <a:gd name="connsiteY98" fmla="*/ 448686 h 504825"/>
                  <a:gd name="connsiteX99" fmla="*/ 146001 w 581025"/>
                  <a:gd name="connsiteY99" fmla="*/ 452372 h 504825"/>
                  <a:gd name="connsiteX100" fmla="*/ 146001 w 581025"/>
                  <a:gd name="connsiteY100" fmla="*/ 456068 h 504825"/>
                  <a:gd name="connsiteX101" fmla="*/ 153380 w 581025"/>
                  <a:gd name="connsiteY101" fmla="*/ 456068 h 504825"/>
                  <a:gd name="connsiteX102" fmla="*/ 160758 w 581025"/>
                  <a:gd name="connsiteY102" fmla="*/ 459754 h 504825"/>
                  <a:gd name="connsiteX103" fmla="*/ 168136 w 581025"/>
                  <a:gd name="connsiteY103" fmla="*/ 459754 h 504825"/>
                  <a:gd name="connsiteX104" fmla="*/ 168136 w 581025"/>
                  <a:gd name="connsiteY104" fmla="*/ 463450 h 504825"/>
                  <a:gd name="connsiteX105" fmla="*/ 182893 w 581025"/>
                  <a:gd name="connsiteY105" fmla="*/ 467136 h 504825"/>
                  <a:gd name="connsiteX106" fmla="*/ 190271 w 581025"/>
                  <a:gd name="connsiteY106" fmla="*/ 474518 h 504825"/>
                  <a:gd name="connsiteX107" fmla="*/ 193961 w 581025"/>
                  <a:gd name="connsiteY107" fmla="*/ 474518 h 504825"/>
                  <a:gd name="connsiteX108" fmla="*/ 201339 w 581025"/>
                  <a:gd name="connsiteY108" fmla="*/ 478204 h 504825"/>
                  <a:gd name="connsiteX109" fmla="*/ 212406 w 581025"/>
                  <a:gd name="connsiteY109" fmla="*/ 485586 h 504825"/>
                  <a:gd name="connsiteX110" fmla="*/ 216096 w 581025"/>
                  <a:gd name="connsiteY110" fmla="*/ 485586 h 504825"/>
                  <a:gd name="connsiteX111" fmla="*/ 219785 w 581025"/>
                  <a:gd name="connsiteY111" fmla="*/ 489281 h 504825"/>
                  <a:gd name="connsiteX112" fmla="*/ 227163 w 581025"/>
                  <a:gd name="connsiteY112" fmla="*/ 489281 h 504825"/>
                  <a:gd name="connsiteX113" fmla="*/ 227163 w 581025"/>
                  <a:gd name="connsiteY113" fmla="*/ 492968 h 504825"/>
                  <a:gd name="connsiteX114" fmla="*/ 241920 w 581025"/>
                  <a:gd name="connsiteY114" fmla="*/ 492968 h 504825"/>
                  <a:gd name="connsiteX115" fmla="*/ 245609 w 581025"/>
                  <a:gd name="connsiteY115" fmla="*/ 492968 h 504825"/>
                  <a:gd name="connsiteX116" fmla="*/ 252987 w 581025"/>
                  <a:gd name="connsiteY116" fmla="*/ 496663 h 504825"/>
                  <a:gd name="connsiteX117" fmla="*/ 256676 w 581025"/>
                  <a:gd name="connsiteY117" fmla="*/ 496663 h 504825"/>
                  <a:gd name="connsiteX118" fmla="*/ 260365 w 581025"/>
                  <a:gd name="connsiteY118" fmla="*/ 496663 h 504825"/>
                  <a:gd name="connsiteX119" fmla="*/ 264055 w 581025"/>
                  <a:gd name="connsiteY119" fmla="*/ 500350 h 504825"/>
                  <a:gd name="connsiteX120" fmla="*/ 267744 w 581025"/>
                  <a:gd name="connsiteY120" fmla="*/ 500350 h 504825"/>
                  <a:gd name="connsiteX121" fmla="*/ 271433 w 581025"/>
                  <a:gd name="connsiteY121" fmla="*/ 504045 h 504825"/>
                  <a:gd name="connsiteX122" fmla="*/ 275122 w 581025"/>
                  <a:gd name="connsiteY122" fmla="*/ 504045 h 504825"/>
                  <a:gd name="connsiteX123" fmla="*/ 282500 w 581025"/>
                  <a:gd name="connsiteY123" fmla="*/ 500350 h 504825"/>
                  <a:gd name="connsiteX124" fmla="*/ 286190 w 581025"/>
                  <a:gd name="connsiteY124" fmla="*/ 500350 h 504825"/>
                  <a:gd name="connsiteX125" fmla="*/ 297258 w 581025"/>
                  <a:gd name="connsiteY125" fmla="*/ 496663 h 504825"/>
                  <a:gd name="connsiteX126" fmla="*/ 300947 w 581025"/>
                  <a:gd name="connsiteY126" fmla="*/ 496663 h 504825"/>
                  <a:gd name="connsiteX127" fmla="*/ 304636 w 581025"/>
                  <a:gd name="connsiteY127" fmla="*/ 492968 h 504825"/>
                  <a:gd name="connsiteX128" fmla="*/ 312015 w 581025"/>
                  <a:gd name="connsiteY128" fmla="*/ 492968 h 504825"/>
                  <a:gd name="connsiteX129" fmla="*/ 315704 w 581025"/>
                  <a:gd name="connsiteY129" fmla="*/ 485586 h 504825"/>
                  <a:gd name="connsiteX130" fmla="*/ 319393 w 581025"/>
                  <a:gd name="connsiteY130" fmla="*/ 489281 h 504825"/>
                  <a:gd name="connsiteX131" fmla="*/ 323082 w 581025"/>
                  <a:gd name="connsiteY131" fmla="*/ 489281 h 504825"/>
                  <a:gd name="connsiteX132" fmla="*/ 330460 w 581025"/>
                  <a:gd name="connsiteY132" fmla="*/ 485586 h 504825"/>
                  <a:gd name="connsiteX133" fmla="*/ 330460 w 581025"/>
                  <a:gd name="connsiteY133" fmla="*/ 489281 h 504825"/>
                  <a:gd name="connsiteX134" fmla="*/ 345217 w 581025"/>
                  <a:gd name="connsiteY134" fmla="*/ 485586 h 504825"/>
                  <a:gd name="connsiteX135" fmla="*/ 348906 w 581025"/>
                  <a:gd name="connsiteY135" fmla="*/ 481900 h 504825"/>
                  <a:gd name="connsiteX136" fmla="*/ 352595 w 581025"/>
                  <a:gd name="connsiteY136" fmla="*/ 478204 h 504825"/>
                  <a:gd name="connsiteX137" fmla="*/ 359974 w 581025"/>
                  <a:gd name="connsiteY137" fmla="*/ 474518 h 504825"/>
                  <a:gd name="connsiteX138" fmla="*/ 371041 w 581025"/>
                  <a:gd name="connsiteY138" fmla="*/ 467136 h 504825"/>
                  <a:gd name="connsiteX139" fmla="*/ 374730 w 581025"/>
                  <a:gd name="connsiteY139" fmla="*/ 459754 h 504825"/>
                  <a:gd name="connsiteX140" fmla="*/ 378420 w 581025"/>
                  <a:gd name="connsiteY140" fmla="*/ 456068 h 504825"/>
                  <a:gd name="connsiteX141" fmla="*/ 382109 w 581025"/>
                  <a:gd name="connsiteY141" fmla="*/ 444990 h 504825"/>
                  <a:gd name="connsiteX142" fmla="*/ 385798 w 581025"/>
                  <a:gd name="connsiteY142" fmla="*/ 441304 h 504825"/>
                  <a:gd name="connsiteX143" fmla="*/ 389487 w 581025"/>
                  <a:gd name="connsiteY143" fmla="*/ 437608 h 504825"/>
                  <a:gd name="connsiteX144" fmla="*/ 389487 w 581025"/>
                  <a:gd name="connsiteY144" fmla="*/ 433922 h 504825"/>
                  <a:gd name="connsiteX145" fmla="*/ 393176 w 581025"/>
                  <a:gd name="connsiteY145" fmla="*/ 430227 h 504825"/>
                  <a:gd name="connsiteX146" fmla="*/ 396865 w 581025"/>
                  <a:gd name="connsiteY146" fmla="*/ 430227 h 504825"/>
                  <a:gd name="connsiteX147" fmla="*/ 404244 w 581025"/>
                  <a:gd name="connsiteY147" fmla="*/ 426540 h 504825"/>
                  <a:gd name="connsiteX148" fmla="*/ 411622 w 581025"/>
                  <a:gd name="connsiteY148" fmla="*/ 426540 h 504825"/>
                  <a:gd name="connsiteX149" fmla="*/ 419000 w 581025"/>
                  <a:gd name="connsiteY149" fmla="*/ 426540 h 504825"/>
                  <a:gd name="connsiteX150" fmla="*/ 426379 w 581025"/>
                  <a:gd name="connsiteY150" fmla="*/ 426540 h 504825"/>
                  <a:gd name="connsiteX151" fmla="*/ 430068 w 581025"/>
                  <a:gd name="connsiteY151" fmla="*/ 426540 h 504825"/>
                  <a:gd name="connsiteX152" fmla="*/ 437446 w 581025"/>
                  <a:gd name="connsiteY152" fmla="*/ 422854 h 504825"/>
                  <a:gd name="connsiteX153" fmla="*/ 441136 w 581025"/>
                  <a:gd name="connsiteY153" fmla="*/ 422854 h 504825"/>
                  <a:gd name="connsiteX154" fmla="*/ 448515 w 581025"/>
                  <a:gd name="connsiteY154" fmla="*/ 411777 h 504825"/>
                  <a:gd name="connsiteX155" fmla="*/ 452204 w 581025"/>
                  <a:gd name="connsiteY155" fmla="*/ 411777 h 504825"/>
                  <a:gd name="connsiteX156" fmla="*/ 459582 w 581025"/>
                  <a:gd name="connsiteY156" fmla="*/ 408090 h 504825"/>
                  <a:gd name="connsiteX157" fmla="*/ 463271 w 581025"/>
                  <a:gd name="connsiteY157" fmla="*/ 404395 h 504825"/>
                  <a:gd name="connsiteX158" fmla="*/ 470650 w 581025"/>
                  <a:gd name="connsiteY158" fmla="*/ 404395 h 504825"/>
                  <a:gd name="connsiteX159" fmla="*/ 474339 w 581025"/>
                  <a:gd name="connsiteY159" fmla="*/ 404395 h 504825"/>
                  <a:gd name="connsiteX160" fmla="*/ 478028 w 581025"/>
                  <a:gd name="connsiteY160" fmla="*/ 404395 h 504825"/>
                  <a:gd name="connsiteX161" fmla="*/ 485406 w 581025"/>
                  <a:gd name="connsiteY161" fmla="*/ 408090 h 504825"/>
                  <a:gd name="connsiteX162" fmla="*/ 492784 w 581025"/>
                  <a:gd name="connsiteY162" fmla="*/ 408090 h 504825"/>
                  <a:gd name="connsiteX163" fmla="*/ 496474 w 581025"/>
                  <a:gd name="connsiteY163" fmla="*/ 408090 h 504825"/>
                  <a:gd name="connsiteX164" fmla="*/ 500163 w 581025"/>
                  <a:gd name="connsiteY164" fmla="*/ 411777 h 504825"/>
                  <a:gd name="connsiteX165" fmla="*/ 507541 w 581025"/>
                  <a:gd name="connsiteY165" fmla="*/ 411777 h 504825"/>
                  <a:gd name="connsiteX166" fmla="*/ 511230 w 581025"/>
                  <a:gd name="connsiteY166" fmla="*/ 411777 h 504825"/>
                  <a:gd name="connsiteX167" fmla="*/ 518609 w 581025"/>
                  <a:gd name="connsiteY167" fmla="*/ 411777 h 504825"/>
                  <a:gd name="connsiteX168" fmla="*/ 518609 w 581025"/>
                  <a:gd name="connsiteY168" fmla="*/ 408090 h 504825"/>
                  <a:gd name="connsiteX169" fmla="*/ 522298 w 581025"/>
                  <a:gd name="connsiteY169" fmla="*/ 393327 h 504825"/>
                  <a:gd name="connsiteX170" fmla="*/ 514919 w 581025"/>
                  <a:gd name="connsiteY170" fmla="*/ 393327 h 504825"/>
                  <a:gd name="connsiteX171" fmla="*/ 511230 w 581025"/>
                  <a:gd name="connsiteY171" fmla="*/ 393327 h 504825"/>
                  <a:gd name="connsiteX172" fmla="*/ 507541 w 581025"/>
                  <a:gd name="connsiteY172" fmla="*/ 393327 h 504825"/>
                  <a:gd name="connsiteX173" fmla="*/ 503852 w 581025"/>
                  <a:gd name="connsiteY173" fmla="*/ 389631 h 504825"/>
                  <a:gd name="connsiteX174" fmla="*/ 507541 w 581025"/>
                  <a:gd name="connsiteY174" fmla="*/ 389631 h 504825"/>
                  <a:gd name="connsiteX175" fmla="*/ 503852 w 581025"/>
                  <a:gd name="connsiteY175" fmla="*/ 385945 h 504825"/>
                  <a:gd name="connsiteX176" fmla="*/ 503852 w 581025"/>
                  <a:gd name="connsiteY176" fmla="*/ 382249 h 504825"/>
                  <a:gd name="connsiteX177" fmla="*/ 503852 w 581025"/>
                  <a:gd name="connsiteY177" fmla="*/ 378563 h 504825"/>
                  <a:gd name="connsiteX178" fmla="*/ 507541 w 581025"/>
                  <a:gd name="connsiteY178" fmla="*/ 382249 h 504825"/>
                  <a:gd name="connsiteX179" fmla="*/ 514919 w 581025"/>
                  <a:gd name="connsiteY179" fmla="*/ 378563 h 504825"/>
                  <a:gd name="connsiteX180" fmla="*/ 518609 w 581025"/>
                  <a:gd name="connsiteY180" fmla="*/ 382249 h 504825"/>
                  <a:gd name="connsiteX181" fmla="*/ 529676 w 581025"/>
                  <a:gd name="connsiteY181" fmla="*/ 378563 h 504825"/>
                  <a:gd name="connsiteX182" fmla="*/ 533365 w 581025"/>
                  <a:gd name="connsiteY182" fmla="*/ 382249 h 504825"/>
                  <a:gd name="connsiteX183" fmla="*/ 537054 w 581025"/>
                  <a:gd name="connsiteY183" fmla="*/ 382249 h 504825"/>
                  <a:gd name="connsiteX184" fmla="*/ 537054 w 581025"/>
                  <a:gd name="connsiteY184" fmla="*/ 378563 h 504825"/>
                  <a:gd name="connsiteX185" fmla="*/ 533365 w 581025"/>
                  <a:gd name="connsiteY185" fmla="*/ 374877 h 504825"/>
                  <a:gd name="connsiteX186" fmla="*/ 533365 w 581025"/>
                  <a:gd name="connsiteY186" fmla="*/ 371181 h 504825"/>
                  <a:gd name="connsiteX187" fmla="*/ 533365 w 581025"/>
                  <a:gd name="connsiteY187" fmla="*/ 367495 h 504825"/>
                  <a:gd name="connsiteX188" fmla="*/ 537054 w 581025"/>
                  <a:gd name="connsiteY188" fmla="*/ 367495 h 504825"/>
                  <a:gd name="connsiteX189" fmla="*/ 540744 w 581025"/>
                  <a:gd name="connsiteY189" fmla="*/ 367495 h 504825"/>
                  <a:gd name="connsiteX190" fmla="*/ 544433 w 581025"/>
                  <a:gd name="connsiteY190" fmla="*/ 367495 h 504825"/>
                  <a:gd name="connsiteX191" fmla="*/ 548122 w 581025"/>
                  <a:gd name="connsiteY191" fmla="*/ 363799 h 504825"/>
                  <a:gd name="connsiteX192" fmla="*/ 548122 w 581025"/>
                  <a:gd name="connsiteY192" fmla="*/ 356417 h 504825"/>
                  <a:gd name="connsiteX193" fmla="*/ 551811 w 581025"/>
                  <a:gd name="connsiteY193" fmla="*/ 356417 h 504825"/>
                  <a:gd name="connsiteX194" fmla="*/ 559189 w 581025"/>
                  <a:gd name="connsiteY194" fmla="*/ 356417 h 504825"/>
                  <a:gd name="connsiteX195" fmla="*/ 562879 w 581025"/>
                  <a:gd name="connsiteY195" fmla="*/ 356417 h 504825"/>
                  <a:gd name="connsiteX196" fmla="*/ 562879 w 581025"/>
                  <a:gd name="connsiteY196" fmla="*/ 352731 h 504825"/>
                  <a:gd name="connsiteX197" fmla="*/ 566568 w 581025"/>
                  <a:gd name="connsiteY197" fmla="*/ 349035 h 504825"/>
                  <a:gd name="connsiteX198" fmla="*/ 570257 w 581025"/>
                  <a:gd name="connsiteY198" fmla="*/ 337967 h 504825"/>
                  <a:gd name="connsiteX199" fmla="*/ 570257 w 581025"/>
                  <a:gd name="connsiteY199" fmla="*/ 334272 h 504825"/>
                  <a:gd name="connsiteX200" fmla="*/ 573946 w 581025"/>
                  <a:gd name="connsiteY200" fmla="*/ 334272 h 504825"/>
                  <a:gd name="connsiteX201" fmla="*/ 577635 w 581025"/>
                  <a:gd name="connsiteY201" fmla="*/ 326899 h 504825"/>
                  <a:gd name="connsiteX202" fmla="*/ 581324 w 581025"/>
                  <a:gd name="connsiteY202" fmla="*/ 323204 h 504825"/>
                  <a:gd name="connsiteX203" fmla="*/ 577635 w 581025"/>
                  <a:gd name="connsiteY203" fmla="*/ 323204 h 504825"/>
                  <a:gd name="connsiteX204" fmla="*/ 581324 w 581025"/>
                  <a:gd name="connsiteY204" fmla="*/ 319517 h 504825"/>
                  <a:gd name="connsiteX205" fmla="*/ 577635 w 581025"/>
                  <a:gd name="connsiteY205" fmla="*/ 319517 h 504825"/>
                  <a:gd name="connsiteX206" fmla="*/ 573946 w 581025"/>
                  <a:gd name="connsiteY206" fmla="*/ 319517 h 504825"/>
                  <a:gd name="connsiteX207" fmla="*/ 570257 w 581025"/>
                  <a:gd name="connsiteY207" fmla="*/ 319517 h 504825"/>
                  <a:gd name="connsiteX208" fmla="*/ 555500 w 581025"/>
                  <a:gd name="connsiteY208" fmla="*/ 312136 h 504825"/>
                  <a:gd name="connsiteX209" fmla="*/ 548122 w 581025"/>
                  <a:gd name="connsiteY209" fmla="*/ 308440 h 504825"/>
                  <a:gd name="connsiteX210" fmla="*/ 533365 w 581025"/>
                  <a:gd name="connsiteY210" fmla="*/ 304754 h 504825"/>
                  <a:gd name="connsiteX211" fmla="*/ 537054 w 581025"/>
                  <a:gd name="connsiteY211" fmla="*/ 297372 h 504825"/>
                  <a:gd name="connsiteX212" fmla="*/ 533365 w 581025"/>
                  <a:gd name="connsiteY212" fmla="*/ 286294 h 504825"/>
                  <a:gd name="connsiteX213" fmla="*/ 529676 w 581025"/>
                  <a:gd name="connsiteY213" fmla="*/ 286294 h 504825"/>
                  <a:gd name="connsiteX214" fmla="*/ 525987 w 581025"/>
                  <a:gd name="connsiteY214" fmla="*/ 286294 h 504825"/>
                  <a:gd name="connsiteX215" fmla="*/ 525987 w 581025"/>
                  <a:gd name="connsiteY215" fmla="*/ 289990 h 504825"/>
                  <a:gd name="connsiteX216" fmla="*/ 522298 w 581025"/>
                  <a:gd name="connsiteY216" fmla="*/ 293676 h 504825"/>
                  <a:gd name="connsiteX217" fmla="*/ 518609 w 581025"/>
                  <a:gd name="connsiteY217" fmla="*/ 293676 h 504825"/>
                  <a:gd name="connsiteX218" fmla="*/ 511230 w 581025"/>
                  <a:gd name="connsiteY218" fmla="*/ 286294 h 504825"/>
                  <a:gd name="connsiteX219" fmla="*/ 507541 w 581025"/>
                  <a:gd name="connsiteY219" fmla="*/ 286294 h 504825"/>
                  <a:gd name="connsiteX220" fmla="*/ 503852 w 581025"/>
                  <a:gd name="connsiteY220" fmla="*/ 286294 h 504825"/>
                  <a:gd name="connsiteX221" fmla="*/ 500163 w 581025"/>
                  <a:gd name="connsiteY221" fmla="*/ 289990 h 504825"/>
                  <a:gd name="connsiteX222" fmla="*/ 496474 w 581025"/>
                  <a:gd name="connsiteY222" fmla="*/ 293676 h 504825"/>
                  <a:gd name="connsiteX223" fmla="*/ 496474 w 581025"/>
                  <a:gd name="connsiteY223" fmla="*/ 297372 h 504825"/>
                  <a:gd name="connsiteX224" fmla="*/ 492784 w 581025"/>
                  <a:gd name="connsiteY224" fmla="*/ 301058 h 504825"/>
                  <a:gd name="connsiteX225" fmla="*/ 489095 w 581025"/>
                  <a:gd name="connsiteY225" fmla="*/ 301058 h 504825"/>
                  <a:gd name="connsiteX226" fmla="*/ 485406 w 581025"/>
                  <a:gd name="connsiteY226" fmla="*/ 297372 h 504825"/>
                  <a:gd name="connsiteX227" fmla="*/ 481717 w 581025"/>
                  <a:gd name="connsiteY227" fmla="*/ 297372 h 504825"/>
                  <a:gd name="connsiteX228" fmla="*/ 478028 w 581025"/>
                  <a:gd name="connsiteY228" fmla="*/ 297372 h 504825"/>
                  <a:gd name="connsiteX229" fmla="*/ 474339 w 581025"/>
                  <a:gd name="connsiteY229" fmla="*/ 301058 h 504825"/>
                  <a:gd name="connsiteX230" fmla="*/ 470650 w 581025"/>
                  <a:gd name="connsiteY230" fmla="*/ 308440 h 504825"/>
                  <a:gd name="connsiteX231" fmla="*/ 466960 w 581025"/>
                  <a:gd name="connsiteY231" fmla="*/ 308440 h 504825"/>
                  <a:gd name="connsiteX232" fmla="*/ 466960 w 581025"/>
                  <a:gd name="connsiteY232" fmla="*/ 312136 h 504825"/>
                  <a:gd name="connsiteX233" fmla="*/ 463271 w 581025"/>
                  <a:gd name="connsiteY233" fmla="*/ 312136 h 504825"/>
                  <a:gd name="connsiteX234" fmla="*/ 459582 w 581025"/>
                  <a:gd name="connsiteY234" fmla="*/ 315822 h 504825"/>
                  <a:gd name="connsiteX235" fmla="*/ 455893 w 581025"/>
                  <a:gd name="connsiteY235" fmla="*/ 315822 h 504825"/>
                  <a:gd name="connsiteX236" fmla="*/ 448515 w 581025"/>
                  <a:gd name="connsiteY236" fmla="*/ 315822 h 504825"/>
                  <a:gd name="connsiteX237" fmla="*/ 444825 w 581025"/>
                  <a:gd name="connsiteY237" fmla="*/ 315822 h 504825"/>
                  <a:gd name="connsiteX238" fmla="*/ 444825 w 581025"/>
                  <a:gd name="connsiteY238" fmla="*/ 312136 h 504825"/>
                  <a:gd name="connsiteX239" fmla="*/ 444825 w 581025"/>
                  <a:gd name="connsiteY239" fmla="*/ 304754 h 504825"/>
                  <a:gd name="connsiteX240" fmla="*/ 441136 w 581025"/>
                  <a:gd name="connsiteY240" fmla="*/ 301058 h 504825"/>
                  <a:gd name="connsiteX241" fmla="*/ 441136 w 581025"/>
                  <a:gd name="connsiteY241" fmla="*/ 297372 h 504825"/>
                  <a:gd name="connsiteX242" fmla="*/ 437446 w 581025"/>
                  <a:gd name="connsiteY242" fmla="*/ 293676 h 504825"/>
                  <a:gd name="connsiteX243" fmla="*/ 433757 w 581025"/>
                  <a:gd name="connsiteY243" fmla="*/ 289990 h 504825"/>
                  <a:gd name="connsiteX244" fmla="*/ 430068 w 581025"/>
                  <a:gd name="connsiteY244" fmla="*/ 286294 h 504825"/>
                  <a:gd name="connsiteX245" fmla="*/ 426379 w 581025"/>
                  <a:gd name="connsiteY245" fmla="*/ 278922 h 504825"/>
                  <a:gd name="connsiteX246" fmla="*/ 422689 w 581025"/>
                  <a:gd name="connsiteY246" fmla="*/ 271540 h 504825"/>
                  <a:gd name="connsiteX247" fmla="*/ 419000 w 581025"/>
                  <a:gd name="connsiteY247" fmla="*/ 267844 h 504825"/>
                  <a:gd name="connsiteX248" fmla="*/ 433757 w 581025"/>
                  <a:gd name="connsiteY248" fmla="*/ 264158 h 504825"/>
                  <a:gd name="connsiteX249" fmla="*/ 437446 w 581025"/>
                  <a:gd name="connsiteY249" fmla="*/ 264158 h 504825"/>
                  <a:gd name="connsiteX250" fmla="*/ 433757 w 581025"/>
                  <a:gd name="connsiteY250" fmla="*/ 253081 h 504825"/>
                  <a:gd name="connsiteX251" fmla="*/ 430068 w 581025"/>
                  <a:gd name="connsiteY251" fmla="*/ 253081 h 504825"/>
                  <a:gd name="connsiteX252" fmla="*/ 426379 w 581025"/>
                  <a:gd name="connsiteY252" fmla="*/ 253081 h 504825"/>
                  <a:gd name="connsiteX253" fmla="*/ 422689 w 581025"/>
                  <a:gd name="connsiteY253" fmla="*/ 253081 h 504825"/>
                  <a:gd name="connsiteX254" fmla="*/ 419000 w 581025"/>
                  <a:gd name="connsiteY254" fmla="*/ 253081 h 504825"/>
                  <a:gd name="connsiteX255" fmla="*/ 415311 w 581025"/>
                  <a:gd name="connsiteY255" fmla="*/ 256776 h 504825"/>
                  <a:gd name="connsiteX256" fmla="*/ 411622 w 581025"/>
                  <a:gd name="connsiteY256" fmla="*/ 256776 h 504825"/>
                  <a:gd name="connsiteX257" fmla="*/ 407933 w 581025"/>
                  <a:gd name="connsiteY257" fmla="*/ 249394 h 504825"/>
                  <a:gd name="connsiteX258" fmla="*/ 411622 w 581025"/>
                  <a:gd name="connsiteY258" fmla="*/ 245699 h 504825"/>
                  <a:gd name="connsiteX259" fmla="*/ 411622 w 581025"/>
                  <a:gd name="connsiteY259" fmla="*/ 242013 h 504825"/>
                  <a:gd name="connsiteX260" fmla="*/ 415311 w 581025"/>
                  <a:gd name="connsiteY260" fmla="*/ 242013 h 504825"/>
                  <a:gd name="connsiteX261" fmla="*/ 419000 w 581025"/>
                  <a:gd name="connsiteY261" fmla="*/ 238317 h 504825"/>
                  <a:gd name="connsiteX262" fmla="*/ 422689 w 581025"/>
                  <a:gd name="connsiteY262" fmla="*/ 227249 h 504825"/>
                  <a:gd name="connsiteX263" fmla="*/ 433757 w 581025"/>
                  <a:gd name="connsiteY263" fmla="*/ 219867 h 504825"/>
                  <a:gd name="connsiteX264" fmla="*/ 437446 w 581025"/>
                  <a:gd name="connsiteY264" fmla="*/ 219867 h 504825"/>
                  <a:gd name="connsiteX265" fmla="*/ 441136 w 581025"/>
                  <a:gd name="connsiteY265" fmla="*/ 216181 h 504825"/>
                  <a:gd name="connsiteX266" fmla="*/ 444825 w 581025"/>
                  <a:gd name="connsiteY266" fmla="*/ 212485 h 504825"/>
                  <a:gd name="connsiteX267" fmla="*/ 430068 w 581025"/>
                  <a:gd name="connsiteY267" fmla="*/ 212485 h 504825"/>
                  <a:gd name="connsiteX268" fmla="*/ 422689 w 581025"/>
                  <a:gd name="connsiteY268" fmla="*/ 212485 h 504825"/>
                  <a:gd name="connsiteX269" fmla="*/ 426379 w 581025"/>
                  <a:gd name="connsiteY269" fmla="*/ 208799 h 504825"/>
                  <a:gd name="connsiteX270" fmla="*/ 422689 w 581025"/>
                  <a:gd name="connsiteY270" fmla="*/ 208799 h 504825"/>
                  <a:gd name="connsiteX271" fmla="*/ 422689 w 581025"/>
                  <a:gd name="connsiteY271" fmla="*/ 205103 h 504825"/>
                  <a:gd name="connsiteX272" fmla="*/ 419000 w 581025"/>
                  <a:gd name="connsiteY272" fmla="*/ 194035 h 504825"/>
                  <a:gd name="connsiteX273" fmla="*/ 419000 w 581025"/>
                  <a:gd name="connsiteY273" fmla="*/ 182967 h 504825"/>
                  <a:gd name="connsiteX274" fmla="*/ 422689 w 581025"/>
                  <a:gd name="connsiteY274" fmla="*/ 182967 h 504825"/>
                  <a:gd name="connsiteX275" fmla="*/ 419000 w 581025"/>
                  <a:gd name="connsiteY275" fmla="*/ 179271 h 504825"/>
                  <a:gd name="connsiteX276" fmla="*/ 404244 w 581025"/>
                  <a:gd name="connsiteY276" fmla="*/ 171889 h 504825"/>
                  <a:gd name="connsiteX277" fmla="*/ 404244 w 581025"/>
                  <a:gd name="connsiteY277" fmla="*/ 168203 h 504825"/>
                  <a:gd name="connsiteX278" fmla="*/ 407933 w 581025"/>
                  <a:gd name="connsiteY278" fmla="*/ 168203 h 504825"/>
                  <a:gd name="connsiteX279" fmla="*/ 411622 w 581025"/>
                  <a:gd name="connsiteY279" fmla="*/ 168203 h 504825"/>
                  <a:gd name="connsiteX280" fmla="*/ 411622 w 581025"/>
                  <a:gd name="connsiteY280" fmla="*/ 164508 h 504825"/>
                  <a:gd name="connsiteX281" fmla="*/ 415311 w 581025"/>
                  <a:gd name="connsiteY281" fmla="*/ 160821 h 504825"/>
                  <a:gd name="connsiteX282" fmla="*/ 411622 w 581025"/>
                  <a:gd name="connsiteY282" fmla="*/ 160821 h 504825"/>
                  <a:gd name="connsiteX283" fmla="*/ 415311 w 581025"/>
                  <a:gd name="connsiteY283" fmla="*/ 157126 h 504825"/>
                  <a:gd name="connsiteX284" fmla="*/ 419000 w 581025"/>
                  <a:gd name="connsiteY284" fmla="*/ 153440 h 504825"/>
                  <a:gd name="connsiteX285" fmla="*/ 426379 w 581025"/>
                  <a:gd name="connsiteY285" fmla="*/ 153440 h 504825"/>
                  <a:gd name="connsiteX286" fmla="*/ 426379 w 581025"/>
                  <a:gd name="connsiteY286" fmla="*/ 157126 h 504825"/>
                  <a:gd name="connsiteX287" fmla="*/ 430068 w 581025"/>
                  <a:gd name="connsiteY287" fmla="*/ 157126 h 504825"/>
                  <a:gd name="connsiteX288" fmla="*/ 437446 w 581025"/>
                  <a:gd name="connsiteY288" fmla="*/ 157126 h 504825"/>
                  <a:gd name="connsiteX289" fmla="*/ 441136 w 581025"/>
                  <a:gd name="connsiteY289" fmla="*/ 157126 h 504825"/>
                  <a:gd name="connsiteX290" fmla="*/ 444825 w 581025"/>
                  <a:gd name="connsiteY290" fmla="*/ 157126 h 504825"/>
                  <a:gd name="connsiteX291" fmla="*/ 444825 w 581025"/>
                  <a:gd name="connsiteY291" fmla="*/ 142362 h 504825"/>
                  <a:gd name="connsiteX292" fmla="*/ 455893 w 581025"/>
                  <a:gd name="connsiteY292" fmla="*/ 138676 h 504825"/>
                  <a:gd name="connsiteX293" fmla="*/ 441136 w 581025"/>
                  <a:gd name="connsiteY293" fmla="*/ 127608 h 504825"/>
                  <a:gd name="connsiteX294" fmla="*/ 437446 w 581025"/>
                  <a:gd name="connsiteY294" fmla="*/ 123912 h 504825"/>
                  <a:gd name="connsiteX295" fmla="*/ 430068 w 581025"/>
                  <a:gd name="connsiteY295" fmla="*/ 123912 h 504825"/>
                  <a:gd name="connsiteX296" fmla="*/ 426379 w 581025"/>
                  <a:gd name="connsiteY296" fmla="*/ 120226 h 504825"/>
                  <a:gd name="connsiteX297" fmla="*/ 422689 w 581025"/>
                  <a:gd name="connsiteY297" fmla="*/ 116530 h 504825"/>
                  <a:gd name="connsiteX298" fmla="*/ 422689 w 581025"/>
                  <a:gd name="connsiteY298" fmla="*/ 112844 h 504825"/>
                  <a:gd name="connsiteX299" fmla="*/ 419000 w 581025"/>
                  <a:gd name="connsiteY299" fmla="*/ 112844 h 504825"/>
                  <a:gd name="connsiteX300" fmla="*/ 415311 w 581025"/>
                  <a:gd name="connsiteY300" fmla="*/ 109148 h 504825"/>
                  <a:gd name="connsiteX301" fmla="*/ 415311 w 581025"/>
                  <a:gd name="connsiteY301" fmla="*/ 105462 h 504825"/>
                  <a:gd name="connsiteX302" fmla="*/ 411622 w 581025"/>
                  <a:gd name="connsiteY302" fmla="*/ 105462 h 504825"/>
                  <a:gd name="connsiteX303" fmla="*/ 411622 w 581025"/>
                  <a:gd name="connsiteY303" fmla="*/ 101766 h 504825"/>
                  <a:gd name="connsiteX304" fmla="*/ 411622 w 581025"/>
                  <a:gd name="connsiteY304" fmla="*/ 94385 h 504825"/>
                  <a:gd name="connsiteX305" fmla="*/ 407933 w 581025"/>
                  <a:gd name="connsiteY305" fmla="*/ 90698 h 504825"/>
                  <a:gd name="connsiteX306" fmla="*/ 407933 w 581025"/>
                  <a:gd name="connsiteY306" fmla="*/ 87012 h 504825"/>
                  <a:gd name="connsiteX307" fmla="*/ 404244 w 581025"/>
                  <a:gd name="connsiteY307" fmla="*/ 87012 h 504825"/>
                  <a:gd name="connsiteX308" fmla="*/ 400554 w 581025"/>
                  <a:gd name="connsiteY308" fmla="*/ 87012 h 504825"/>
                  <a:gd name="connsiteX309" fmla="*/ 396865 w 581025"/>
                  <a:gd name="connsiteY309" fmla="*/ 87012 h 504825"/>
                  <a:gd name="connsiteX310" fmla="*/ 396865 w 581025"/>
                  <a:gd name="connsiteY310" fmla="*/ 90698 h 504825"/>
                  <a:gd name="connsiteX311" fmla="*/ 393176 w 581025"/>
                  <a:gd name="connsiteY311" fmla="*/ 94385 h 504825"/>
                  <a:gd name="connsiteX312" fmla="*/ 385798 w 581025"/>
                  <a:gd name="connsiteY312" fmla="*/ 94385 h 504825"/>
                  <a:gd name="connsiteX313" fmla="*/ 382109 w 581025"/>
                  <a:gd name="connsiteY313" fmla="*/ 94385 h 504825"/>
                  <a:gd name="connsiteX314" fmla="*/ 378420 w 581025"/>
                  <a:gd name="connsiteY314" fmla="*/ 101766 h 504825"/>
                  <a:gd name="connsiteX315" fmla="*/ 374730 w 581025"/>
                  <a:gd name="connsiteY315" fmla="*/ 98080 h 504825"/>
                  <a:gd name="connsiteX316" fmla="*/ 371041 w 581025"/>
                  <a:gd name="connsiteY316" fmla="*/ 94385 h 504825"/>
                  <a:gd name="connsiteX317" fmla="*/ 374730 w 581025"/>
                  <a:gd name="connsiteY317" fmla="*/ 83316 h 504825"/>
                  <a:gd name="connsiteX318" fmla="*/ 363663 w 581025"/>
                  <a:gd name="connsiteY318" fmla="*/ 79630 h 504825"/>
                  <a:gd name="connsiteX319" fmla="*/ 359974 w 581025"/>
                  <a:gd name="connsiteY319" fmla="*/ 83316 h 504825"/>
                  <a:gd name="connsiteX320" fmla="*/ 356285 w 581025"/>
                  <a:gd name="connsiteY320" fmla="*/ 87012 h 504825"/>
                  <a:gd name="connsiteX321" fmla="*/ 352595 w 581025"/>
                  <a:gd name="connsiteY321" fmla="*/ 87012 h 504825"/>
                  <a:gd name="connsiteX322" fmla="*/ 348906 w 581025"/>
                  <a:gd name="connsiteY322" fmla="*/ 87012 h 504825"/>
                  <a:gd name="connsiteX323" fmla="*/ 345217 w 581025"/>
                  <a:gd name="connsiteY323" fmla="*/ 83316 h 504825"/>
                  <a:gd name="connsiteX324" fmla="*/ 345217 w 581025"/>
                  <a:gd name="connsiteY324" fmla="*/ 87012 h 504825"/>
                  <a:gd name="connsiteX325" fmla="*/ 341528 w 581025"/>
                  <a:gd name="connsiteY325" fmla="*/ 87012 h 504825"/>
                  <a:gd name="connsiteX326" fmla="*/ 334150 w 581025"/>
                  <a:gd name="connsiteY326" fmla="*/ 90698 h 504825"/>
                  <a:gd name="connsiteX327" fmla="*/ 330460 w 581025"/>
                  <a:gd name="connsiteY327" fmla="*/ 94385 h 504825"/>
                  <a:gd name="connsiteX328" fmla="*/ 326771 w 581025"/>
                  <a:gd name="connsiteY328" fmla="*/ 94385 h 504825"/>
                  <a:gd name="connsiteX329" fmla="*/ 323082 w 581025"/>
                  <a:gd name="connsiteY329" fmla="*/ 94385 h 504825"/>
                  <a:gd name="connsiteX330" fmla="*/ 312015 w 581025"/>
                  <a:gd name="connsiteY330" fmla="*/ 94385 h 504825"/>
                  <a:gd name="connsiteX331" fmla="*/ 304636 w 581025"/>
                  <a:gd name="connsiteY331" fmla="*/ 90698 h 504825"/>
                  <a:gd name="connsiteX332" fmla="*/ 300947 w 581025"/>
                  <a:gd name="connsiteY332" fmla="*/ 94385 h 504825"/>
                  <a:gd name="connsiteX333" fmla="*/ 297258 w 581025"/>
                  <a:gd name="connsiteY333" fmla="*/ 94385 h 504825"/>
                  <a:gd name="connsiteX334" fmla="*/ 293568 w 581025"/>
                  <a:gd name="connsiteY334" fmla="*/ 90698 h 504825"/>
                  <a:gd name="connsiteX335" fmla="*/ 289879 w 581025"/>
                  <a:gd name="connsiteY335" fmla="*/ 90698 h 504825"/>
                  <a:gd name="connsiteX336" fmla="*/ 289879 w 581025"/>
                  <a:gd name="connsiteY336" fmla="*/ 87012 h 504825"/>
                  <a:gd name="connsiteX337" fmla="*/ 289879 w 581025"/>
                  <a:gd name="connsiteY337" fmla="*/ 83316 h 504825"/>
                  <a:gd name="connsiteX338" fmla="*/ 289879 w 581025"/>
                  <a:gd name="connsiteY338" fmla="*/ 79630 h 504825"/>
                  <a:gd name="connsiteX339" fmla="*/ 293568 w 581025"/>
                  <a:gd name="connsiteY339" fmla="*/ 79630 h 504825"/>
                  <a:gd name="connsiteX340" fmla="*/ 293568 w 581025"/>
                  <a:gd name="connsiteY340" fmla="*/ 75935 h 504825"/>
                  <a:gd name="connsiteX341" fmla="*/ 297258 w 581025"/>
                  <a:gd name="connsiteY341" fmla="*/ 72248 h 504825"/>
                  <a:gd name="connsiteX342" fmla="*/ 297258 w 581025"/>
                  <a:gd name="connsiteY342" fmla="*/ 64867 h 504825"/>
                  <a:gd name="connsiteX343" fmla="*/ 297258 w 581025"/>
                  <a:gd name="connsiteY343" fmla="*/ 61171 h 504825"/>
                  <a:gd name="connsiteX344" fmla="*/ 297258 w 581025"/>
                  <a:gd name="connsiteY344" fmla="*/ 57485 h 504825"/>
                  <a:gd name="connsiteX345" fmla="*/ 297258 w 581025"/>
                  <a:gd name="connsiteY345" fmla="*/ 53789 h 504825"/>
                  <a:gd name="connsiteX346" fmla="*/ 300947 w 581025"/>
                  <a:gd name="connsiteY346" fmla="*/ 50103 h 504825"/>
                  <a:gd name="connsiteX347" fmla="*/ 304636 w 581025"/>
                  <a:gd name="connsiteY347" fmla="*/ 46407 h 504825"/>
                  <a:gd name="connsiteX348" fmla="*/ 308326 w 581025"/>
                  <a:gd name="connsiteY348" fmla="*/ 42721 h 504825"/>
                  <a:gd name="connsiteX349" fmla="*/ 308326 w 581025"/>
                  <a:gd name="connsiteY349" fmla="*/ 39035 h 504825"/>
                  <a:gd name="connsiteX350" fmla="*/ 308326 w 581025"/>
                  <a:gd name="connsiteY350" fmla="*/ 35339 h 504825"/>
                  <a:gd name="connsiteX351" fmla="*/ 312015 w 581025"/>
                  <a:gd name="connsiteY351" fmla="*/ 35339 h 504825"/>
                  <a:gd name="connsiteX352" fmla="*/ 312015 w 581025"/>
                  <a:gd name="connsiteY352" fmla="*/ 27957 h 504825"/>
                  <a:gd name="connsiteX353" fmla="*/ 315704 w 581025"/>
                  <a:gd name="connsiteY353" fmla="*/ 24271 h 504825"/>
                  <a:gd name="connsiteX354" fmla="*/ 319393 w 581025"/>
                  <a:gd name="connsiteY354" fmla="*/ 16889 h 504825"/>
                  <a:gd name="connsiteX355" fmla="*/ 312015 w 581025"/>
                  <a:gd name="connsiteY355" fmla="*/ 13193 h 504825"/>
                  <a:gd name="connsiteX356" fmla="*/ 308326 w 581025"/>
                  <a:gd name="connsiteY356" fmla="*/ 13193 h 504825"/>
                  <a:gd name="connsiteX357" fmla="*/ 304636 w 581025"/>
                  <a:gd name="connsiteY357" fmla="*/ 13193 h 504825"/>
                  <a:gd name="connsiteX358" fmla="*/ 300947 w 581025"/>
                  <a:gd name="connsiteY358" fmla="*/ 16889 h 504825"/>
                  <a:gd name="connsiteX359" fmla="*/ 297258 w 581025"/>
                  <a:gd name="connsiteY359" fmla="*/ 13193 h 504825"/>
                  <a:gd name="connsiteX360" fmla="*/ 297258 w 581025"/>
                  <a:gd name="connsiteY360" fmla="*/ 20575 h 504825"/>
                  <a:gd name="connsiteX361" fmla="*/ 286190 w 581025"/>
                  <a:gd name="connsiteY361" fmla="*/ 16889 h 504825"/>
                  <a:gd name="connsiteX362" fmla="*/ 260365 w 581025"/>
                  <a:gd name="connsiteY362" fmla="*/ 5812 h 504825"/>
                  <a:gd name="connsiteX363" fmla="*/ 42704 w 581025"/>
                  <a:gd name="connsiteY363" fmla="*/ 389631 h 504825"/>
                  <a:gd name="connsiteX364" fmla="*/ 39015 w 581025"/>
                  <a:gd name="connsiteY364" fmla="*/ 393327 h 504825"/>
                  <a:gd name="connsiteX365" fmla="*/ 42704 w 581025"/>
                  <a:gd name="connsiteY365" fmla="*/ 393327 h 504825"/>
                  <a:gd name="connsiteX366" fmla="*/ 42704 w 581025"/>
                  <a:gd name="connsiteY366" fmla="*/ 389631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Lst>
                <a:rect l="l" t="t" r="r" b="b"/>
                <a:pathLst>
                  <a:path w="581025" h="504825">
                    <a:moveTo>
                      <a:pt x="260365" y="5812"/>
                    </a:moveTo>
                    <a:lnTo>
                      <a:pt x="238230" y="53789"/>
                    </a:lnTo>
                    <a:lnTo>
                      <a:pt x="230852" y="64867"/>
                    </a:lnTo>
                    <a:lnTo>
                      <a:pt x="227163" y="72248"/>
                    </a:lnTo>
                    <a:lnTo>
                      <a:pt x="216096" y="90698"/>
                    </a:lnTo>
                    <a:lnTo>
                      <a:pt x="212406" y="94385"/>
                    </a:lnTo>
                    <a:lnTo>
                      <a:pt x="212406" y="98080"/>
                    </a:lnTo>
                    <a:lnTo>
                      <a:pt x="205028" y="109148"/>
                    </a:lnTo>
                    <a:lnTo>
                      <a:pt x="201339" y="116530"/>
                    </a:lnTo>
                    <a:lnTo>
                      <a:pt x="190271" y="131294"/>
                    </a:lnTo>
                    <a:lnTo>
                      <a:pt x="168136" y="160821"/>
                    </a:lnTo>
                    <a:lnTo>
                      <a:pt x="157069" y="168203"/>
                    </a:lnTo>
                    <a:lnTo>
                      <a:pt x="157069" y="171889"/>
                    </a:lnTo>
                    <a:lnTo>
                      <a:pt x="149690" y="179271"/>
                    </a:lnTo>
                    <a:lnTo>
                      <a:pt x="146001" y="179271"/>
                    </a:lnTo>
                    <a:lnTo>
                      <a:pt x="146001" y="182967"/>
                    </a:lnTo>
                    <a:lnTo>
                      <a:pt x="146001" y="186653"/>
                    </a:lnTo>
                    <a:lnTo>
                      <a:pt x="149690" y="186653"/>
                    </a:lnTo>
                    <a:lnTo>
                      <a:pt x="146001" y="190339"/>
                    </a:lnTo>
                    <a:lnTo>
                      <a:pt x="146001" y="186653"/>
                    </a:lnTo>
                    <a:lnTo>
                      <a:pt x="142311" y="186653"/>
                    </a:lnTo>
                    <a:lnTo>
                      <a:pt x="138622" y="190339"/>
                    </a:lnTo>
                    <a:lnTo>
                      <a:pt x="134933" y="197721"/>
                    </a:lnTo>
                    <a:lnTo>
                      <a:pt x="131244" y="201417"/>
                    </a:lnTo>
                    <a:lnTo>
                      <a:pt x="120176" y="212485"/>
                    </a:lnTo>
                    <a:lnTo>
                      <a:pt x="112798" y="219867"/>
                    </a:lnTo>
                    <a:lnTo>
                      <a:pt x="101731" y="234631"/>
                    </a:lnTo>
                    <a:lnTo>
                      <a:pt x="98041" y="238317"/>
                    </a:lnTo>
                    <a:lnTo>
                      <a:pt x="90663" y="245699"/>
                    </a:lnTo>
                    <a:lnTo>
                      <a:pt x="86974" y="249394"/>
                    </a:lnTo>
                    <a:lnTo>
                      <a:pt x="86974" y="253081"/>
                    </a:lnTo>
                    <a:lnTo>
                      <a:pt x="79596" y="264158"/>
                    </a:lnTo>
                    <a:lnTo>
                      <a:pt x="72217" y="267844"/>
                    </a:lnTo>
                    <a:lnTo>
                      <a:pt x="64839" y="275226"/>
                    </a:lnTo>
                    <a:lnTo>
                      <a:pt x="61150" y="275226"/>
                    </a:lnTo>
                    <a:lnTo>
                      <a:pt x="57461" y="271540"/>
                    </a:lnTo>
                    <a:lnTo>
                      <a:pt x="39015" y="267844"/>
                    </a:lnTo>
                    <a:lnTo>
                      <a:pt x="35326" y="271540"/>
                    </a:lnTo>
                    <a:lnTo>
                      <a:pt x="31637" y="271540"/>
                    </a:lnTo>
                    <a:lnTo>
                      <a:pt x="27947" y="271540"/>
                    </a:lnTo>
                    <a:lnTo>
                      <a:pt x="24258" y="275226"/>
                    </a:lnTo>
                    <a:lnTo>
                      <a:pt x="24258" y="278922"/>
                    </a:lnTo>
                    <a:lnTo>
                      <a:pt x="20569" y="282608"/>
                    </a:lnTo>
                    <a:lnTo>
                      <a:pt x="16880" y="289990"/>
                    </a:lnTo>
                    <a:lnTo>
                      <a:pt x="20569" y="293676"/>
                    </a:lnTo>
                    <a:lnTo>
                      <a:pt x="24258" y="297372"/>
                    </a:lnTo>
                    <a:lnTo>
                      <a:pt x="24258" y="301058"/>
                    </a:lnTo>
                    <a:lnTo>
                      <a:pt x="16880" y="308440"/>
                    </a:lnTo>
                    <a:lnTo>
                      <a:pt x="13191" y="315822"/>
                    </a:lnTo>
                    <a:lnTo>
                      <a:pt x="5812" y="326899"/>
                    </a:lnTo>
                    <a:lnTo>
                      <a:pt x="9502" y="326899"/>
                    </a:lnTo>
                    <a:lnTo>
                      <a:pt x="13191" y="326899"/>
                    </a:lnTo>
                    <a:lnTo>
                      <a:pt x="16880" y="330585"/>
                    </a:lnTo>
                    <a:lnTo>
                      <a:pt x="20569" y="326899"/>
                    </a:lnTo>
                    <a:lnTo>
                      <a:pt x="35326" y="323204"/>
                    </a:lnTo>
                    <a:lnTo>
                      <a:pt x="39015" y="323204"/>
                    </a:lnTo>
                    <a:lnTo>
                      <a:pt x="42704" y="330585"/>
                    </a:lnTo>
                    <a:lnTo>
                      <a:pt x="39015" y="330585"/>
                    </a:lnTo>
                    <a:lnTo>
                      <a:pt x="39015" y="334272"/>
                    </a:lnTo>
                    <a:lnTo>
                      <a:pt x="31637" y="341654"/>
                    </a:lnTo>
                    <a:lnTo>
                      <a:pt x="31637" y="345349"/>
                    </a:lnTo>
                    <a:lnTo>
                      <a:pt x="27947" y="349035"/>
                    </a:lnTo>
                    <a:lnTo>
                      <a:pt x="27947" y="352731"/>
                    </a:lnTo>
                    <a:lnTo>
                      <a:pt x="31637" y="356417"/>
                    </a:lnTo>
                    <a:lnTo>
                      <a:pt x="46393" y="378563"/>
                    </a:lnTo>
                    <a:lnTo>
                      <a:pt x="46393" y="382249"/>
                    </a:lnTo>
                    <a:lnTo>
                      <a:pt x="46393" y="385945"/>
                    </a:lnTo>
                    <a:lnTo>
                      <a:pt x="42704" y="389631"/>
                    </a:lnTo>
                    <a:lnTo>
                      <a:pt x="50082" y="385945"/>
                    </a:lnTo>
                    <a:lnTo>
                      <a:pt x="53772" y="389631"/>
                    </a:lnTo>
                    <a:lnTo>
                      <a:pt x="57461" y="393327"/>
                    </a:lnTo>
                    <a:lnTo>
                      <a:pt x="61150" y="397013"/>
                    </a:lnTo>
                    <a:lnTo>
                      <a:pt x="61150" y="400709"/>
                    </a:lnTo>
                    <a:lnTo>
                      <a:pt x="64839" y="400709"/>
                    </a:lnTo>
                    <a:lnTo>
                      <a:pt x="68528" y="400709"/>
                    </a:lnTo>
                    <a:lnTo>
                      <a:pt x="72217" y="400709"/>
                    </a:lnTo>
                    <a:lnTo>
                      <a:pt x="75906" y="400709"/>
                    </a:lnTo>
                    <a:lnTo>
                      <a:pt x="72217" y="404395"/>
                    </a:lnTo>
                    <a:lnTo>
                      <a:pt x="75906" y="408090"/>
                    </a:lnTo>
                    <a:lnTo>
                      <a:pt x="79596" y="408090"/>
                    </a:lnTo>
                    <a:lnTo>
                      <a:pt x="79596" y="404395"/>
                    </a:lnTo>
                    <a:lnTo>
                      <a:pt x="83285" y="404395"/>
                    </a:lnTo>
                    <a:lnTo>
                      <a:pt x="86974" y="404395"/>
                    </a:lnTo>
                    <a:lnTo>
                      <a:pt x="90663" y="404395"/>
                    </a:lnTo>
                    <a:lnTo>
                      <a:pt x="94352" y="408090"/>
                    </a:lnTo>
                    <a:lnTo>
                      <a:pt x="101731" y="419158"/>
                    </a:lnTo>
                    <a:lnTo>
                      <a:pt x="105420" y="419158"/>
                    </a:lnTo>
                    <a:lnTo>
                      <a:pt x="109109" y="419158"/>
                    </a:lnTo>
                    <a:lnTo>
                      <a:pt x="112798" y="419158"/>
                    </a:lnTo>
                    <a:lnTo>
                      <a:pt x="112798" y="422854"/>
                    </a:lnTo>
                    <a:lnTo>
                      <a:pt x="120176" y="422854"/>
                    </a:lnTo>
                    <a:lnTo>
                      <a:pt x="123866" y="430227"/>
                    </a:lnTo>
                    <a:lnTo>
                      <a:pt x="127555" y="433922"/>
                    </a:lnTo>
                    <a:lnTo>
                      <a:pt x="131244" y="433922"/>
                    </a:lnTo>
                    <a:lnTo>
                      <a:pt x="134933" y="433922"/>
                    </a:lnTo>
                    <a:lnTo>
                      <a:pt x="131244" y="437608"/>
                    </a:lnTo>
                    <a:lnTo>
                      <a:pt x="127555" y="437608"/>
                    </a:lnTo>
                    <a:lnTo>
                      <a:pt x="131244" y="444990"/>
                    </a:lnTo>
                    <a:lnTo>
                      <a:pt x="134933" y="448686"/>
                    </a:lnTo>
                    <a:lnTo>
                      <a:pt x="146001" y="452372"/>
                    </a:lnTo>
                    <a:lnTo>
                      <a:pt x="146001" y="456068"/>
                    </a:lnTo>
                    <a:lnTo>
                      <a:pt x="153380" y="456068"/>
                    </a:lnTo>
                    <a:lnTo>
                      <a:pt x="160758" y="459754"/>
                    </a:lnTo>
                    <a:lnTo>
                      <a:pt x="168136" y="459754"/>
                    </a:lnTo>
                    <a:lnTo>
                      <a:pt x="168136" y="463450"/>
                    </a:lnTo>
                    <a:lnTo>
                      <a:pt x="182893" y="467136"/>
                    </a:lnTo>
                    <a:lnTo>
                      <a:pt x="190271" y="474518"/>
                    </a:lnTo>
                    <a:lnTo>
                      <a:pt x="193961" y="474518"/>
                    </a:lnTo>
                    <a:lnTo>
                      <a:pt x="201339" y="478204"/>
                    </a:lnTo>
                    <a:lnTo>
                      <a:pt x="212406" y="485586"/>
                    </a:lnTo>
                    <a:lnTo>
                      <a:pt x="216096" y="485586"/>
                    </a:lnTo>
                    <a:lnTo>
                      <a:pt x="219785" y="489281"/>
                    </a:lnTo>
                    <a:lnTo>
                      <a:pt x="227163" y="489281"/>
                    </a:lnTo>
                    <a:lnTo>
                      <a:pt x="227163" y="492968"/>
                    </a:lnTo>
                    <a:lnTo>
                      <a:pt x="241920" y="492968"/>
                    </a:lnTo>
                    <a:lnTo>
                      <a:pt x="245609" y="492968"/>
                    </a:lnTo>
                    <a:lnTo>
                      <a:pt x="252987" y="496663"/>
                    </a:lnTo>
                    <a:lnTo>
                      <a:pt x="256676" y="496663"/>
                    </a:lnTo>
                    <a:lnTo>
                      <a:pt x="260365" y="496663"/>
                    </a:lnTo>
                    <a:lnTo>
                      <a:pt x="264055" y="500350"/>
                    </a:lnTo>
                    <a:lnTo>
                      <a:pt x="267744" y="500350"/>
                    </a:lnTo>
                    <a:lnTo>
                      <a:pt x="271433" y="504045"/>
                    </a:lnTo>
                    <a:lnTo>
                      <a:pt x="275122" y="504045"/>
                    </a:lnTo>
                    <a:lnTo>
                      <a:pt x="282500" y="500350"/>
                    </a:lnTo>
                    <a:lnTo>
                      <a:pt x="286190" y="500350"/>
                    </a:lnTo>
                    <a:lnTo>
                      <a:pt x="297258" y="496663"/>
                    </a:lnTo>
                    <a:lnTo>
                      <a:pt x="300947" y="496663"/>
                    </a:lnTo>
                    <a:lnTo>
                      <a:pt x="304636" y="492968"/>
                    </a:lnTo>
                    <a:lnTo>
                      <a:pt x="312015" y="492968"/>
                    </a:lnTo>
                    <a:lnTo>
                      <a:pt x="315704" y="485586"/>
                    </a:lnTo>
                    <a:lnTo>
                      <a:pt x="319393" y="489281"/>
                    </a:lnTo>
                    <a:lnTo>
                      <a:pt x="323082" y="489281"/>
                    </a:lnTo>
                    <a:lnTo>
                      <a:pt x="330460" y="485586"/>
                    </a:lnTo>
                    <a:lnTo>
                      <a:pt x="330460" y="489281"/>
                    </a:lnTo>
                    <a:lnTo>
                      <a:pt x="345217" y="485586"/>
                    </a:lnTo>
                    <a:lnTo>
                      <a:pt x="348906" y="481900"/>
                    </a:lnTo>
                    <a:lnTo>
                      <a:pt x="352595" y="478204"/>
                    </a:lnTo>
                    <a:lnTo>
                      <a:pt x="359974" y="474518"/>
                    </a:lnTo>
                    <a:lnTo>
                      <a:pt x="371041" y="467136"/>
                    </a:lnTo>
                    <a:lnTo>
                      <a:pt x="374730" y="459754"/>
                    </a:lnTo>
                    <a:lnTo>
                      <a:pt x="378420" y="456068"/>
                    </a:lnTo>
                    <a:lnTo>
                      <a:pt x="382109" y="444990"/>
                    </a:lnTo>
                    <a:lnTo>
                      <a:pt x="385798" y="441304"/>
                    </a:lnTo>
                    <a:lnTo>
                      <a:pt x="389487" y="437608"/>
                    </a:lnTo>
                    <a:lnTo>
                      <a:pt x="389487" y="433922"/>
                    </a:lnTo>
                    <a:lnTo>
                      <a:pt x="393176" y="430227"/>
                    </a:lnTo>
                    <a:lnTo>
                      <a:pt x="396865" y="430227"/>
                    </a:lnTo>
                    <a:lnTo>
                      <a:pt x="404244" y="426540"/>
                    </a:lnTo>
                    <a:lnTo>
                      <a:pt x="411622" y="426540"/>
                    </a:lnTo>
                    <a:lnTo>
                      <a:pt x="419000" y="426540"/>
                    </a:lnTo>
                    <a:lnTo>
                      <a:pt x="426379" y="426540"/>
                    </a:lnTo>
                    <a:lnTo>
                      <a:pt x="430068" y="426540"/>
                    </a:lnTo>
                    <a:lnTo>
                      <a:pt x="437446" y="422854"/>
                    </a:lnTo>
                    <a:lnTo>
                      <a:pt x="441136" y="422854"/>
                    </a:lnTo>
                    <a:lnTo>
                      <a:pt x="448515" y="411777"/>
                    </a:lnTo>
                    <a:lnTo>
                      <a:pt x="452204" y="411777"/>
                    </a:lnTo>
                    <a:lnTo>
                      <a:pt x="459582" y="408090"/>
                    </a:lnTo>
                    <a:lnTo>
                      <a:pt x="463271" y="404395"/>
                    </a:lnTo>
                    <a:lnTo>
                      <a:pt x="470650" y="404395"/>
                    </a:lnTo>
                    <a:lnTo>
                      <a:pt x="474339" y="404395"/>
                    </a:lnTo>
                    <a:lnTo>
                      <a:pt x="478028" y="404395"/>
                    </a:lnTo>
                    <a:lnTo>
                      <a:pt x="485406" y="408090"/>
                    </a:lnTo>
                    <a:lnTo>
                      <a:pt x="492784" y="408090"/>
                    </a:lnTo>
                    <a:lnTo>
                      <a:pt x="496474" y="408090"/>
                    </a:lnTo>
                    <a:lnTo>
                      <a:pt x="500163" y="411777"/>
                    </a:lnTo>
                    <a:lnTo>
                      <a:pt x="507541" y="411777"/>
                    </a:lnTo>
                    <a:lnTo>
                      <a:pt x="511230" y="411777"/>
                    </a:lnTo>
                    <a:lnTo>
                      <a:pt x="518609" y="411777"/>
                    </a:lnTo>
                    <a:lnTo>
                      <a:pt x="518609" y="408090"/>
                    </a:lnTo>
                    <a:lnTo>
                      <a:pt x="522298" y="393327"/>
                    </a:lnTo>
                    <a:lnTo>
                      <a:pt x="514919" y="393327"/>
                    </a:lnTo>
                    <a:lnTo>
                      <a:pt x="511230" y="393327"/>
                    </a:lnTo>
                    <a:lnTo>
                      <a:pt x="507541" y="393327"/>
                    </a:lnTo>
                    <a:lnTo>
                      <a:pt x="503852" y="389631"/>
                    </a:lnTo>
                    <a:lnTo>
                      <a:pt x="507541" y="389631"/>
                    </a:lnTo>
                    <a:lnTo>
                      <a:pt x="503852" y="385945"/>
                    </a:lnTo>
                    <a:lnTo>
                      <a:pt x="503852" y="382249"/>
                    </a:lnTo>
                    <a:lnTo>
                      <a:pt x="503852" y="378563"/>
                    </a:lnTo>
                    <a:lnTo>
                      <a:pt x="507541" y="382249"/>
                    </a:lnTo>
                    <a:lnTo>
                      <a:pt x="514919" y="378563"/>
                    </a:lnTo>
                    <a:lnTo>
                      <a:pt x="518609" y="382249"/>
                    </a:lnTo>
                    <a:lnTo>
                      <a:pt x="529676" y="378563"/>
                    </a:lnTo>
                    <a:lnTo>
                      <a:pt x="533365" y="382249"/>
                    </a:lnTo>
                    <a:lnTo>
                      <a:pt x="537054" y="382249"/>
                    </a:lnTo>
                    <a:lnTo>
                      <a:pt x="537054" y="378563"/>
                    </a:lnTo>
                    <a:lnTo>
                      <a:pt x="533365" y="374877"/>
                    </a:lnTo>
                    <a:lnTo>
                      <a:pt x="533365" y="371181"/>
                    </a:lnTo>
                    <a:lnTo>
                      <a:pt x="533365" y="367495"/>
                    </a:lnTo>
                    <a:lnTo>
                      <a:pt x="537054" y="367495"/>
                    </a:lnTo>
                    <a:lnTo>
                      <a:pt x="540744" y="367495"/>
                    </a:lnTo>
                    <a:lnTo>
                      <a:pt x="544433" y="367495"/>
                    </a:lnTo>
                    <a:lnTo>
                      <a:pt x="548122" y="363799"/>
                    </a:lnTo>
                    <a:lnTo>
                      <a:pt x="548122" y="356417"/>
                    </a:lnTo>
                    <a:lnTo>
                      <a:pt x="551811" y="356417"/>
                    </a:lnTo>
                    <a:lnTo>
                      <a:pt x="559189" y="356417"/>
                    </a:lnTo>
                    <a:lnTo>
                      <a:pt x="562879" y="356417"/>
                    </a:lnTo>
                    <a:lnTo>
                      <a:pt x="562879" y="352731"/>
                    </a:lnTo>
                    <a:lnTo>
                      <a:pt x="566568" y="349035"/>
                    </a:lnTo>
                    <a:lnTo>
                      <a:pt x="570257" y="337967"/>
                    </a:lnTo>
                    <a:lnTo>
                      <a:pt x="570257" y="334272"/>
                    </a:lnTo>
                    <a:lnTo>
                      <a:pt x="573946" y="334272"/>
                    </a:lnTo>
                    <a:lnTo>
                      <a:pt x="577635" y="326899"/>
                    </a:lnTo>
                    <a:lnTo>
                      <a:pt x="581324" y="323204"/>
                    </a:lnTo>
                    <a:lnTo>
                      <a:pt x="577635" y="323204"/>
                    </a:lnTo>
                    <a:lnTo>
                      <a:pt x="581324" y="319517"/>
                    </a:lnTo>
                    <a:lnTo>
                      <a:pt x="577635" y="319517"/>
                    </a:lnTo>
                    <a:lnTo>
                      <a:pt x="573946" y="319517"/>
                    </a:lnTo>
                    <a:lnTo>
                      <a:pt x="570257" y="319517"/>
                    </a:lnTo>
                    <a:lnTo>
                      <a:pt x="555500" y="312136"/>
                    </a:lnTo>
                    <a:lnTo>
                      <a:pt x="548122" y="308440"/>
                    </a:lnTo>
                    <a:lnTo>
                      <a:pt x="533365" y="304754"/>
                    </a:lnTo>
                    <a:lnTo>
                      <a:pt x="537054" y="297372"/>
                    </a:lnTo>
                    <a:lnTo>
                      <a:pt x="533365" y="286294"/>
                    </a:lnTo>
                    <a:lnTo>
                      <a:pt x="529676" y="286294"/>
                    </a:lnTo>
                    <a:lnTo>
                      <a:pt x="525987" y="286294"/>
                    </a:lnTo>
                    <a:lnTo>
                      <a:pt x="525987" y="289990"/>
                    </a:lnTo>
                    <a:lnTo>
                      <a:pt x="522298" y="293676"/>
                    </a:lnTo>
                    <a:lnTo>
                      <a:pt x="518609" y="293676"/>
                    </a:lnTo>
                    <a:lnTo>
                      <a:pt x="511230" y="286294"/>
                    </a:lnTo>
                    <a:lnTo>
                      <a:pt x="507541" y="286294"/>
                    </a:lnTo>
                    <a:lnTo>
                      <a:pt x="503852" y="286294"/>
                    </a:lnTo>
                    <a:lnTo>
                      <a:pt x="500163" y="289990"/>
                    </a:lnTo>
                    <a:lnTo>
                      <a:pt x="496474" y="293676"/>
                    </a:lnTo>
                    <a:lnTo>
                      <a:pt x="496474" y="297372"/>
                    </a:lnTo>
                    <a:lnTo>
                      <a:pt x="492784" y="301058"/>
                    </a:lnTo>
                    <a:lnTo>
                      <a:pt x="489095" y="301058"/>
                    </a:lnTo>
                    <a:lnTo>
                      <a:pt x="485406" y="297372"/>
                    </a:lnTo>
                    <a:lnTo>
                      <a:pt x="481717" y="297372"/>
                    </a:lnTo>
                    <a:lnTo>
                      <a:pt x="478028" y="297372"/>
                    </a:lnTo>
                    <a:lnTo>
                      <a:pt x="474339" y="301058"/>
                    </a:lnTo>
                    <a:lnTo>
                      <a:pt x="470650" y="308440"/>
                    </a:lnTo>
                    <a:lnTo>
                      <a:pt x="466960" y="308440"/>
                    </a:lnTo>
                    <a:lnTo>
                      <a:pt x="466960" y="312136"/>
                    </a:lnTo>
                    <a:lnTo>
                      <a:pt x="463271" y="312136"/>
                    </a:lnTo>
                    <a:lnTo>
                      <a:pt x="459582" y="315822"/>
                    </a:lnTo>
                    <a:lnTo>
                      <a:pt x="455893" y="315822"/>
                    </a:lnTo>
                    <a:lnTo>
                      <a:pt x="448515" y="315822"/>
                    </a:lnTo>
                    <a:lnTo>
                      <a:pt x="444825" y="315822"/>
                    </a:lnTo>
                    <a:lnTo>
                      <a:pt x="444825" y="312136"/>
                    </a:lnTo>
                    <a:lnTo>
                      <a:pt x="444825" y="304754"/>
                    </a:lnTo>
                    <a:lnTo>
                      <a:pt x="441136" y="301058"/>
                    </a:lnTo>
                    <a:lnTo>
                      <a:pt x="441136" y="297372"/>
                    </a:lnTo>
                    <a:lnTo>
                      <a:pt x="437446" y="293676"/>
                    </a:lnTo>
                    <a:lnTo>
                      <a:pt x="433757" y="289990"/>
                    </a:lnTo>
                    <a:lnTo>
                      <a:pt x="430068" y="286294"/>
                    </a:lnTo>
                    <a:lnTo>
                      <a:pt x="426379" y="278922"/>
                    </a:lnTo>
                    <a:lnTo>
                      <a:pt x="422689" y="271540"/>
                    </a:lnTo>
                    <a:lnTo>
                      <a:pt x="419000" y="267844"/>
                    </a:lnTo>
                    <a:lnTo>
                      <a:pt x="433757" y="264158"/>
                    </a:lnTo>
                    <a:lnTo>
                      <a:pt x="437446" y="264158"/>
                    </a:lnTo>
                    <a:lnTo>
                      <a:pt x="433757" y="253081"/>
                    </a:lnTo>
                    <a:lnTo>
                      <a:pt x="430068" y="253081"/>
                    </a:lnTo>
                    <a:lnTo>
                      <a:pt x="426379" y="253081"/>
                    </a:lnTo>
                    <a:lnTo>
                      <a:pt x="422689" y="253081"/>
                    </a:lnTo>
                    <a:lnTo>
                      <a:pt x="419000" y="253081"/>
                    </a:lnTo>
                    <a:lnTo>
                      <a:pt x="415311" y="256776"/>
                    </a:lnTo>
                    <a:lnTo>
                      <a:pt x="411622" y="256776"/>
                    </a:lnTo>
                    <a:lnTo>
                      <a:pt x="407933" y="249394"/>
                    </a:lnTo>
                    <a:lnTo>
                      <a:pt x="411622" y="245699"/>
                    </a:lnTo>
                    <a:lnTo>
                      <a:pt x="411622" y="242013"/>
                    </a:lnTo>
                    <a:lnTo>
                      <a:pt x="415311" y="242013"/>
                    </a:lnTo>
                    <a:lnTo>
                      <a:pt x="419000" y="238317"/>
                    </a:lnTo>
                    <a:lnTo>
                      <a:pt x="422689" y="227249"/>
                    </a:lnTo>
                    <a:lnTo>
                      <a:pt x="433757" y="219867"/>
                    </a:lnTo>
                    <a:lnTo>
                      <a:pt x="437446" y="219867"/>
                    </a:lnTo>
                    <a:lnTo>
                      <a:pt x="441136" y="216181"/>
                    </a:lnTo>
                    <a:lnTo>
                      <a:pt x="444825" y="212485"/>
                    </a:lnTo>
                    <a:lnTo>
                      <a:pt x="430068" y="212485"/>
                    </a:lnTo>
                    <a:lnTo>
                      <a:pt x="422689" y="212485"/>
                    </a:lnTo>
                    <a:lnTo>
                      <a:pt x="426379" y="208799"/>
                    </a:lnTo>
                    <a:lnTo>
                      <a:pt x="422689" y="208799"/>
                    </a:lnTo>
                    <a:lnTo>
                      <a:pt x="422689" y="205103"/>
                    </a:lnTo>
                    <a:lnTo>
                      <a:pt x="419000" y="194035"/>
                    </a:lnTo>
                    <a:lnTo>
                      <a:pt x="419000" y="182967"/>
                    </a:lnTo>
                    <a:lnTo>
                      <a:pt x="422689" y="182967"/>
                    </a:lnTo>
                    <a:lnTo>
                      <a:pt x="419000" y="179271"/>
                    </a:lnTo>
                    <a:lnTo>
                      <a:pt x="404244" y="171889"/>
                    </a:lnTo>
                    <a:lnTo>
                      <a:pt x="404244" y="168203"/>
                    </a:lnTo>
                    <a:lnTo>
                      <a:pt x="407933" y="168203"/>
                    </a:lnTo>
                    <a:lnTo>
                      <a:pt x="411622" y="168203"/>
                    </a:lnTo>
                    <a:lnTo>
                      <a:pt x="411622" y="164508"/>
                    </a:lnTo>
                    <a:lnTo>
                      <a:pt x="415311" y="160821"/>
                    </a:lnTo>
                    <a:lnTo>
                      <a:pt x="411622" y="160821"/>
                    </a:lnTo>
                    <a:lnTo>
                      <a:pt x="415311" y="157126"/>
                    </a:lnTo>
                    <a:lnTo>
                      <a:pt x="419000" y="153440"/>
                    </a:lnTo>
                    <a:lnTo>
                      <a:pt x="426379" y="153440"/>
                    </a:lnTo>
                    <a:lnTo>
                      <a:pt x="426379" y="157126"/>
                    </a:lnTo>
                    <a:lnTo>
                      <a:pt x="430068" y="157126"/>
                    </a:lnTo>
                    <a:lnTo>
                      <a:pt x="437446" y="157126"/>
                    </a:lnTo>
                    <a:lnTo>
                      <a:pt x="441136" y="157126"/>
                    </a:lnTo>
                    <a:lnTo>
                      <a:pt x="444825" y="157126"/>
                    </a:lnTo>
                    <a:lnTo>
                      <a:pt x="444825" y="142362"/>
                    </a:lnTo>
                    <a:lnTo>
                      <a:pt x="455893" y="138676"/>
                    </a:lnTo>
                    <a:lnTo>
                      <a:pt x="441136" y="127608"/>
                    </a:lnTo>
                    <a:lnTo>
                      <a:pt x="437446" y="123912"/>
                    </a:lnTo>
                    <a:lnTo>
                      <a:pt x="430068" y="123912"/>
                    </a:lnTo>
                    <a:lnTo>
                      <a:pt x="426379" y="120226"/>
                    </a:lnTo>
                    <a:lnTo>
                      <a:pt x="422689" y="116530"/>
                    </a:lnTo>
                    <a:lnTo>
                      <a:pt x="422689" y="112844"/>
                    </a:lnTo>
                    <a:lnTo>
                      <a:pt x="419000" y="112844"/>
                    </a:lnTo>
                    <a:lnTo>
                      <a:pt x="415311" y="109148"/>
                    </a:lnTo>
                    <a:lnTo>
                      <a:pt x="415311" y="105462"/>
                    </a:lnTo>
                    <a:lnTo>
                      <a:pt x="411622" y="105462"/>
                    </a:lnTo>
                    <a:lnTo>
                      <a:pt x="411622" y="101766"/>
                    </a:lnTo>
                    <a:lnTo>
                      <a:pt x="411622" y="94385"/>
                    </a:lnTo>
                    <a:lnTo>
                      <a:pt x="407933" y="90698"/>
                    </a:lnTo>
                    <a:lnTo>
                      <a:pt x="407933" y="87012"/>
                    </a:lnTo>
                    <a:lnTo>
                      <a:pt x="404244" y="87012"/>
                    </a:lnTo>
                    <a:lnTo>
                      <a:pt x="400554" y="87012"/>
                    </a:lnTo>
                    <a:lnTo>
                      <a:pt x="396865" y="87012"/>
                    </a:lnTo>
                    <a:lnTo>
                      <a:pt x="396865" y="90698"/>
                    </a:lnTo>
                    <a:lnTo>
                      <a:pt x="393176" y="94385"/>
                    </a:lnTo>
                    <a:lnTo>
                      <a:pt x="385798" y="94385"/>
                    </a:lnTo>
                    <a:lnTo>
                      <a:pt x="382109" y="94385"/>
                    </a:lnTo>
                    <a:lnTo>
                      <a:pt x="378420" y="101766"/>
                    </a:lnTo>
                    <a:lnTo>
                      <a:pt x="374730" y="98080"/>
                    </a:lnTo>
                    <a:lnTo>
                      <a:pt x="371041" y="94385"/>
                    </a:lnTo>
                    <a:lnTo>
                      <a:pt x="374730" y="83316"/>
                    </a:lnTo>
                    <a:lnTo>
                      <a:pt x="363663" y="79630"/>
                    </a:lnTo>
                    <a:lnTo>
                      <a:pt x="359974" y="83316"/>
                    </a:lnTo>
                    <a:lnTo>
                      <a:pt x="356285" y="87012"/>
                    </a:lnTo>
                    <a:lnTo>
                      <a:pt x="352595" y="87012"/>
                    </a:lnTo>
                    <a:lnTo>
                      <a:pt x="348906" y="87012"/>
                    </a:lnTo>
                    <a:lnTo>
                      <a:pt x="345217" y="83316"/>
                    </a:lnTo>
                    <a:lnTo>
                      <a:pt x="345217" y="87012"/>
                    </a:lnTo>
                    <a:lnTo>
                      <a:pt x="341528" y="87012"/>
                    </a:lnTo>
                    <a:lnTo>
                      <a:pt x="334150" y="90698"/>
                    </a:lnTo>
                    <a:lnTo>
                      <a:pt x="330460" y="94385"/>
                    </a:lnTo>
                    <a:lnTo>
                      <a:pt x="326771" y="94385"/>
                    </a:lnTo>
                    <a:lnTo>
                      <a:pt x="323082" y="94385"/>
                    </a:lnTo>
                    <a:lnTo>
                      <a:pt x="312015" y="94385"/>
                    </a:lnTo>
                    <a:lnTo>
                      <a:pt x="304636" y="90698"/>
                    </a:lnTo>
                    <a:lnTo>
                      <a:pt x="300947" y="94385"/>
                    </a:lnTo>
                    <a:lnTo>
                      <a:pt x="297258" y="94385"/>
                    </a:lnTo>
                    <a:lnTo>
                      <a:pt x="293568" y="90698"/>
                    </a:lnTo>
                    <a:lnTo>
                      <a:pt x="289879" y="90698"/>
                    </a:lnTo>
                    <a:lnTo>
                      <a:pt x="289879" y="87012"/>
                    </a:lnTo>
                    <a:lnTo>
                      <a:pt x="289879" y="83316"/>
                    </a:lnTo>
                    <a:lnTo>
                      <a:pt x="289879" y="79630"/>
                    </a:lnTo>
                    <a:lnTo>
                      <a:pt x="293568" y="79630"/>
                    </a:lnTo>
                    <a:lnTo>
                      <a:pt x="293568" y="75935"/>
                    </a:lnTo>
                    <a:lnTo>
                      <a:pt x="297258" y="72248"/>
                    </a:lnTo>
                    <a:lnTo>
                      <a:pt x="297258" y="64867"/>
                    </a:lnTo>
                    <a:lnTo>
                      <a:pt x="297258" y="61171"/>
                    </a:lnTo>
                    <a:lnTo>
                      <a:pt x="297258" y="57485"/>
                    </a:lnTo>
                    <a:lnTo>
                      <a:pt x="297258" y="53789"/>
                    </a:lnTo>
                    <a:lnTo>
                      <a:pt x="300947" y="50103"/>
                    </a:lnTo>
                    <a:lnTo>
                      <a:pt x="304636" y="46407"/>
                    </a:lnTo>
                    <a:lnTo>
                      <a:pt x="308326" y="42721"/>
                    </a:lnTo>
                    <a:lnTo>
                      <a:pt x="308326" y="39035"/>
                    </a:lnTo>
                    <a:lnTo>
                      <a:pt x="308326" y="35339"/>
                    </a:lnTo>
                    <a:lnTo>
                      <a:pt x="312015" y="35339"/>
                    </a:lnTo>
                    <a:lnTo>
                      <a:pt x="312015" y="27957"/>
                    </a:lnTo>
                    <a:lnTo>
                      <a:pt x="315704" y="24271"/>
                    </a:lnTo>
                    <a:lnTo>
                      <a:pt x="319393" y="16889"/>
                    </a:lnTo>
                    <a:lnTo>
                      <a:pt x="312015" y="13193"/>
                    </a:lnTo>
                    <a:lnTo>
                      <a:pt x="308326" y="13193"/>
                    </a:lnTo>
                    <a:lnTo>
                      <a:pt x="304636" y="13193"/>
                    </a:lnTo>
                    <a:lnTo>
                      <a:pt x="300947" y="16889"/>
                    </a:lnTo>
                    <a:lnTo>
                      <a:pt x="297258" y="13193"/>
                    </a:lnTo>
                    <a:lnTo>
                      <a:pt x="297258" y="20575"/>
                    </a:lnTo>
                    <a:lnTo>
                      <a:pt x="286190" y="16889"/>
                    </a:lnTo>
                    <a:lnTo>
                      <a:pt x="260365" y="5812"/>
                    </a:lnTo>
                    <a:close/>
                    <a:moveTo>
                      <a:pt x="42704" y="389631"/>
                    </a:moveTo>
                    <a:lnTo>
                      <a:pt x="39015" y="393327"/>
                    </a:lnTo>
                    <a:lnTo>
                      <a:pt x="42704" y="393327"/>
                    </a:lnTo>
                    <a:lnTo>
                      <a:pt x="42704" y="389631"/>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49" name="Freeform: Shape 48">
                <a:extLst>
                  <a:ext uri="{FF2B5EF4-FFF2-40B4-BE49-F238E27FC236}">
                    <a16:creationId xmlns:a16="http://schemas.microsoft.com/office/drawing/2014/main" id="{4E90A1F0-7A0A-4A4C-B5EF-084DD1299D86}"/>
                  </a:ext>
                </a:extLst>
              </p:cNvPr>
              <p:cNvSpPr/>
              <p:nvPr/>
            </p:nvSpPr>
            <p:spPr>
              <a:xfrm>
                <a:off x="1714569" y="4334716"/>
                <a:ext cx="43320" cy="21660"/>
              </a:xfrm>
              <a:custGeom>
                <a:avLst/>
                <a:gdLst>
                  <a:gd name="connsiteX0" fmla="*/ 16880 w 19050"/>
                  <a:gd name="connsiteY0" fmla="*/ 5812 h 9525"/>
                  <a:gd name="connsiteX1" fmla="*/ 13191 w 19050"/>
                  <a:gd name="connsiteY1" fmla="*/ 9498 h 9525"/>
                  <a:gd name="connsiteX2" fmla="*/ 9501 w 19050"/>
                  <a:gd name="connsiteY2" fmla="*/ 9498 h 9525"/>
                  <a:gd name="connsiteX3" fmla="*/ 5812 w 19050"/>
                  <a:gd name="connsiteY3" fmla="*/ 9498 h 9525"/>
                  <a:gd name="connsiteX4" fmla="*/ 5812 w 19050"/>
                  <a:gd name="connsiteY4" fmla="*/ 5812 h 9525"/>
                  <a:gd name="connsiteX5" fmla="*/ 9501 w 19050"/>
                  <a:gd name="connsiteY5" fmla="*/ 5812 h 9525"/>
                  <a:gd name="connsiteX6" fmla="*/ 13191 w 19050"/>
                  <a:gd name="connsiteY6" fmla="*/ 5812 h 9525"/>
                  <a:gd name="connsiteX7" fmla="*/ 20569 w 19050"/>
                  <a:gd name="connsiteY7" fmla="*/ 5812 h 9525"/>
                  <a:gd name="connsiteX8" fmla="*/ 16880 w 19050"/>
                  <a:gd name="connsiteY8"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 h="9525">
                    <a:moveTo>
                      <a:pt x="16880" y="5812"/>
                    </a:moveTo>
                    <a:lnTo>
                      <a:pt x="13191" y="9498"/>
                    </a:lnTo>
                    <a:lnTo>
                      <a:pt x="9501" y="9498"/>
                    </a:lnTo>
                    <a:lnTo>
                      <a:pt x="5812" y="9498"/>
                    </a:lnTo>
                    <a:lnTo>
                      <a:pt x="5812" y="5812"/>
                    </a:lnTo>
                    <a:lnTo>
                      <a:pt x="9501" y="5812"/>
                    </a:lnTo>
                    <a:lnTo>
                      <a:pt x="13191" y="5812"/>
                    </a:lnTo>
                    <a:lnTo>
                      <a:pt x="20569" y="5812"/>
                    </a:lnTo>
                    <a:lnTo>
                      <a:pt x="16880" y="5812"/>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50" name="Freeform: Shape 49">
                <a:extLst>
                  <a:ext uri="{FF2B5EF4-FFF2-40B4-BE49-F238E27FC236}">
                    <a16:creationId xmlns:a16="http://schemas.microsoft.com/office/drawing/2014/main" id="{A91214FF-3F5A-46EE-BC4C-595013BFE9F4}"/>
                  </a:ext>
                </a:extLst>
              </p:cNvPr>
              <p:cNvSpPr/>
              <p:nvPr/>
            </p:nvSpPr>
            <p:spPr>
              <a:xfrm>
                <a:off x="1681016" y="4250782"/>
                <a:ext cx="86640" cy="64980"/>
              </a:xfrm>
              <a:custGeom>
                <a:avLst/>
                <a:gdLst>
                  <a:gd name="connsiteX0" fmla="*/ 31636 w 38100"/>
                  <a:gd name="connsiteY0" fmla="*/ 16880 h 28575"/>
                  <a:gd name="connsiteX1" fmla="*/ 35325 w 38100"/>
                  <a:gd name="connsiteY1" fmla="*/ 20575 h 28575"/>
                  <a:gd name="connsiteX2" fmla="*/ 35325 w 38100"/>
                  <a:gd name="connsiteY2" fmla="*/ 20575 h 28575"/>
                  <a:gd name="connsiteX3" fmla="*/ 31636 w 38100"/>
                  <a:gd name="connsiteY3" fmla="*/ 16880 h 28575"/>
                  <a:gd name="connsiteX4" fmla="*/ 24257 w 38100"/>
                  <a:gd name="connsiteY4" fmla="*/ 16880 h 28575"/>
                  <a:gd name="connsiteX5" fmla="*/ 16879 w 38100"/>
                  <a:gd name="connsiteY5" fmla="*/ 20575 h 28575"/>
                  <a:gd name="connsiteX6" fmla="*/ 9501 w 38100"/>
                  <a:gd name="connsiteY6" fmla="*/ 24261 h 28575"/>
                  <a:gd name="connsiteX7" fmla="*/ 5812 w 38100"/>
                  <a:gd name="connsiteY7" fmla="*/ 24261 h 28575"/>
                  <a:gd name="connsiteX8" fmla="*/ 5812 w 38100"/>
                  <a:gd name="connsiteY8" fmla="*/ 20575 h 28575"/>
                  <a:gd name="connsiteX9" fmla="*/ 5812 w 38100"/>
                  <a:gd name="connsiteY9" fmla="*/ 20575 h 28575"/>
                  <a:gd name="connsiteX10" fmla="*/ 13190 w 38100"/>
                  <a:gd name="connsiteY10" fmla="*/ 16880 h 28575"/>
                  <a:gd name="connsiteX11" fmla="*/ 13190 w 38100"/>
                  <a:gd name="connsiteY11" fmla="*/ 13193 h 28575"/>
                  <a:gd name="connsiteX12" fmla="*/ 16879 w 38100"/>
                  <a:gd name="connsiteY12" fmla="*/ 9498 h 28575"/>
                  <a:gd name="connsiteX13" fmla="*/ 20568 w 38100"/>
                  <a:gd name="connsiteY13" fmla="*/ 5812 h 28575"/>
                  <a:gd name="connsiteX14" fmla="*/ 20568 w 38100"/>
                  <a:gd name="connsiteY14" fmla="*/ 9498 h 28575"/>
                  <a:gd name="connsiteX15" fmla="*/ 24257 w 38100"/>
                  <a:gd name="connsiteY15" fmla="*/ 9498 h 28575"/>
                  <a:gd name="connsiteX16" fmla="*/ 31636 w 38100"/>
                  <a:gd name="connsiteY16" fmla="*/ 16880 h 28575"/>
                  <a:gd name="connsiteX17" fmla="*/ 31636 w 38100"/>
                  <a:gd name="connsiteY17" fmla="*/ 1688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28575">
                    <a:moveTo>
                      <a:pt x="31636" y="16880"/>
                    </a:moveTo>
                    <a:lnTo>
                      <a:pt x="35325" y="20575"/>
                    </a:lnTo>
                    <a:lnTo>
                      <a:pt x="35325" y="20575"/>
                    </a:lnTo>
                    <a:lnTo>
                      <a:pt x="31636" y="16880"/>
                    </a:lnTo>
                    <a:lnTo>
                      <a:pt x="24257" y="16880"/>
                    </a:lnTo>
                    <a:lnTo>
                      <a:pt x="16879" y="20575"/>
                    </a:lnTo>
                    <a:lnTo>
                      <a:pt x="9501" y="24261"/>
                    </a:lnTo>
                    <a:lnTo>
                      <a:pt x="5812" y="24261"/>
                    </a:lnTo>
                    <a:lnTo>
                      <a:pt x="5812" y="20575"/>
                    </a:lnTo>
                    <a:lnTo>
                      <a:pt x="5812" y="20575"/>
                    </a:lnTo>
                    <a:lnTo>
                      <a:pt x="13190" y="16880"/>
                    </a:lnTo>
                    <a:lnTo>
                      <a:pt x="13190" y="13193"/>
                    </a:lnTo>
                    <a:lnTo>
                      <a:pt x="16879" y="9498"/>
                    </a:lnTo>
                    <a:lnTo>
                      <a:pt x="20568" y="5812"/>
                    </a:lnTo>
                    <a:lnTo>
                      <a:pt x="20568" y="9498"/>
                    </a:lnTo>
                    <a:lnTo>
                      <a:pt x="24257" y="9498"/>
                    </a:lnTo>
                    <a:lnTo>
                      <a:pt x="31636" y="16880"/>
                    </a:lnTo>
                    <a:lnTo>
                      <a:pt x="31636" y="16880"/>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51" name="Freeform: Shape 50">
                <a:extLst>
                  <a:ext uri="{FF2B5EF4-FFF2-40B4-BE49-F238E27FC236}">
                    <a16:creationId xmlns:a16="http://schemas.microsoft.com/office/drawing/2014/main" id="{BC5F95EB-FC12-4E4D-B2F0-68BCC8C8A3A1}"/>
                  </a:ext>
                </a:extLst>
              </p:cNvPr>
              <p:cNvSpPr/>
              <p:nvPr/>
            </p:nvSpPr>
            <p:spPr>
              <a:xfrm>
                <a:off x="1605510" y="4150060"/>
                <a:ext cx="649800" cy="368220"/>
              </a:xfrm>
              <a:custGeom>
                <a:avLst/>
                <a:gdLst>
                  <a:gd name="connsiteX0" fmla="*/ 90663 w 285750"/>
                  <a:gd name="connsiteY0" fmla="*/ 5812 h 161925"/>
                  <a:gd name="connsiteX1" fmla="*/ 83285 w 285750"/>
                  <a:gd name="connsiteY1" fmla="*/ 9507 h 161925"/>
                  <a:gd name="connsiteX2" fmla="*/ 90663 w 285750"/>
                  <a:gd name="connsiteY2" fmla="*/ 9507 h 161925"/>
                  <a:gd name="connsiteX3" fmla="*/ 90663 w 285750"/>
                  <a:gd name="connsiteY3" fmla="*/ 5812 h 161925"/>
                  <a:gd name="connsiteX4" fmla="*/ 90663 w 285750"/>
                  <a:gd name="connsiteY4" fmla="*/ 9507 h 161925"/>
                  <a:gd name="connsiteX5" fmla="*/ 79595 w 285750"/>
                  <a:gd name="connsiteY5" fmla="*/ 13194 h 161925"/>
                  <a:gd name="connsiteX6" fmla="*/ 75906 w 285750"/>
                  <a:gd name="connsiteY6" fmla="*/ 13194 h 161925"/>
                  <a:gd name="connsiteX7" fmla="*/ 72217 w 285750"/>
                  <a:gd name="connsiteY7" fmla="*/ 13194 h 161925"/>
                  <a:gd name="connsiteX8" fmla="*/ 79595 w 285750"/>
                  <a:gd name="connsiteY8" fmla="*/ 9507 h 161925"/>
                  <a:gd name="connsiteX9" fmla="*/ 68528 w 285750"/>
                  <a:gd name="connsiteY9" fmla="*/ 13194 h 161925"/>
                  <a:gd name="connsiteX10" fmla="*/ 46393 w 285750"/>
                  <a:gd name="connsiteY10" fmla="*/ 20575 h 161925"/>
                  <a:gd name="connsiteX11" fmla="*/ 39015 w 285750"/>
                  <a:gd name="connsiteY11" fmla="*/ 24271 h 161925"/>
                  <a:gd name="connsiteX12" fmla="*/ 35326 w 285750"/>
                  <a:gd name="connsiteY12" fmla="*/ 24271 h 161925"/>
                  <a:gd name="connsiteX13" fmla="*/ 24258 w 285750"/>
                  <a:gd name="connsiteY13" fmla="*/ 27957 h 161925"/>
                  <a:gd name="connsiteX14" fmla="*/ 20569 w 285750"/>
                  <a:gd name="connsiteY14" fmla="*/ 27957 h 161925"/>
                  <a:gd name="connsiteX15" fmla="*/ 16880 w 285750"/>
                  <a:gd name="connsiteY15" fmla="*/ 35339 h 161925"/>
                  <a:gd name="connsiteX16" fmla="*/ 16880 w 285750"/>
                  <a:gd name="connsiteY16" fmla="*/ 39035 h 161925"/>
                  <a:gd name="connsiteX17" fmla="*/ 16880 w 285750"/>
                  <a:gd name="connsiteY17" fmla="*/ 42721 h 161925"/>
                  <a:gd name="connsiteX18" fmla="*/ 20569 w 285750"/>
                  <a:gd name="connsiteY18" fmla="*/ 53789 h 161925"/>
                  <a:gd name="connsiteX19" fmla="*/ 20569 w 285750"/>
                  <a:gd name="connsiteY19" fmla="*/ 57485 h 161925"/>
                  <a:gd name="connsiteX20" fmla="*/ 24258 w 285750"/>
                  <a:gd name="connsiteY20" fmla="*/ 57485 h 161925"/>
                  <a:gd name="connsiteX21" fmla="*/ 24258 w 285750"/>
                  <a:gd name="connsiteY21" fmla="*/ 61171 h 161925"/>
                  <a:gd name="connsiteX22" fmla="*/ 27947 w 285750"/>
                  <a:gd name="connsiteY22" fmla="*/ 61171 h 161925"/>
                  <a:gd name="connsiteX23" fmla="*/ 35326 w 285750"/>
                  <a:gd name="connsiteY23" fmla="*/ 57485 h 161925"/>
                  <a:gd name="connsiteX24" fmla="*/ 35326 w 285750"/>
                  <a:gd name="connsiteY24" fmla="*/ 53789 h 161925"/>
                  <a:gd name="connsiteX25" fmla="*/ 31636 w 285750"/>
                  <a:gd name="connsiteY25" fmla="*/ 53789 h 161925"/>
                  <a:gd name="connsiteX26" fmla="*/ 31636 w 285750"/>
                  <a:gd name="connsiteY26" fmla="*/ 50103 h 161925"/>
                  <a:gd name="connsiteX27" fmla="*/ 35326 w 285750"/>
                  <a:gd name="connsiteY27" fmla="*/ 50103 h 161925"/>
                  <a:gd name="connsiteX28" fmla="*/ 39015 w 285750"/>
                  <a:gd name="connsiteY28" fmla="*/ 50103 h 161925"/>
                  <a:gd name="connsiteX29" fmla="*/ 42704 w 285750"/>
                  <a:gd name="connsiteY29" fmla="*/ 50103 h 161925"/>
                  <a:gd name="connsiteX30" fmla="*/ 46393 w 285750"/>
                  <a:gd name="connsiteY30" fmla="*/ 46417 h 161925"/>
                  <a:gd name="connsiteX31" fmla="*/ 50082 w 285750"/>
                  <a:gd name="connsiteY31" fmla="*/ 46417 h 161925"/>
                  <a:gd name="connsiteX32" fmla="*/ 53771 w 285750"/>
                  <a:gd name="connsiteY32" fmla="*/ 46417 h 161925"/>
                  <a:gd name="connsiteX33" fmla="*/ 57460 w 285750"/>
                  <a:gd name="connsiteY33" fmla="*/ 46417 h 161925"/>
                  <a:gd name="connsiteX34" fmla="*/ 61150 w 285750"/>
                  <a:gd name="connsiteY34" fmla="*/ 42721 h 161925"/>
                  <a:gd name="connsiteX35" fmla="*/ 64839 w 285750"/>
                  <a:gd name="connsiteY35" fmla="*/ 39035 h 161925"/>
                  <a:gd name="connsiteX36" fmla="*/ 72217 w 285750"/>
                  <a:gd name="connsiteY36" fmla="*/ 42721 h 161925"/>
                  <a:gd name="connsiteX37" fmla="*/ 79595 w 285750"/>
                  <a:gd name="connsiteY37" fmla="*/ 42721 h 161925"/>
                  <a:gd name="connsiteX38" fmla="*/ 86974 w 285750"/>
                  <a:gd name="connsiteY38" fmla="*/ 46417 h 161925"/>
                  <a:gd name="connsiteX39" fmla="*/ 86974 w 285750"/>
                  <a:gd name="connsiteY39" fmla="*/ 50103 h 161925"/>
                  <a:gd name="connsiteX40" fmla="*/ 90663 w 285750"/>
                  <a:gd name="connsiteY40" fmla="*/ 53789 h 161925"/>
                  <a:gd name="connsiteX41" fmla="*/ 94352 w 285750"/>
                  <a:gd name="connsiteY41" fmla="*/ 61171 h 161925"/>
                  <a:gd name="connsiteX42" fmla="*/ 98041 w 285750"/>
                  <a:gd name="connsiteY42" fmla="*/ 61171 h 161925"/>
                  <a:gd name="connsiteX43" fmla="*/ 98041 w 285750"/>
                  <a:gd name="connsiteY43" fmla="*/ 68553 h 161925"/>
                  <a:gd name="connsiteX44" fmla="*/ 98041 w 285750"/>
                  <a:gd name="connsiteY44" fmla="*/ 72248 h 161925"/>
                  <a:gd name="connsiteX45" fmla="*/ 94352 w 285750"/>
                  <a:gd name="connsiteY45" fmla="*/ 72248 h 161925"/>
                  <a:gd name="connsiteX46" fmla="*/ 94352 w 285750"/>
                  <a:gd name="connsiteY46" fmla="*/ 75935 h 161925"/>
                  <a:gd name="connsiteX47" fmla="*/ 98041 w 285750"/>
                  <a:gd name="connsiteY47" fmla="*/ 75935 h 161925"/>
                  <a:gd name="connsiteX48" fmla="*/ 94352 w 285750"/>
                  <a:gd name="connsiteY48" fmla="*/ 79630 h 161925"/>
                  <a:gd name="connsiteX49" fmla="*/ 94352 w 285750"/>
                  <a:gd name="connsiteY49" fmla="*/ 83317 h 161925"/>
                  <a:gd name="connsiteX50" fmla="*/ 98041 w 285750"/>
                  <a:gd name="connsiteY50" fmla="*/ 90698 h 161925"/>
                  <a:gd name="connsiteX51" fmla="*/ 101730 w 285750"/>
                  <a:gd name="connsiteY51" fmla="*/ 90698 h 161925"/>
                  <a:gd name="connsiteX52" fmla="*/ 101730 w 285750"/>
                  <a:gd name="connsiteY52" fmla="*/ 94394 h 161925"/>
                  <a:gd name="connsiteX53" fmla="*/ 105420 w 285750"/>
                  <a:gd name="connsiteY53" fmla="*/ 98080 h 161925"/>
                  <a:gd name="connsiteX54" fmla="*/ 105420 w 285750"/>
                  <a:gd name="connsiteY54" fmla="*/ 101766 h 161925"/>
                  <a:gd name="connsiteX55" fmla="*/ 109109 w 285750"/>
                  <a:gd name="connsiteY55" fmla="*/ 109148 h 161925"/>
                  <a:gd name="connsiteX56" fmla="*/ 109109 w 285750"/>
                  <a:gd name="connsiteY56" fmla="*/ 116530 h 161925"/>
                  <a:gd name="connsiteX57" fmla="*/ 112798 w 285750"/>
                  <a:gd name="connsiteY57" fmla="*/ 116530 h 161925"/>
                  <a:gd name="connsiteX58" fmla="*/ 116487 w 285750"/>
                  <a:gd name="connsiteY58" fmla="*/ 116530 h 161925"/>
                  <a:gd name="connsiteX59" fmla="*/ 120176 w 285750"/>
                  <a:gd name="connsiteY59" fmla="*/ 120226 h 161925"/>
                  <a:gd name="connsiteX60" fmla="*/ 123865 w 285750"/>
                  <a:gd name="connsiteY60" fmla="*/ 116530 h 161925"/>
                  <a:gd name="connsiteX61" fmla="*/ 123865 w 285750"/>
                  <a:gd name="connsiteY61" fmla="*/ 120226 h 161925"/>
                  <a:gd name="connsiteX62" fmla="*/ 131244 w 285750"/>
                  <a:gd name="connsiteY62" fmla="*/ 120226 h 161925"/>
                  <a:gd name="connsiteX63" fmla="*/ 138622 w 285750"/>
                  <a:gd name="connsiteY63" fmla="*/ 120226 h 161925"/>
                  <a:gd name="connsiteX64" fmla="*/ 142311 w 285750"/>
                  <a:gd name="connsiteY64" fmla="*/ 120226 h 161925"/>
                  <a:gd name="connsiteX65" fmla="*/ 146001 w 285750"/>
                  <a:gd name="connsiteY65" fmla="*/ 120226 h 161925"/>
                  <a:gd name="connsiteX66" fmla="*/ 149690 w 285750"/>
                  <a:gd name="connsiteY66" fmla="*/ 123912 h 161925"/>
                  <a:gd name="connsiteX67" fmla="*/ 160758 w 285750"/>
                  <a:gd name="connsiteY67" fmla="*/ 127608 h 161925"/>
                  <a:gd name="connsiteX68" fmla="*/ 164447 w 285750"/>
                  <a:gd name="connsiteY68" fmla="*/ 134990 h 161925"/>
                  <a:gd name="connsiteX69" fmla="*/ 168136 w 285750"/>
                  <a:gd name="connsiteY69" fmla="*/ 138676 h 161925"/>
                  <a:gd name="connsiteX70" fmla="*/ 175515 w 285750"/>
                  <a:gd name="connsiteY70" fmla="*/ 138676 h 161925"/>
                  <a:gd name="connsiteX71" fmla="*/ 179204 w 285750"/>
                  <a:gd name="connsiteY71" fmla="*/ 138676 h 161925"/>
                  <a:gd name="connsiteX72" fmla="*/ 179204 w 285750"/>
                  <a:gd name="connsiteY72" fmla="*/ 142372 h 161925"/>
                  <a:gd name="connsiteX73" fmla="*/ 186582 w 285750"/>
                  <a:gd name="connsiteY73" fmla="*/ 142372 h 161925"/>
                  <a:gd name="connsiteX74" fmla="*/ 190271 w 285750"/>
                  <a:gd name="connsiteY74" fmla="*/ 146058 h 161925"/>
                  <a:gd name="connsiteX75" fmla="*/ 193960 w 285750"/>
                  <a:gd name="connsiteY75" fmla="*/ 146058 h 161925"/>
                  <a:gd name="connsiteX76" fmla="*/ 193960 w 285750"/>
                  <a:gd name="connsiteY76" fmla="*/ 149744 h 161925"/>
                  <a:gd name="connsiteX77" fmla="*/ 193960 w 285750"/>
                  <a:gd name="connsiteY77" fmla="*/ 153440 h 161925"/>
                  <a:gd name="connsiteX78" fmla="*/ 201339 w 285750"/>
                  <a:gd name="connsiteY78" fmla="*/ 157126 h 161925"/>
                  <a:gd name="connsiteX79" fmla="*/ 205028 w 285750"/>
                  <a:gd name="connsiteY79" fmla="*/ 160821 h 161925"/>
                  <a:gd name="connsiteX80" fmla="*/ 216095 w 285750"/>
                  <a:gd name="connsiteY80" fmla="*/ 160821 h 161925"/>
                  <a:gd name="connsiteX81" fmla="*/ 219785 w 285750"/>
                  <a:gd name="connsiteY81" fmla="*/ 160821 h 161925"/>
                  <a:gd name="connsiteX82" fmla="*/ 223474 w 285750"/>
                  <a:gd name="connsiteY82" fmla="*/ 160821 h 161925"/>
                  <a:gd name="connsiteX83" fmla="*/ 230852 w 285750"/>
                  <a:gd name="connsiteY83" fmla="*/ 157126 h 161925"/>
                  <a:gd name="connsiteX84" fmla="*/ 238230 w 285750"/>
                  <a:gd name="connsiteY84" fmla="*/ 157126 h 161925"/>
                  <a:gd name="connsiteX85" fmla="*/ 241919 w 285750"/>
                  <a:gd name="connsiteY85" fmla="*/ 157126 h 161925"/>
                  <a:gd name="connsiteX86" fmla="*/ 252987 w 285750"/>
                  <a:gd name="connsiteY86" fmla="*/ 153440 h 161925"/>
                  <a:gd name="connsiteX87" fmla="*/ 260365 w 285750"/>
                  <a:gd name="connsiteY87" fmla="*/ 149744 h 161925"/>
                  <a:gd name="connsiteX88" fmla="*/ 264054 w 285750"/>
                  <a:gd name="connsiteY88" fmla="*/ 146058 h 161925"/>
                  <a:gd name="connsiteX89" fmla="*/ 267744 w 285750"/>
                  <a:gd name="connsiteY89" fmla="*/ 138676 h 161925"/>
                  <a:gd name="connsiteX90" fmla="*/ 267744 w 285750"/>
                  <a:gd name="connsiteY90" fmla="*/ 134990 h 161925"/>
                  <a:gd name="connsiteX91" fmla="*/ 264054 w 285750"/>
                  <a:gd name="connsiteY91" fmla="*/ 134990 h 161925"/>
                  <a:gd name="connsiteX92" fmla="*/ 264054 w 285750"/>
                  <a:gd name="connsiteY92" fmla="*/ 131294 h 161925"/>
                  <a:gd name="connsiteX93" fmla="*/ 267744 w 285750"/>
                  <a:gd name="connsiteY93" fmla="*/ 131294 h 161925"/>
                  <a:gd name="connsiteX94" fmla="*/ 271433 w 285750"/>
                  <a:gd name="connsiteY94" fmla="*/ 131294 h 161925"/>
                  <a:gd name="connsiteX95" fmla="*/ 275122 w 285750"/>
                  <a:gd name="connsiteY95" fmla="*/ 131294 h 161925"/>
                  <a:gd name="connsiteX96" fmla="*/ 278811 w 285750"/>
                  <a:gd name="connsiteY96" fmla="*/ 131294 h 161925"/>
                  <a:gd name="connsiteX97" fmla="*/ 286189 w 285750"/>
                  <a:gd name="connsiteY97" fmla="*/ 127608 h 161925"/>
                  <a:gd name="connsiteX98" fmla="*/ 282500 w 285750"/>
                  <a:gd name="connsiteY98" fmla="*/ 127608 h 161925"/>
                  <a:gd name="connsiteX99" fmla="*/ 282500 w 285750"/>
                  <a:gd name="connsiteY99" fmla="*/ 123912 h 161925"/>
                  <a:gd name="connsiteX100" fmla="*/ 282500 w 285750"/>
                  <a:gd name="connsiteY100" fmla="*/ 120226 h 161925"/>
                  <a:gd name="connsiteX101" fmla="*/ 278811 w 285750"/>
                  <a:gd name="connsiteY101" fmla="*/ 120226 h 161925"/>
                  <a:gd name="connsiteX102" fmla="*/ 275122 w 285750"/>
                  <a:gd name="connsiteY102" fmla="*/ 123912 h 161925"/>
                  <a:gd name="connsiteX103" fmla="*/ 267744 w 285750"/>
                  <a:gd name="connsiteY103" fmla="*/ 123912 h 161925"/>
                  <a:gd name="connsiteX104" fmla="*/ 260365 w 285750"/>
                  <a:gd name="connsiteY104" fmla="*/ 123912 h 161925"/>
                  <a:gd name="connsiteX105" fmla="*/ 252987 w 285750"/>
                  <a:gd name="connsiteY105" fmla="*/ 123912 h 161925"/>
                  <a:gd name="connsiteX106" fmla="*/ 249298 w 285750"/>
                  <a:gd name="connsiteY106" fmla="*/ 123912 h 161925"/>
                  <a:gd name="connsiteX107" fmla="*/ 241919 w 285750"/>
                  <a:gd name="connsiteY107" fmla="*/ 123912 h 161925"/>
                  <a:gd name="connsiteX108" fmla="*/ 234541 w 285750"/>
                  <a:gd name="connsiteY108" fmla="*/ 112844 h 161925"/>
                  <a:gd name="connsiteX109" fmla="*/ 227163 w 285750"/>
                  <a:gd name="connsiteY109" fmla="*/ 112844 h 161925"/>
                  <a:gd name="connsiteX110" fmla="*/ 223474 w 285750"/>
                  <a:gd name="connsiteY110" fmla="*/ 109148 h 161925"/>
                  <a:gd name="connsiteX111" fmla="*/ 219785 w 285750"/>
                  <a:gd name="connsiteY111" fmla="*/ 109148 h 161925"/>
                  <a:gd name="connsiteX112" fmla="*/ 216095 w 285750"/>
                  <a:gd name="connsiteY112" fmla="*/ 105462 h 161925"/>
                  <a:gd name="connsiteX113" fmla="*/ 216095 w 285750"/>
                  <a:gd name="connsiteY113" fmla="*/ 101766 h 161925"/>
                  <a:gd name="connsiteX114" fmla="*/ 208717 w 285750"/>
                  <a:gd name="connsiteY114" fmla="*/ 98080 h 161925"/>
                  <a:gd name="connsiteX115" fmla="*/ 208717 w 285750"/>
                  <a:gd name="connsiteY115" fmla="*/ 94394 h 161925"/>
                  <a:gd name="connsiteX116" fmla="*/ 208717 w 285750"/>
                  <a:gd name="connsiteY116" fmla="*/ 90698 h 161925"/>
                  <a:gd name="connsiteX117" fmla="*/ 205028 w 285750"/>
                  <a:gd name="connsiteY117" fmla="*/ 90698 h 161925"/>
                  <a:gd name="connsiteX118" fmla="*/ 193960 w 285750"/>
                  <a:gd name="connsiteY118" fmla="*/ 79630 h 161925"/>
                  <a:gd name="connsiteX119" fmla="*/ 182893 w 285750"/>
                  <a:gd name="connsiteY119" fmla="*/ 68553 h 161925"/>
                  <a:gd name="connsiteX120" fmla="*/ 179204 w 285750"/>
                  <a:gd name="connsiteY120" fmla="*/ 68553 h 161925"/>
                  <a:gd name="connsiteX121" fmla="*/ 179204 w 285750"/>
                  <a:gd name="connsiteY121" fmla="*/ 64867 h 161925"/>
                  <a:gd name="connsiteX122" fmla="*/ 171825 w 285750"/>
                  <a:gd name="connsiteY122" fmla="*/ 64867 h 161925"/>
                  <a:gd name="connsiteX123" fmla="*/ 168136 w 285750"/>
                  <a:gd name="connsiteY123" fmla="*/ 61171 h 161925"/>
                  <a:gd name="connsiteX124" fmla="*/ 164447 w 285750"/>
                  <a:gd name="connsiteY124" fmla="*/ 61171 h 161925"/>
                  <a:gd name="connsiteX125" fmla="*/ 157069 w 285750"/>
                  <a:gd name="connsiteY125" fmla="*/ 53789 h 161925"/>
                  <a:gd name="connsiteX126" fmla="*/ 149690 w 285750"/>
                  <a:gd name="connsiteY126" fmla="*/ 50103 h 161925"/>
                  <a:gd name="connsiteX127" fmla="*/ 146001 w 285750"/>
                  <a:gd name="connsiteY127" fmla="*/ 50103 h 161925"/>
                  <a:gd name="connsiteX128" fmla="*/ 131244 w 285750"/>
                  <a:gd name="connsiteY128" fmla="*/ 42721 h 161925"/>
                  <a:gd name="connsiteX129" fmla="*/ 127555 w 285750"/>
                  <a:gd name="connsiteY129" fmla="*/ 39035 h 161925"/>
                  <a:gd name="connsiteX130" fmla="*/ 116487 w 285750"/>
                  <a:gd name="connsiteY130" fmla="*/ 35339 h 161925"/>
                  <a:gd name="connsiteX131" fmla="*/ 116487 w 285750"/>
                  <a:gd name="connsiteY131" fmla="*/ 31653 h 161925"/>
                  <a:gd name="connsiteX132" fmla="*/ 112798 w 285750"/>
                  <a:gd name="connsiteY132" fmla="*/ 27957 h 161925"/>
                  <a:gd name="connsiteX133" fmla="*/ 109109 w 285750"/>
                  <a:gd name="connsiteY133" fmla="*/ 27957 h 161925"/>
                  <a:gd name="connsiteX134" fmla="*/ 109109 w 285750"/>
                  <a:gd name="connsiteY134" fmla="*/ 31653 h 161925"/>
                  <a:gd name="connsiteX135" fmla="*/ 105420 w 285750"/>
                  <a:gd name="connsiteY135" fmla="*/ 27957 h 161925"/>
                  <a:gd name="connsiteX136" fmla="*/ 109109 w 285750"/>
                  <a:gd name="connsiteY136" fmla="*/ 27957 h 161925"/>
                  <a:gd name="connsiteX137" fmla="*/ 109109 w 285750"/>
                  <a:gd name="connsiteY137" fmla="*/ 24271 h 161925"/>
                  <a:gd name="connsiteX138" fmla="*/ 109109 w 285750"/>
                  <a:gd name="connsiteY138" fmla="*/ 20575 h 161925"/>
                  <a:gd name="connsiteX139" fmla="*/ 105420 w 285750"/>
                  <a:gd name="connsiteY139" fmla="*/ 20575 h 161925"/>
                  <a:gd name="connsiteX140" fmla="*/ 105420 w 285750"/>
                  <a:gd name="connsiteY140" fmla="*/ 24271 h 161925"/>
                  <a:gd name="connsiteX141" fmla="*/ 101730 w 285750"/>
                  <a:gd name="connsiteY141" fmla="*/ 24271 h 161925"/>
                  <a:gd name="connsiteX142" fmla="*/ 101730 w 285750"/>
                  <a:gd name="connsiteY142" fmla="*/ 20575 h 161925"/>
                  <a:gd name="connsiteX143" fmla="*/ 94352 w 285750"/>
                  <a:gd name="connsiteY143" fmla="*/ 16889 h 161925"/>
                  <a:gd name="connsiteX144" fmla="*/ 94352 w 285750"/>
                  <a:gd name="connsiteY144" fmla="*/ 13194 h 161925"/>
                  <a:gd name="connsiteX145" fmla="*/ 90663 w 285750"/>
                  <a:gd name="connsiteY145" fmla="*/ 9507 h 161925"/>
                  <a:gd name="connsiteX146" fmla="*/ 20569 w 285750"/>
                  <a:gd name="connsiteY146" fmla="*/ 61171 h 161925"/>
                  <a:gd name="connsiteX147" fmla="*/ 16880 w 285750"/>
                  <a:gd name="connsiteY147" fmla="*/ 68553 h 161925"/>
                  <a:gd name="connsiteX148" fmla="*/ 13191 w 285750"/>
                  <a:gd name="connsiteY148" fmla="*/ 72248 h 161925"/>
                  <a:gd name="connsiteX149" fmla="*/ 5812 w 285750"/>
                  <a:gd name="connsiteY149" fmla="*/ 75935 h 161925"/>
                  <a:gd name="connsiteX150" fmla="*/ 9501 w 285750"/>
                  <a:gd name="connsiteY150" fmla="*/ 75935 h 161925"/>
                  <a:gd name="connsiteX151" fmla="*/ 16880 w 285750"/>
                  <a:gd name="connsiteY151" fmla="*/ 79630 h 161925"/>
                  <a:gd name="connsiteX152" fmla="*/ 20569 w 285750"/>
                  <a:gd name="connsiteY152" fmla="*/ 83317 h 161925"/>
                  <a:gd name="connsiteX153" fmla="*/ 24258 w 285750"/>
                  <a:gd name="connsiteY153" fmla="*/ 83317 h 161925"/>
                  <a:gd name="connsiteX154" fmla="*/ 24258 w 285750"/>
                  <a:gd name="connsiteY154" fmla="*/ 79630 h 161925"/>
                  <a:gd name="connsiteX155" fmla="*/ 20569 w 285750"/>
                  <a:gd name="connsiteY155" fmla="*/ 75935 h 161925"/>
                  <a:gd name="connsiteX156" fmla="*/ 16880 w 285750"/>
                  <a:gd name="connsiteY156" fmla="*/ 72248 h 161925"/>
                  <a:gd name="connsiteX157" fmla="*/ 20569 w 285750"/>
                  <a:gd name="connsiteY157" fmla="*/ 6117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285750" h="161925">
                    <a:moveTo>
                      <a:pt x="90663" y="5812"/>
                    </a:moveTo>
                    <a:lnTo>
                      <a:pt x="83285" y="9507"/>
                    </a:lnTo>
                    <a:lnTo>
                      <a:pt x="90663" y="9507"/>
                    </a:lnTo>
                    <a:lnTo>
                      <a:pt x="90663" y="5812"/>
                    </a:lnTo>
                    <a:close/>
                    <a:moveTo>
                      <a:pt x="90663" y="9507"/>
                    </a:moveTo>
                    <a:lnTo>
                      <a:pt x="79595" y="13194"/>
                    </a:lnTo>
                    <a:lnTo>
                      <a:pt x="75906" y="13194"/>
                    </a:lnTo>
                    <a:lnTo>
                      <a:pt x="72217" y="13194"/>
                    </a:lnTo>
                    <a:lnTo>
                      <a:pt x="79595" y="9507"/>
                    </a:lnTo>
                    <a:lnTo>
                      <a:pt x="68528" y="13194"/>
                    </a:lnTo>
                    <a:lnTo>
                      <a:pt x="46393" y="20575"/>
                    </a:lnTo>
                    <a:lnTo>
                      <a:pt x="39015" y="24271"/>
                    </a:lnTo>
                    <a:lnTo>
                      <a:pt x="35326" y="24271"/>
                    </a:lnTo>
                    <a:lnTo>
                      <a:pt x="24258" y="27957"/>
                    </a:lnTo>
                    <a:lnTo>
                      <a:pt x="20569" y="27957"/>
                    </a:lnTo>
                    <a:lnTo>
                      <a:pt x="16880" y="35339"/>
                    </a:lnTo>
                    <a:lnTo>
                      <a:pt x="16880" y="39035"/>
                    </a:lnTo>
                    <a:lnTo>
                      <a:pt x="16880" y="42721"/>
                    </a:lnTo>
                    <a:lnTo>
                      <a:pt x="20569" y="53789"/>
                    </a:lnTo>
                    <a:lnTo>
                      <a:pt x="20569" y="57485"/>
                    </a:lnTo>
                    <a:lnTo>
                      <a:pt x="24258" y="57485"/>
                    </a:lnTo>
                    <a:lnTo>
                      <a:pt x="24258" y="61171"/>
                    </a:lnTo>
                    <a:lnTo>
                      <a:pt x="27947" y="61171"/>
                    </a:lnTo>
                    <a:lnTo>
                      <a:pt x="35326" y="57485"/>
                    </a:lnTo>
                    <a:lnTo>
                      <a:pt x="35326" y="53789"/>
                    </a:lnTo>
                    <a:lnTo>
                      <a:pt x="31636" y="53789"/>
                    </a:lnTo>
                    <a:lnTo>
                      <a:pt x="31636" y="50103"/>
                    </a:lnTo>
                    <a:lnTo>
                      <a:pt x="35326" y="50103"/>
                    </a:lnTo>
                    <a:lnTo>
                      <a:pt x="39015" y="50103"/>
                    </a:lnTo>
                    <a:lnTo>
                      <a:pt x="42704" y="50103"/>
                    </a:lnTo>
                    <a:lnTo>
                      <a:pt x="46393" y="46417"/>
                    </a:lnTo>
                    <a:lnTo>
                      <a:pt x="50082" y="46417"/>
                    </a:lnTo>
                    <a:lnTo>
                      <a:pt x="53771" y="46417"/>
                    </a:lnTo>
                    <a:lnTo>
                      <a:pt x="57460" y="46417"/>
                    </a:lnTo>
                    <a:lnTo>
                      <a:pt x="61150" y="42721"/>
                    </a:lnTo>
                    <a:lnTo>
                      <a:pt x="64839" y="39035"/>
                    </a:lnTo>
                    <a:lnTo>
                      <a:pt x="72217" y="42721"/>
                    </a:lnTo>
                    <a:lnTo>
                      <a:pt x="79595" y="42721"/>
                    </a:lnTo>
                    <a:lnTo>
                      <a:pt x="86974" y="46417"/>
                    </a:lnTo>
                    <a:lnTo>
                      <a:pt x="86974" y="50103"/>
                    </a:lnTo>
                    <a:lnTo>
                      <a:pt x="90663" y="53789"/>
                    </a:lnTo>
                    <a:lnTo>
                      <a:pt x="94352" y="61171"/>
                    </a:lnTo>
                    <a:lnTo>
                      <a:pt x="98041" y="61171"/>
                    </a:lnTo>
                    <a:lnTo>
                      <a:pt x="98041" y="68553"/>
                    </a:lnTo>
                    <a:lnTo>
                      <a:pt x="98041" y="72248"/>
                    </a:lnTo>
                    <a:lnTo>
                      <a:pt x="94352" y="72248"/>
                    </a:lnTo>
                    <a:lnTo>
                      <a:pt x="94352" y="75935"/>
                    </a:lnTo>
                    <a:lnTo>
                      <a:pt x="98041" y="75935"/>
                    </a:lnTo>
                    <a:lnTo>
                      <a:pt x="94352" y="79630"/>
                    </a:lnTo>
                    <a:lnTo>
                      <a:pt x="94352" y="83317"/>
                    </a:lnTo>
                    <a:lnTo>
                      <a:pt x="98041" y="90698"/>
                    </a:lnTo>
                    <a:lnTo>
                      <a:pt x="101730" y="90698"/>
                    </a:lnTo>
                    <a:lnTo>
                      <a:pt x="101730" y="94394"/>
                    </a:lnTo>
                    <a:lnTo>
                      <a:pt x="105420" y="98080"/>
                    </a:lnTo>
                    <a:lnTo>
                      <a:pt x="105420" y="101766"/>
                    </a:lnTo>
                    <a:lnTo>
                      <a:pt x="109109" y="109148"/>
                    </a:lnTo>
                    <a:lnTo>
                      <a:pt x="109109" y="116530"/>
                    </a:lnTo>
                    <a:lnTo>
                      <a:pt x="112798" y="116530"/>
                    </a:lnTo>
                    <a:lnTo>
                      <a:pt x="116487" y="116530"/>
                    </a:lnTo>
                    <a:lnTo>
                      <a:pt x="120176" y="120226"/>
                    </a:lnTo>
                    <a:lnTo>
                      <a:pt x="123865" y="116530"/>
                    </a:lnTo>
                    <a:lnTo>
                      <a:pt x="123865" y="120226"/>
                    </a:lnTo>
                    <a:lnTo>
                      <a:pt x="131244" y="120226"/>
                    </a:lnTo>
                    <a:lnTo>
                      <a:pt x="138622" y="120226"/>
                    </a:lnTo>
                    <a:lnTo>
                      <a:pt x="142311" y="120226"/>
                    </a:lnTo>
                    <a:lnTo>
                      <a:pt x="146001" y="120226"/>
                    </a:lnTo>
                    <a:lnTo>
                      <a:pt x="149690" y="123912"/>
                    </a:lnTo>
                    <a:lnTo>
                      <a:pt x="160758" y="127608"/>
                    </a:lnTo>
                    <a:lnTo>
                      <a:pt x="164447" y="134990"/>
                    </a:lnTo>
                    <a:lnTo>
                      <a:pt x="168136" y="138676"/>
                    </a:lnTo>
                    <a:lnTo>
                      <a:pt x="175515" y="138676"/>
                    </a:lnTo>
                    <a:lnTo>
                      <a:pt x="179204" y="138676"/>
                    </a:lnTo>
                    <a:lnTo>
                      <a:pt x="179204" y="142372"/>
                    </a:lnTo>
                    <a:lnTo>
                      <a:pt x="186582" y="142372"/>
                    </a:lnTo>
                    <a:lnTo>
                      <a:pt x="190271" y="146058"/>
                    </a:lnTo>
                    <a:lnTo>
                      <a:pt x="193960" y="146058"/>
                    </a:lnTo>
                    <a:lnTo>
                      <a:pt x="193960" y="149744"/>
                    </a:lnTo>
                    <a:lnTo>
                      <a:pt x="193960" y="153440"/>
                    </a:lnTo>
                    <a:lnTo>
                      <a:pt x="201339" y="157126"/>
                    </a:lnTo>
                    <a:lnTo>
                      <a:pt x="205028" y="160821"/>
                    </a:lnTo>
                    <a:lnTo>
                      <a:pt x="216095" y="160821"/>
                    </a:lnTo>
                    <a:lnTo>
                      <a:pt x="219785" y="160821"/>
                    </a:lnTo>
                    <a:lnTo>
                      <a:pt x="223474" y="160821"/>
                    </a:lnTo>
                    <a:lnTo>
                      <a:pt x="230852" y="157126"/>
                    </a:lnTo>
                    <a:lnTo>
                      <a:pt x="238230" y="157126"/>
                    </a:lnTo>
                    <a:lnTo>
                      <a:pt x="241919" y="157126"/>
                    </a:lnTo>
                    <a:lnTo>
                      <a:pt x="252987" y="153440"/>
                    </a:lnTo>
                    <a:lnTo>
                      <a:pt x="260365" y="149744"/>
                    </a:lnTo>
                    <a:lnTo>
                      <a:pt x="264054" y="146058"/>
                    </a:lnTo>
                    <a:lnTo>
                      <a:pt x="267744" y="138676"/>
                    </a:lnTo>
                    <a:lnTo>
                      <a:pt x="267744" y="134990"/>
                    </a:lnTo>
                    <a:lnTo>
                      <a:pt x="264054" y="134990"/>
                    </a:lnTo>
                    <a:lnTo>
                      <a:pt x="264054" y="131294"/>
                    </a:lnTo>
                    <a:lnTo>
                      <a:pt x="267744" y="131294"/>
                    </a:lnTo>
                    <a:lnTo>
                      <a:pt x="271433" y="131294"/>
                    </a:lnTo>
                    <a:lnTo>
                      <a:pt x="275122" y="131294"/>
                    </a:lnTo>
                    <a:lnTo>
                      <a:pt x="278811" y="131294"/>
                    </a:lnTo>
                    <a:lnTo>
                      <a:pt x="286189" y="127608"/>
                    </a:lnTo>
                    <a:lnTo>
                      <a:pt x="282500" y="127608"/>
                    </a:lnTo>
                    <a:lnTo>
                      <a:pt x="282500" y="123912"/>
                    </a:lnTo>
                    <a:lnTo>
                      <a:pt x="282500" y="120226"/>
                    </a:lnTo>
                    <a:lnTo>
                      <a:pt x="278811" y="120226"/>
                    </a:lnTo>
                    <a:lnTo>
                      <a:pt x="275122" y="123912"/>
                    </a:lnTo>
                    <a:lnTo>
                      <a:pt x="267744" y="123912"/>
                    </a:lnTo>
                    <a:lnTo>
                      <a:pt x="260365" y="123912"/>
                    </a:lnTo>
                    <a:lnTo>
                      <a:pt x="252987" y="123912"/>
                    </a:lnTo>
                    <a:lnTo>
                      <a:pt x="249298" y="123912"/>
                    </a:lnTo>
                    <a:lnTo>
                      <a:pt x="241919" y="123912"/>
                    </a:lnTo>
                    <a:lnTo>
                      <a:pt x="234541" y="112844"/>
                    </a:lnTo>
                    <a:lnTo>
                      <a:pt x="227163" y="112844"/>
                    </a:lnTo>
                    <a:lnTo>
                      <a:pt x="223474" y="109148"/>
                    </a:lnTo>
                    <a:lnTo>
                      <a:pt x="219785" y="109148"/>
                    </a:lnTo>
                    <a:lnTo>
                      <a:pt x="216095" y="105462"/>
                    </a:lnTo>
                    <a:lnTo>
                      <a:pt x="216095" y="101766"/>
                    </a:lnTo>
                    <a:lnTo>
                      <a:pt x="208717" y="98080"/>
                    </a:lnTo>
                    <a:lnTo>
                      <a:pt x="208717" y="94394"/>
                    </a:lnTo>
                    <a:lnTo>
                      <a:pt x="208717" y="90698"/>
                    </a:lnTo>
                    <a:lnTo>
                      <a:pt x="205028" y="90698"/>
                    </a:lnTo>
                    <a:lnTo>
                      <a:pt x="193960" y="79630"/>
                    </a:lnTo>
                    <a:lnTo>
                      <a:pt x="182893" y="68553"/>
                    </a:lnTo>
                    <a:lnTo>
                      <a:pt x="179204" y="68553"/>
                    </a:lnTo>
                    <a:lnTo>
                      <a:pt x="179204" y="64867"/>
                    </a:lnTo>
                    <a:lnTo>
                      <a:pt x="171825" y="64867"/>
                    </a:lnTo>
                    <a:lnTo>
                      <a:pt x="168136" y="61171"/>
                    </a:lnTo>
                    <a:lnTo>
                      <a:pt x="164447" y="61171"/>
                    </a:lnTo>
                    <a:lnTo>
                      <a:pt x="157069" y="53789"/>
                    </a:lnTo>
                    <a:lnTo>
                      <a:pt x="149690" y="50103"/>
                    </a:lnTo>
                    <a:lnTo>
                      <a:pt x="146001" y="50103"/>
                    </a:lnTo>
                    <a:lnTo>
                      <a:pt x="131244" y="42721"/>
                    </a:lnTo>
                    <a:lnTo>
                      <a:pt x="127555" y="39035"/>
                    </a:lnTo>
                    <a:lnTo>
                      <a:pt x="116487" y="35339"/>
                    </a:lnTo>
                    <a:lnTo>
                      <a:pt x="116487" y="31653"/>
                    </a:lnTo>
                    <a:lnTo>
                      <a:pt x="112798" y="27957"/>
                    </a:lnTo>
                    <a:lnTo>
                      <a:pt x="109109" y="27957"/>
                    </a:lnTo>
                    <a:lnTo>
                      <a:pt x="109109" y="31653"/>
                    </a:lnTo>
                    <a:lnTo>
                      <a:pt x="105420" y="27957"/>
                    </a:lnTo>
                    <a:lnTo>
                      <a:pt x="109109" y="27957"/>
                    </a:lnTo>
                    <a:lnTo>
                      <a:pt x="109109" y="24271"/>
                    </a:lnTo>
                    <a:lnTo>
                      <a:pt x="109109" y="20575"/>
                    </a:lnTo>
                    <a:lnTo>
                      <a:pt x="105420" y="20575"/>
                    </a:lnTo>
                    <a:lnTo>
                      <a:pt x="105420" y="24271"/>
                    </a:lnTo>
                    <a:lnTo>
                      <a:pt x="101730" y="24271"/>
                    </a:lnTo>
                    <a:lnTo>
                      <a:pt x="101730" y="20575"/>
                    </a:lnTo>
                    <a:lnTo>
                      <a:pt x="94352" y="16889"/>
                    </a:lnTo>
                    <a:lnTo>
                      <a:pt x="94352" y="13194"/>
                    </a:lnTo>
                    <a:lnTo>
                      <a:pt x="90663" y="9507"/>
                    </a:lnTo>
                    <a:close/>
                    <a:moveTo>
                      <a:pt x="20569" y="61171"/>
                    </a:moveTo>
                    <a:lnTo>
                      <a:pt x="16880" y="68553"/>
                    </a:lnTo>
                    <a:lnTo>
                      <a:pt x="13191" y="72248"/>
                    </a:lnTo>
                    <a:lnTo>
                      <a:pt x="5812" y="75935"/>
                    </a:lnTo>
                    <a:lnTo>
                      <a:pt x="9501" y="75935"/>
                    </a:lnTo>
                    <a:lnTo>
                      <a:pt x="16880" y="79630"/>
                    </a:lnTo>
                    <a:lnTo>
                      <a:pt x="20569" y="83317"/>
                    </a:lnTo>
                    <a:lnTo>
                      <a:pt x="24258" y="83317"/>
                    </a:lnTo>
                    <a:lnTo>
                      <a:pt x="24258" y="79630"/>
                    </a:lnTo>
                    <a:lnTo>
                      <a:pt x="20569" y="75935"/>
                    </a:lnTo>
                    <a:lnTo>
                      <a:pt x="16880" y="72248"/>
                    </a:lnTo>
                    <a:lnTo>
                      <a:pt x="20569" y="61171"/>
                    </a:lnTo>
                    <a:close/>
                  </a:path>
                </a:pathLst>
              </a:custGeom>
              <a:solidFill>
                <a:srgbClr val="EC6224">
                  <a:alpha val="60000"/>
                </a:srgbClr>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52" name="Freeform: Shape 51">
                <a:extLst>
                  <a:ext uri="{FF2B5EF4-FFF2-40B4-BE49-F238E27FC236}">
                    <a16:creationId xmlns:a16="http://schemas.microsoft.com/office/drawing/2014/main" id="{0972A7A2-AD72-4978-B662-BD285D39C91A}"/>
                  </a:ext>
                </a:extLst>
              </p:cNvPr>
              <p:cNvSpPr/>
              <p:nvPr/>
            </p:nvSpPr>
            <p:spPr>
              <a:xfrm>
                <a:off x="2075308" y="4326307"/>
                <a:ext cx="129960" cy="64980"/>
              </a:xfrm>
              <a:custGeom>
                <a:avLst/>
                <a:gdLst>
                  <a:gd name="connsiteX0" fmla="*/ 27947 w 57150"/>
                  <a:gd name="connsiteY0" fmla="*/ 9507 h 28575"/>
                  <a:gd name="connsiteX1" fmla="*/ 35325 w 57150"/>
                  <a:gd name="connsiteY1" fmla="*/ 13193 h 28575"/>
                  <a:gd name="connsiteX2" fmla="*/ 46393 w 57150"/>
                  <a:gd name="connsiteY2" fmla="*/ 16889 h 28575"/>
                  <a:gd name="connsiteX3" fmla="*/ 53771 w 57150"/>
                  <a:gd name="connsiteY3" fmla="*/ 20575 h 28575"/>
                  <a:gd name="connsiteX4" fmla="*/ 53771 w 57150"/>
                  <a:gd name="connsiteY4" fmla="*/ 20575 h 28575"/>
                  <a:gd name="connsiteX5" fmla="*/ 57460 w 57150"/>
                  <a:gd name="connsiteY5" fmla="*/ 24261 h 28575"/>
                  <a:gd name="connsiteX6" fmla="*/ 53771 w 57150"/>
                  <a:gd name="connsiteY6" fmla="*/ 24261 h 28575"/>
                  <a:gd name="connsiteX7" fmla="*/ 53771 w 57150"/>
                  <a:gd name="connsiteY7" fmla="*/ 24261 h 28575"/>
                  <a:gd name="connsiteX8" fmla="*/ 46393 w 57150"/>
                  <a:gd name="connsiteY8" fmla="*/ 27957 h 28575"/>
                  <a:gd name="connsiteX9" fmla="*/ 35325 w 57150"/>
                  <a:gd name="connsiteY9" fmla="*/ 27957 h 28575"/>
                  <a:gd name="connsiteX10" fmla="*/ 31636 w 57150"/>
                  <a:gd name="connsiteY10" fmla="*/ 27957 h 28575"/>
                  <a:gd name="connsiteX11" fmla="*/ 27947 w 57150"/>
                  <a:gd name="connsiteY11" fmla="*/ 24261 h 28575"/>
                  <a:gd name="connsiteX12" fmla="*/ 24258 w 57150"/>
                  <a:gd name="connsiteY12" fmla="*/ 20575 h 28575"/>
                  <a:gd name="connsiteX13" fmla="*/ 24258 w 57150"/>
                  <a:gd name="connsiteY13" fmla="*/ 20575 h 28575"/>
                  <a:gd name="connsiteX14" fmla="*/ 20569 w 57150"/>
                  <a:gd name="connsiteY14" fmla="*/ 20575 h 28575"/>
                  <a:gd name="connsiteX15" fmla="*/ 13191 w 57150"/>
                  <a:gd name="connsiteY15" fmla="*/ 13193 h 28575"/>
                  <a:gd name="connsiteX16" fmla="*/ 9501 w 57150"/>
                  <a:gd name="connsiteY16" fmla="*/ 13193 h 28575"/>
                  <a:gd name="connsiteX17" fmla="*/ 5812 w 57150"/>
                  <a:gd name="connsiteY17" fmla="*/ 9507 h 28575"/>
                  <a:gd name="connsiteX18" fmla="*/ 5812 w 57150"/>
                  <a:gd name="connsiteY18" fmla="*/ 9507 h 28575"/>
                  <a:gd name="connsiteX19" fmla="*/ 5812 w 57150"/>
                  <a:gd name="connsiteY19" fmla="*/ 9507 h 28575"/>
                  <a:gd name="connsiteX20" fmla="*/ 9501 w 57150"/>
                  <a:gd name="connsiteY20" fmla="*/ 5812 h 28575"/>
                  <a:gd name="connsiteX21" fmla="*/ 9501 w 57150"/>
                  <a:gd name="connsiteY21" fmla="*/ 5812 h 28575"/>
                  <a:gd name="connsiteX22" fmla="*/ 16880 w 57150"/>
                  <a:gd name="connsiteY22" fmla="*/ 5812 h 28575"/>
                  <a:gd name="connsiteX23" fmla="*/ 27947 w 57150"/>
                  <a:gd name="connsiteY23" fmla="*/ 9507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150" h="28575">
                    <a:moveTo>
                      <a:pt x="27947" y="9507"/>
                    </a:moveTo>
                    <a:lnTo>
                      <a:pt x="35325" y="13193"/>
                    </a:lnTo>
                    <a:lnTo>
                      <a:pt x="46393" y="16889"/>
                    </a:lnTo>
                    <a:lnTo>
                      <a:pt x="53771" y="20575"/>
                    </a:lnTo>
                    <a:lnTo>
                      <a:pt x="53771" y="20575"/>
                    </a:lnTo>
                    <a:lnTo>
                      <a:pt x="57460" y="24261"/>
                    </a:lnTo>
                    <a:lnTo>
                      <a:pt x="53771" y="24261"/>
                    </a:lnTo>
                    <a:lnTo>
                      <a:pt x="53771" y="24261"/>
                    </a:lnTo>
                    <a:lnTo>
                      <a:pt x="46393" y="27957"/>
                    </a:lnTo>
                    <a:lnTo>
                      <a:pt x="35325" y="27957"/>
                    </a:lnTo>
                    <a:lnTo>
                      <a:pt x="31636" y="27957"/>
                    </a:lnTo>
                    <a:lnTo>
                      <a:pt x="27947" y="24261"/>
                    </a:lnTo>
                    <a:lnTo>
                      <a:pt x="24258" y="20575"/>
                    </a:lnTo>
                    <a:lnTo>
                      <a:pt x="24258" y="20575"/>
                    </a:lnTo>
                    <a:lnTo>
                      <a:pt x="20569" y="20575"/>
                    </a:lnTo>
                    <a:lnTo>
                      <a:pt x="13191" y="13193"/>
                    </a:lnTo>
                    <a:lnTo>
                      <a:pt x="9501" y="13193"/>
                    </a:lnTo>
                    <a:lnTo>
                      <a:pt x="5812" y="9507"/>
                    </a:lnTo>
                    <a:lnTo>
                      <a:pt x="5812" y="9507"/>
                    </a:lnTo>
                    <a:lnTo>
                      <a:pt x="5812" y="9507"/>
                    </a:lnTo>
                    <a:lnTo>
                      <a:pt x="9501" y="5812"/>
                    </a:lnTo>
                    <a:lnTo>
                      <a:pt x="9501" y="5812"/>
                    </a:lnTo>
                    <a:lnTo>
                      <a:pt x="16880" y="5812"/>
                    </a:lnTo>
                    <a:lnTo>
                      <a:pt x="27947" y="9507"/>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53" name="Freeform: Shape 52">
                <a:extLst>
                  <a:ext uri="{FF2B5EF4-FFF2-40B4-BE49-F238E27FC236}">
                    <a16:creationId xmlns:a16="http://schemas.microsoft.com/office/drawing/2014/main" id="{F0564411-387F-4425-9F73-65873AC58998}"/>
                  </a:ext>
                </a:extLst>
              </p:cNvPr>
              <p:cNvSpPr/>
              <p:nvPr/>
            </p:nvSpPr>
            <p:spPr>
              <a:xfrm>
                <a:off x="1764907" y="4309520"/>
                <a:ext cx="64980" cy="86640"/>
              </a:xfrm>
              <a:custGeom>
                <a:avLst/>
                <a:gdLst>
                  <a:gd name="connsiteX0" fmla="*/ 5812 w 28575"/>
                  <a:gd name="connsiteY0" fmla="*/ 9507 h 38100"/>
                  <a:gd name="connsiteX1" fmla="*/ 9501 w 28575"/>
                  <a:gd name="connsiteY1" fmla="*/ 9507 h 38100"/>
                  <a:gd name="connsiteX2" fmla="*/ 13191 w 28575"/>
                  <a:gd name="connsiteY2" fmla="*/ 5812 h 38100"/>
                  <a:gd name="connsiteX3" fmla="*/ 13191 w 28575"/>
                  <a:gd name="connsiteY3" fmla="*/ 5812 h 38100"/>
                  <a:gd name="connsiteX4" fmla="*/ 13191 w 28575"/>
                  <a:gd name="connsiteY4" fmla="*/ 9507 h 38100"/>
                  <a:gd name="connsiteX5" fmla="*/ 13191 w 28575"/>
                  <a:gd name="connsiteY5" fmla="*/ 13194 h 38100"/>
                  <a:gd name="connsiteX6" fmla="*/ 16880 w 28575"/>
                  <a:gd name="connsiteY6" fmla="*/ 24271 h 38100"/>
                  <a:gd name="connsiteX7" fmla="*/ 24258 w 28575"/>
                  <a:gd name="connsiteY7" fmla="*/ 31643 h 38100"/>
                  <a:gd name="connsiteX8" fmla="*/ 24258 w 28575"/>
                  <a:gd name="connsiteY8" fmla="*/ 31643 h 38100"/>
                  <a:gd name="connsiteX9" fmla="*/ 24258 w 28575"/>
                  <a:gd name="connsiteY9" fmla="*/ 31643 h 38100"/>
                  <a:gd name="connsiteX10" fmla="*/ 20569 w 28575"/>
                  <a:gd name="connsiteY10" fmla="*/ 35339 h 38100"/>
                  <a:gd name="connsiteX11" fmla="*/ 16880 w 28575"/>
                  <a:gd name="connsiteY11" fmla="*/ 35339 h 38100"/>
                  <a:gd name="connsiteX12" fmla="*/ 16880 w 28575"/>
                  <a:gd name="connsiteY12" fmla="*/ 31643 h 38100"/>
                  <a:gd name="connsiteX13" fmla="*/ 13191 w 28575"/>
                  <a:gd name="connsiteY13" fmla="*/ 27957 h 38100"/>
                  <a:gd name="connsiteX14" fmla="*/ 13191 w 28575"/>
                  <a:gd name="connsiteY14" fmla="*/ 24271 h 38100"/>
                  <a:gd name="connsiteX15" fmla="*/ 9501 w 28575"/>
                  <a:gd name="connsiteY15" fmla="*/ 16889 h 38100"/>
                  <a:gd name="connsiteX16" fmla="*/ 5812 w 28575"/>
                  <a:gd name="connsiteY16" fmla="*/ 13194 h 38100"/>
                  <a:gd name="connsiteX17" fmla="*/ 5812 w 28575"/>
                  <a:gd name="connsiteY17" fmla="*/ 13194 h 38100"/>
                  <a:gd name="connsiteX18" fmla="*/ 5812 w 28575"/>
                  <a:gd name="connsiteY18" fmla="*/ 9507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575" h="38100">
                    <a:moveTo>
                      <a:pt x="5812" y="9507"/>
                    </a:moveTo>
                    <a:lnTo>
                      <a:pt x="9501" y="9507"/>
                    </a:lnTo>
                    <a:lnTo>
                      <a:pt x="13191" y="5812"/>
                    </a:lnTo>
                    <a:lnTo>
                      <a:pt x="13191" y="5812"/>
                    </a:lnTo>
                    <a:lnTo>
                      <a:pt x="13191" y="9507"/>
                    </a:lnTo>
                    <a:lnTo>
                      <a:pt x="13191" y="13194"/>
                    </a:lnTo>
                    <a:lnTo>
                      <a:pt x="16880" y="24271"/>
                    </a:lnTo>
                    <a:lnTo>
                      <a:pt x="24258" y="31643"/>
                    </a:lnTo>
                    <a:lnTo>
                      <a:pt x="24258" y="31643"/>
                    </a:lnTo>
                    <a:lnTo>
                      <a:pt x="24258" y="31643"/>
                    </a:lnTo>
                    <a:lnTo>
                      <a:pt x="20569" y="35339"/>
                    </a:lnTo>
                    <a:lnTo>
                      <a:pt x="16880" y="35339"/>
                    </a:lnTo>
                    <a:lnTo>
                      <a:pt x="16880" y="31643"/>
                    </a:lnTo>
                    <a:lnTo>
                      <a:pt x="13191" y="27957"/>
                    </a:lnTo>
                    <a:lnTo>
                      <a:pt x="13191" y="24271"/>
                    </a:lnTo>
                    <a:lnTo>
                      <a:pt x="9501" y="16889"/>
                    </a:lnTo>
                    <a:lnTo>
                      <a:pt x="5812" y="13194"/>
                    </a:lnTo>
                    <a:lnTo>
                      <a:pt x="5812" y="13194"/>
                    </a:lnTo>
                    <a:lnTo>
                      <a:pt x="5812" y="9507"/>
                    </a:lnTo>
                    <a:close/>
                  </a:path>
                </a:pathLst>
              </a:custGeom>
              <a:solidFill>
                <a:srgbClr val="FFC000"/>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54" name="Freeform: Shape 53">
                <a:extLst>
                  <a:ext uri="{FF2B5EF4-FFF2-40B4-BE49-F238E27FC236}">
                    <a16:creationId xmlns:a16="http://schemas.microsoft.com/office/drawing/2014/main" id="{09A7FED9-EDEA-48F0-B5F1-41EF65CABCA9}"/>
                  </a:ext>
                </a:extLst>
              </p:cNvPr>
              <p:cNvSpPr/>
              <p:nvPr/>
            </p:nvSpPr>
            <p:spPr>
              <a:xfrm>
                <a:off x="2226316" y="4427025"/>
                <a:ext cx="21660" cy="21660"/>
              </a:xfrm>
              <a:custGeom>
                <a:avLst/>
                <a:gdLst>
                  <a:gd name="connsiteX0" fmla="*/ 13190 w 9525"/>
                  <a:gd name="connsiteY0" fmla="*/ 5812 h 9525"/>
                  <a:gd name="connsiteX1" fmla="*/ 9501 w 9525"/>
                  <a:gd name="connsiteY1" fmla="*/ 9498 h 9525"/>
                  <a:gd name="connsiteX2" fmla="*/ 9501 w 9525"/>
                  <a:gd name="connsiteY2" fmla="*/ 9498 h 9525"/>
                  <a:gd name="connsiteX3" fmla="*/ 13190 w 9525"/>
                  <a:gd name="connsiteY3" fmla="*/ 9498 h 9525"/>
                  <a:gd name="connsiteX4" fmla="*/ 13190 w 9525"/>
                  <a:gd name="connsiteY4" fmla="*/ 9498 h 9525"/>
                  <a:gd name="connsiteX5" fmla="*/ 9501 w 9525"/>
                  <a:gd name="connsiteY5" fmla="*/ 9498 h 9525"/>
                  <a:gd name="connsiteX6" fmla="*/ 9501 w 9525"/>
                  <a:gd name="connsiteY6" fmla="*/ 13194 h 9525"/>
                  <a:gd name="connsiteX7" fmla="*/ 5812 w 9525"/>
                  <a:gd name="connsiteY7" fmla="*/ 9498 h 9525"/>
                  <a:gd name="connsiteX8" fmla="*/ 5812 w 9525"/>
                  <a:gd name="connsiteY8" fmla="*/ 9498 h 9525"/>
                  <a:gd name="connsiteX9" fmla="*/ 5812 w 9525"/>
                  <a:gd name="connsiteY9" fmla="*/ 9498 h 9525"/>
                  <a:gd name="connsiteX10" fmla="*/ 13190 w 9525"/>
                  <a:gd name="connsiteY10"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25" h="9525">
                    <a:moveTo>
                      <a:pt x="13190" y="5812"/>
                    </a:moveTo>
                    <a:lnTo>
                      <a:pt x="9501" y="9498"/>
                    </a:lnTo>
                    <a:lnTo>
                      <a:pt x="9501" y="9498"/>
                    </a:lnTo>
                    <a:lnTo>
                      <a:pt x="13190" y="9498"/>
                    </a:lnTo>
                    <a:lnTo>
                      <a:pt x="13190" y="9498"/>
                    </a:lnTo>
                    <a:lnTo>
                      <a:pt x="9501" y="9498"/>
                    </a:lnTo>
                    <a:lnTo>
                      <a:pt x="9501" y="13194"/>
                    </a:lnTo>
                    <a:lnTo>
                      <a:pt x="5812" y="9498"/>
                    </a:lnTo>
                    <a:lnTo>
                      <a:pt x="5812" y="9498"/>
                    </a:lnTo>
                    <a:lnTo>
                      <a:pt x="5812" y="9498"/>
                    </a:lnTo>
                    <a:lnTo>
                      <a:pt x="13190" y="5812"/>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grpSp>
        <p:sp>
          <p:nvSpPr>
            <p:cNvPr id="44" name="Freeform: Shape 43">
              <a:extLst>
                <a:ext uri="{FF2B5EF4-FFF2-40B4-BE49-F238E27FC236}">
                  <a16:creationId xmlns:a16="http://schemas.microsoft.com/office/drawing/2014/main" id="{341EC13F-BFAE-4A9D-A76E-A7D92753E36C}"/>
                </a:ext>
              </a:extLst>
            </p:cNvPr>
            <p:cNvSpPr/>
            <p:nvPr/>
          </p:nvSpPr>
          <p:spPr>
            <a:xfrm>
              <a:off x="4511426" y="4272532"/>
              <a:ext cx="2064238" cy="1085321"/>
            </a:xfrm>
            <a:custGeom>
              <a:avLst/>
              <a:gdLst>
                <a:gd name="connsiteX0" fmla="*/ 363662 w 923925"/>
                <a:gd name="connsiteY0" fmla="*/ 5812 h 485775"/>
                <a:gd name="connsiteX1" fmla="*/ 359973 w 923925"/>
                <a:gd name="connsiteY1" fmla="*/ 9507 h 485775"/>
                <a:gd name="connsiteX2" fmla="*/ 352595 w 923925"/>
                <a:gd name="connsiteY2" fmla="*/ 13194 h 485775"/>
                <a:gd name="connsiteX3" fmla="*/ 348906 w 923925"/>
                <a:gd name="connsiteY3" fmla="*/ 13194 h 485775"/>
                <a:gd name="connsiteX4" fmla="*/ 341527 w 923925"/>
                <a:gd name="connsiteY4" fmla="*/ 24271 h 485775"/>
                <a:gd name="connsiteX5" fmla="*/ 337838 w 923925"/>
                <a:gd name="connsiteY5" fmla="*/ 24271 h 485775"/>
                <a:gd name="connsiteX6" fmla="*/ 330460 w 923925"/>
                <a:gd name="connsiteY6" fmla="*/ 27957 h 485775"/>
                <a:gd name="connsiteX7" fmla="*/ 326771 w 923925"/>
                <a:gd name="connsiteY7" fmla="*/ 27957 h 485775"/>
                <a:gd name="connsiteX8" fmla="*/ 319392 w 923925"/>
                <a:gd name="connsiteY8" fmla="*/ 27957 h 485775"/>
                <a:gd name="connsiteX9" fmla="*/ 312014 w 923925"/>
                <a:gd name="connsiteY9" fmla="*/ 27957 h 485775"/>
                <a:gd name="connsiteX10" fmla="*/ 304636 w 923925"/>
                <a:gd name="connsiteY10" fmla="*/ 27957 h 485775"/>
                <a:gd name="connsiteX11" fmla="*/ 297257 w 923925"/>
                <a:gd name="connsiteY11" fmla="*/ 31643 h 485775"/>
                <a:gd name="connsiteX12" fmla="*/ 293568 w 923925"/>
                <a:gd name="connsiteY12" fmla="*/ 31643 h 485775"/>
                <a:gd name="connsiteX13" fmla="*/ 289878 w 923925"/>
                <a:gd name="connsiteY13" fmla="*/ 35339 h 485775"/>
                <a:gd name="connsiteX14" fmla="*/ 289878 w 923925"/>
                <a:gd name="connsiteY14" fmla="*/ 39025 h 485775"/>
                <a:gd name="connsiteX15" fmla="*/ 286189 w 923925"/>
                <a:gd name="connsiteY15" fmla="*/ 42721 h 485775"/>
                <a:gd name="connsiteX16" fmla="*/ 282500 w 923925"/>
                <a:gd name="connsiteY16" fmla="*/ 46407 h 485775"/>
                <a:gd name="connsiteX17" fmla="*/ 278811 w 923925"/>
                <a:gd name="connsiteY17" fmla="*/ 57485 h 485775"/>
                <a:gd name="connsiteX18" fmla="*/ 275121 w 923925"/>
                <a:gd name="connsiteY18" fmla="*/ 61171 h 485775"/>
                <a:gd name="connsiteX19" fmla="*/ 271432 w 923925"/>
                <a:gd name="connsiteY19" fmla="*/ 68553 h 485775"/>
                <a:gd name="connsiteX20" fmla="*/ 260365 w 923925"/>
                <a:gd name="connsiteY20" fmla="*/ 75935 h 485775"/>
                <a:gd name="connsiteX21" fmla="*/ 252986 w 923925"/>
                <a:gd name="connsiteY21" fmla="*/ 79621 h 485775"/>
                <a:gd name="connsiteX22" fmla="*/ 249297 w 923925"/>
                <a:gd name="connsiteY22" fmla="*/ 83317 h 485775"/>
                <a:gd name="connsiteX23" fmla="*/ 245608 w 923925"/>
                <a:gd name="connsiteY23" fmla="*/ 87003 h 485775"/>
                <a:gd name="connsiteX24" fmla="*/ 230851 w 923925"/>
                <a:gd name="connsiteY24" fmla="*/ 90698 h 485775"/>
                <a:gd name="connsiteX25" fmla="*/ 230851 w 923925"/>
                <a:gd name="connsiteY25" fmla="*/ 94385 h 485775"/>
                <a:gd name="connsiteX26" fmla="*/ 223473 w 923925"/>
                <a:gd name="connsiteY26" fmla="*/ 98080 h 485775"/>
                <a:gd name="connsiteX27" fmla="*/ 219784 w 923925"/>
                <a:gd name="connsiteY27" fmla="*/ 101766 h 485775"/>
                <a:gd name="connsiteX28" fmla="*/ 216095 w 923925"/>
                <a:gd name="connsiteY28" fmla="*/ 101766 h 485775"/>
                <a:gd name="connsiteX29" fmla="*/ 212406 w 923925"/>
                <a:gd name="connsiteY29" fmla="*/ 105462 h 485775"/>
                <a:gd name="connsiteX30" fmla="*/ 208717 w 923925"/>
                <a:gd name="connsiteY30" fmla="*/ 109148 h 485775"/>
                <a:gd name="connsiteX31" fmla="*/ 179203 w 923925"/>
                <a:gd name="connsiteY31" fmla="*/ 116530 h 485775"/>
                <a:gd name="connsiteX32" fmla="*/ 175514 w 923925"/>
                <a:gd name="connsiteY32" fmla="*/ 116530 h 485775"/>
                <a:gd name="connsiteX33" fmla="*/ 171825 w 923925"/>
                <a:gd name="connsiteY33" fmla="*/ 116530 h 485775"/>
                <a:gd name="connsiteX34" fmla="*/ 160757 w 923925"/>
                <a:gd name="connsiteY34" fmla="*/ 120226 h 485775"/>
                <a:gd name="connsiteX35" fmla="*/ 153379 w 923925"/>
                <a:gd name="connsiteY35" fmla="*/ 120226 h 485775"/>
                <a:gd name="connsiteX36" fmla="*/ 142311 w 923925"/>
                <a:gd name="connsiteY36" fmla="*/ 116530 h 485775"/>
                <a:gd name="connsiteX37" fmla="*/ 138621 w 923925"/>
                <a:gd name="connsiteY37" fmla="*/ 112844 h 485775"/>
                <a:gd name="connsiteX38" fmla="*/ 134932 w 923925"/>
                <a:gd name="connsiteY38" fmla="*/ 112844 h 485775"/>
                <a:gd name="connsiteX39" fmla="*/ 131243 w 923925"/>
                <a:gd name="connsiteY39" fmla="*/ 109148 h 485775"/>
                <a:gd name="connsiteX40" fmla="*/ 127554 w 923925"/>
                <a:gd name="connsiteY40" fmla="*/ 109148 h 485775"/>
                <a:gd name="connsiteX41" fmla="*/ 120176 w 923925"/>
                <a:gd name="connsiteY41" fmla="*/ 109148 h 485775"/>
                <a:gd name="connsiteX42" fmla="*/ 116487 w 923925"/>
                <a:gd name="connsiteY42" fmla="*/ 112844 h 485775"/>
                <a:gd name="connsiteX43" fmla="*/ 109108 w 923925"/>
                <a:gd name="connsiteY43" fmla="*/ 116530 h 485775"/>
                <a:gd name="connsiteX44" fmla="*/ 105419 w 923925"/>
                <a:gd name="connsiteY44" fmla="*/ 120226 h 485775"/>
                <a:gd name="connsiteX45" fmla="*/ 105419 w 923925"/>
                <a:gd name="connsiteY45" fmla="*/ 123912 h 485775"/>
                <a:gd name="connsiteX46" fmla="*/ 101730 w 923925"/>
                <a:gd name="connsiteY46" fmla="*/ 131294 h 485775"/>
                <a:gd name="connsiteX47" fmla="*/ 98041 w 923925"/>
                <a:gd name="connsiteY47" fmla="*/ 134980 h 485775"/>
                <a:gd name="connsiteX48" fmla="*/ 94352 w 923925"/>
                <a:gd name="connsiteY48" fmla="*/ 138676 h 485775"/>
                <a:gd name="connsiteX49" fmla="*/ 90662 w 923925"/>
                <a:gd name="connsiteY49" fmla="*/ 142362 h 485775"/>
                <a:gd name="connsiteX50" fmla="*/ 83284 w 923925"/>
                <a:gd name="connsiteY50" fmla="*/ 146058 h 485775"/>
                <a:gd name="connsiteX51" fmla="*/ 79595 w 923925"/>
                <a:gd name="connsiteY51" fmla="*/ 146058 h 485775"/>
                <a:gd name="connsiteX52" fmla="*/ 75906 w 923925"/>
                <a:gd name="connsiteY52" fmla="*/ 149744 h 485775"/>
                <a:gd name="connsiteX53" fmla="*/ 72217 w 923925"/>
                <a:gd name="connsiteY53" fmla="*/ 149744 h 485775"/>
                <a:gd name="connsiteX54" fmla="*/ 72217 w 923925"/>
                <a:gd name="connsiteY54" fmla="*/ 146058 h 485775"/>
                <a:gd name="connsiteX55" fmla="*/ 68527 w 923925"/>
                <a:gd name="connsiteY55" fmla="*/ 146058 h 485775"/>
                <a:gd name="connsiteX56" fmla="*/ 64838 w 923925"/>
                <a:gd name="connsiteY56" fmla="*/ 149744 h 485775"/>
                <a:gd name="connsiteX57" fmla="*/ 57460 w 923925"/>
                <a:gd name="connsiteY57" fmla="*/ 149744 h 485775"/>
                <a:gd name="connsiteX58" fmla="*/ 53771 w 923925"/>
                <a:gd name="connsiteY58" fmla="*/ 149744 h 485775"/>
                <a:gd name="connsiteX59" fmla="*/ 50082 w 923925"/>
                <a:gd name="connsiteY59" fmla="*/ 153440 h 485775"/>
                <a:gd name="connsiteX60" fmla="*/ 46393 w 923925"/>
                <a:gd name="connsiteY60" fmla="*/ 153440 h 485775"/>
                <a:gd name="connsiteX61" fmla="*/ 42703 w 923925"/>
                <a:gd name="connsiteY61" fmla="*/ 153440 h 485775"/>
                <a:gd name="connsiteX62" fmla="*/ 39014 w 923925"/>
                <a:gd name="connsiteY62" fmla="*/ 160821 h 485775"/>
                <a:gd name="connsiteX63" fmla="*/ 35325 w 923925"/>
                <a:gd name="connsiteY63" fmla="*/ 160821 h 485775"/>
                <a:gd name="connsiteX64" fmla="*/ 35325 w 923925"/>
                <a:gd name="connsiteY64" fmla="*/ 157126 h 485775"/>
                <a:gd name="connsiteX65" fmla="*/ 31636 w 923925"/>
                <a:gd name="connsiteY65" fmla="*/ 157126 h 485775"/>
                <a:gd name="connsiteX66" fmla="*/ 27947 w 923925"/>
                <a:gd name="connsiteY66" fmla="*/ 157126 h 485775"/>
                <a:gd name="connsiteX67" fmla="*/ 16879 w 923925"/>
                <a:gd name="connsiteY67" fmla="*/ 160821 h 485775"/>
                <a:gd name="connsiteX68" fmla="*/ 13190 w 923925"/>
                <a:gd name="connsiteY68" fmla="*/ 164508 h 485775"/>
                <a:gd name="connsiteX69" fmla="*/ 9501 w 923925"/>
                <a:gd name="connsiteY69" fmla="*/ 168203 h 485775"/>
                <a:gd name="connsiteX70" fmla="*/ 5812 w 923925"/>
                <a:gd name="connsiteY70" fmla="*/ 175576 h 485775"/>
                <a:gd name="connsiteX71" fmla="*/ 5812 w 923925"/>
                <a:gd name="connsiteY71" fmla="*/ 179271 h 485775"/>
                <a:gd name="connsiteX72" fmla="*/ 5812 w 923925"/>
                <a:gd name="connsiteY72" fmla="*/ 186653 h 485775"/>
                <a:gd name="connsiteX73" fmla="*/ 5812 w 923925"/>
                <a:gd name="connsiteY73" fmla="*/ 190339 h 485775"/>
                <a:gd name="connsiteX74" fmla="*/ 9501 w 923925"/>
                <a:gd name="connsiteY74" fmla="*/ 194035 h 485775"/>
                <a:gd name="connsiteX75" fmla="*/ 24258 w 923925"/>
                <a:gd name="connsiteY75" fmla="*/ 212485 h 485775"/>
                <a:gd name="connsiteX76" fmla="*/ 24258 w 923925"/>
                <a:gd name="connsiteY76" fmla="*/ 219867 h 485775"/>
                <a:gd name="connsiteX77" fmla="*/ 27947 w 923925"/>
                <a:gd name="connsiteY77" fmla="*/ 223553 h 485775"/>
                <a:gd name="connsiteX78" fmla="*/ 27947 w 923925"/>
                <a:gd name="connsiteY78" fmla="*/ 227249 h 485775"/>
                <a:gd name="connsiteX79" fmla="*/ 24258 w 923925"/>
                <a:gd name="connsiteY79" fmla="*/ 234631 h 485775"/>
                <a:gd name="connsiteX80" fmla="*/ 20568 w 923925"/>
                <a:gd name="connsiteY80" fmla="*/ 245699 h 485775"/>
                <a:gd name="connsiteX81" fmla="*/ 16879 w 923925"/>
                <a:gd name="connsiteY81" fmla="*/ 253081 h 485775"/>
                <a:gd name="connsiteX82" fmla="*/ 16879 w 923925"/>
                <a:gd name="connsiteY82" fmla="*/ 256776 h 485775"/>
                <a:gd name="connsiteX83" fmla="*/ 24258 w 923925"/>
                <a:gd name="connsiteY83" fmla="*/ 271531 h 485775"/>
                <a:gd name="connsiteX84" fmla="*/ 39014 w 923925"/>
                <a:gd name="connsiteY84" fmla="*/ 312136 h 485775"/>
                <a:gd name="connsiteX85" fmla="*/ 46393 w 923925"/>
                <a:gd name="connsiteY85" fmla="*/ 323204 h 485775"/>
                <a:gd name="connsiteX86" fmla="*/ 39014 w 923925"/>
                <a:gd name="connsiteY86" fmla="*/ 326890 h 485775"/>
                <a:gd name="connsiteX87" fmla="*/ 39014 w 923925"/>
                <a:gd name="connsiteY87" fmla="*/ 330585 h 485775"/>
                <a:gd name="connsiteX88" fmla="*/ 42703 w 923925"/>
                <a:gd name="connsiteY88" fmla="*/ 341654 h 485775"/>
                <a:gd name="connsiteX89" fmla="*/ 39014 w 923925"/>
                <a:gd name="connsiteY89" fmla="*/ 352731 h 485775"/>
                <a:gd name="connsiteX90" fmla="*/ 39014 w 923925"/>
                <a:gd name="connsiteY90" fmla="*/ 356417 h 485775"/>
                <a:gd name="connsiteX91" fmla="*/ 42703 w 923925"/>
                <a:gd name="connsiteY91" fmla="*/ 356417 h 485775"/>
                <a:gd name="connsiteX92" fmla="*/ 46393 w 923925"/>
                <a:gd name="connsiteY92" fmla="*/ 360113 h 485775"/>
                <a:gd name="connsiteX93" fmla="*/ 72217 w 923925"/>
                <a:gd name="connsiteY93" fmla="*/ 360113 h 485775"/>
                <a:gd name="connsiteX94" fmla="*/ 72217 w 923925"/>
                <a:gd name="connsiteY94" fmla="*/ 363799 h 485775"/>
                <a:gd name="connsiteX95" fmla="*/ 75906 w 923925"/>
                <a:gd name="connsiteY95" fmla="*/ 367485 h 485775"/>
                <a:gd name="connsiteX96" fmla="*/ 75906 w 923925"/>
                <a:gd name="connsiteY96" fmla="*/ 378563 h 485775"/>
                <a:gd name="connsiteX97" fmla="*/ 79595 w 923925"/>
                <a:gd name="connsiteY97" fmla="*/ 374867 h 485775"/>
                <a:gd name="connsiteX98" fmla="*/ 90662 w 923925"/>
                <a:gd name="connsiteY98" fmla="*/ 378563 h 485775"/>
                <a:gd name="connsiteX99" fmla="*/ 94352 w 923925"/>
                <a:gd name="connsiteY99" fmla="*/ 378563 h 485775"/>
                <a:gd name="connsiteX100" fmla="*/ 98041 w 923925"/>
                <a:gd name="connsiteY100" fmla="*/ 378563 h 485775"/>
                <a:gd name="connsiteX101" fmla="*/ 101730 w 923925"/>
                <a:gd name="connsiteY101" fmla="*/ 378563 h 485775"/>
                <a:gd name="connsiteX102" fmla="*/ 105419 w 923925"/>
                <a:gd name="connsiteY102" fmla="*/ 378563 h 485775"/>
                <a:gd name="connsiteX103" fmla="*/ 109108 w 923925"/>
                <a:gd name="connsiteY103" fmla="*/ 374867 h 485775"/>
                <a:gd name="connsiteX104" fmla="*/ 116487 w 923925"/>
                <a:gd name="connsiteY104" fmla="*/ 371181 h 485775"/>
                <a:gd name="connsiteX105" fmla="*/ 120176 w 923925"/>
                <a:gd name="connsiteY105" fmla="*/ 371181 h 485775"/>
                <a:gd name="connsiteX106" fmla="*/ 120176 w 923925"/>
                <a:gd name="connsiteY106" fmla="*/ 367485 h 485775"/>
                <a:gd name="connsiteX107" fmla="*/ 120176 w 923925"/>
                <a:gd name="connsiteY107" fmla="*/ 363799 h 485775"/>
                <a:gd name="connsiteX108" fmla="*/ 101730 w 923925"/>
                <a:gd name="connsiteY108" fmla="*/ 337967 h 485775"/>
                <a:gd name="connsiteX109" fmla="*/ 98041 w 923925"/>
                <a:gd name="connsiteY109" fmla="*/ 326890 h 485775"/>
                <a:gd name="connsiteX110" fmla="*/ 101730 w 923925"/>
                <a:gd name="connsiteY110" fmla="*/ 323204 h 485775"/>
                <a:gd name="connsiteX111" fmla="*/ 105419 w 923925"/>
                <a:gd name="connsiteY111" fmla="*/ 323204 h 485775"/>
                <a:gd name="connsiteX112" fmla="*/ 105419 w 923925"/>
                <a:gd name="connsiteY112" fmla="*/ 319508 h 485775"/>
                <a:gd name="connsiteX113" fmla="*/ 105419 w 923925"/>
                <a:gd name="connsiteY113" fmla="*/ 315822 h 485775"/>
                <a:gd name="connsiteX114" fmla="*/ 105419 w 923925"/>
                <a:gd name="connsiteY114" fmla="*/ 312136 h 485775"/>
                <a:gd name="connsiteX115" fmla="*/ 105419 w 923925"/>
                <a:gd name="connsiteY115" fmla="*/ 308440 h 485775"/>
                <a:gd name="connsiteX116" fmla="*/ 101730 w 923925"/>
                <a:gd name="connsiteY116" fmla="*/ 308440 h 485775"/>
                <a:gd name="connsiteX117" fmla="*/ 98041 w 923925"/>
                <a:gd name="connsiteY117" fmla="*/ 304754 h 485775"/>
                <a:gd name="connsiteX118" fmla="*/ 101730 w 923925"/>
                <a:gd name="connsiteY118" fmla="*/ 301058 h 485775"/>
                <a:gd name="connsiteX119" fmla="*/ 127554 w 923925"/>
                <a:gd name="connsiteY119" fmla="*/ 289990 h 485775"/>
                <a:gd name="connsiteX120" fmla="*/ 134932 w 923925"/>
                <a:gd name="connsiteY120" fmla="*/ 289990 h 485775"/>
                <a:gd name="connsiteX121" fmla="*/ 138621 w 923925"/>
                <a:gd name="connsiteY121" fmla="*/ 286294 h 485775"/>
                <a:gd name="connsiteX122" fmla="*/ 142311 w 923925"/>
                <a:gd name="connsiteY122" fmla="*/ 282608 h 485775"/>
                <a:gd name="connsiteX123" fmla="*/ 146000 w 923925"/>
                <a:gd name="connsiteY123" fmla="*/ 282608 h 485775"/>
                <a:gd name="connsiteX124" fmla="*/ 149690 w 923925"/>
                <a:gd name="connsiteY124" fmla="*/ 282608 h 485775"/>
                <a:gd name="connsiteX125" fmla="*/ 175514 w 923925"/>
                <a:gd name="connsiteY125" fmla="*/ 278912 h 485775"/>
                <a:gd name="connsiteX126" fmla="*/ 179203 w 923925"/>
                <a:gd name="connsiteY126" fmla="*/ 286294 h 485775"/>
                <a:gd name="connsiteX127" fmla="*/ 171825 w 923925"/>
                <a:gd name="connsiteY127" fmla="*/ 304754 h 485775"/>
                <a:gd name="connsiteX128" fmla="*/ 175514 w 923925"/>
                <a:gd name="connsiteY128" fmla="*/ 326890 h 485775"/>
                <a:gd name="connsiteX129" fmla="*/ 193960 w 923925"/>
                <a:gd name="connsiteY129" fmla="*/ 319508 h 485775"/>
                <a:gd name="connsiteX130" fmla="*/ 197649 w 923925"/>
                <a:gd name="connsiteY130" fmla="*/ 319508 h 485775"/>
                <a:gd name="connsiteX131" fmla="*/ 205027 w 923925"/>
                <a:gd name="connsiteY131" fmla="*/ 319508 h 485775"/>
                <a:gd name="connsiteX132" fmla="*/ 219784 w 923925"/>
                <a:gd name="connsiteY132" fmla="*/ 323204 h 485775"/>
                <a:gd name="connsiteX133" fmla="*/ 227162 w 923925"/>
                <a:gd name="connsiteY133" fmla="*/ 326890 h 485775"/>
                <a:gd name="connsiteX134" fmla="*/ 230851 w 923925"/>
                <a:gd name="connsiteY134" fmla="*/ 326890 h 485775"/>
                <a:gd name="connsiteX135" fmla="*/ 230851 w 923925"/>
                <a:gd name="connsiteY135" fmla="*/ 323204 h 485775"/>
                <a:gd name="connsiteX136" fmla="*/ 234541 w 923925"/>
                <a:gd name="connsiteY136" fmla="*/ 326890 h 485775"/>
                <a:gd name="connsiteX137" fmla="*/ 241919 w 923925"/>
                <a:gd name="connsiteY137" fmla="*/ 323204 h 485775"/>
                <a:gd name="connsiteX138" fmla="*/ 238230 w 923925"/>
                <a:gd name="connsiteY138" fmla="*/ 308440 h 485775"/>
                <a:gd name="connsiteX139" fmla="*/ 249297 w 923925"/>
                <a:gd name="connsiteY139" fmla="*/ 304754 h 485775"/>
                <a:gd name="connsiteX140" fmla="*/ 252986 w 923925"/>
                <a:gd name="connsiteY140" fmla="*/ 304754 h 485775"/>
                <a:gd name="connsiteX141" fmla="*/ 256676 w 923925"/>
                <a:gd name="connsiteY141" fmla="*/ 293676 h 485775"/>
                <a:gd name="connsiteX142" fmla="*/ 264054 w 923925"/>
                <a:gd name="connsiteY142" fmla="*/ 289990 h 485775"/>
                <a:gd name="connsiteX143" fmla="*/ 267743 w 923925"/>
                <a:gd name="connsiteY143" fmla="*/ 286294 h 485775"/>
                <a:gd name="connsiteX144" fmla="*/ 271432 w 923925"/>
                <a:gd name="connsiteY144" fmla="*/ 278912 h 485775"/>
                <a:gd name="connsiteX145" fmla="*/ 278811 w 923925"/>
                <a:gd name="connsiteY145" fmla="*/ 275226 h 485775"/>
                <a:gd name="connsiteX146" fmla="*/ 282500 w 923925"/>
                <a:gd name="connsiteY146" fmla="*/ 271531 h 485775"/>
                <a:gd name="connsiteX147" fmla="*/ 278811 w 923925"/>
                <a:gd name="connsiteY147" fmla="*/ 267844 h 485775"/>
                <a:gd name="connsiteX148" fmla="*/ 282500 w 923925"/>
                <a:gd name="connsiteY148" fmla="*/ 267844 h 485775"/>
                <a:gd name="connsiteX149" fmla="*/ 286189 w 923925"/>
                <a:gd name="connsiteY149" fmla="*/ 267844 h 485775"/>
                <a:gd name="connsiteX150" fmla="*/ 286189 w 923925"/>
                <a:gd name="connsiteY150" fmla="*/ 264158 h 485775"/>
                <a:gd name="connsiteX151" fmla="*/ 293568 w 923925"/>
                <a:gd name="connsiteY151" fmla="*/ 260462 h 485775"/>
                <a:gd name="connsiteX152" fmla="*/ 297257 w 923925"/>
                <a:gd name="connsiteY152" fmla="*/ 264158 h 485775"/>
                <a:gd name="connsiteX153" fmla="*/ 297257 w 923925"/>
                <a:gd name="connsiteY153" fmla="*/ 267844 h 485775"/>
                <a:gd name="connsiteX154" fmla="*/ 300946 w 923925"/>
                <a:gd name="connsiteY154" fmla="*/ 267844 h 485775"/>
                <a:gd name="connsiteX155" fmla="*/ 304636 w 923925"/>
                <a:gd name="connsiteY155" fmla="*/ 267844 h 485775"/>
                <a:gd name="connsiteX156" fmla="*/ 312014 w 923925"/>
                <a:gd name="connsiteY156" fmla="*/ 271531 h 485775"/>
                <a:gd name="connsiteX157" fmla="*/ 315703 w 923925"/>
                <a:gd name="connsiteY157" fmla="*/ 271531 h 485775"/>
                <a:gd name="connsiteX158" fmla="*/ 315703 w 923925"/>
                <a:gd name="connsiteY158" fmla="*/ 275226 h 485775"/>
                <a:gd name="connsiteX159" fmla="*/ 315703 w 923925"/>
                <a:gd name="connsiteY159" fmla="*/ 278912 h 485775"/>
                <a:gd name="connsiteX160" fmla="*/ 319392 w 923925"/>
                <a:gd name="connsiteY160" fmla="*/ 282608 h 485775"/>
                <a:gd name="connsiteX161" fmla="*/ 323081 w 923925"/>
                <a:gd name="connsiteY161" fmla="*/ 278912 h 485775"/>
                <a:gd name="connsiteX162" fmla="*/ 326771 w 923925"/>
                <a:gd name="connsiteY162" fmla="*/ 282608 h 485775"/>
                <a:gd name="connsiteX163" fmla="*/ 323081 w 923925"/>
                <a:gd name="connsiteY163" fmla="*/ 289990 h 485775"/>
                <a:gd name="connsiteX164" fmla="*/ 323081 w 923925"/>
                <a:gd name="connsiteY164" fmla="*/ 297372 h 485775"/>
                <a:gd name="connsiteX165" fmla="*/ 326771 w 923925"/>
                <a:gd name="connsiteY165" fmla="*/ 297372 h 485775"/>
                <a:gd name="connsiteX166" fmla="*/ 326771 w 923925"/>
                <a:gd name="connsiteY166" fmla="*/ 301058 h 485775"/>
                <a:gd name="connsiteX167" fmla="*/ 323081 w 923925"/>
                <a:gd name="connsiteY167" fmla="*/ 301058 h 485775"/>
                <a:gd name="connsiteX168" fmla="*/ 319392 w 923925"/>
                <a:gd name="connsiteY168" fmla="*/ 304754 h 485775"/>
                <a:gd name="connsiteX169" fmla="*/ 315703 w 923925"/>
                <a:gd name="connsiteY169" fmla="*/ 308440 h 485775"/>
                <a:gd name="connsiteX170" fmla="*/ 319392 w 923925"/>
                <a:gd name="connsiteY170" fmla="*/ 323204 h 485775"/>
                <a:gd name="connsiteX171" fmla="*/ 319392 w 923925"/>
                <a:gd name="connsiteY171" fmla="*/ 326890 h 485775"/>
                <a:gd name="connsiteX172" fmla="*/ 323081 w 923925"/>
                <a:gd name="connsiteY172" fmla="*/ 326890 h 485775"/>
                <a:gd name="connsiteX173" fmla="*/ 326771 w 923925"/>
                <a:gd name="connsiteY173" fmla="*/ 326890 h 485775"/>
                <a:gd name="connsiteX174" fmla="*/ 326771 w 923925"/>
                <a:gd name="connsiteY174" fmla="*/ 330585 h 485775"/>
                <a:gd name="connsiteX175" fmla="*/ 323081 w 923925"/>
                <a:gd name="connsiteY175" fmla="*/ 330585 h 485775"/>
                <a:gd name="connsiteX176" fmla="*/ 312014 w 923925"/>
                <a:gd name="connsiteY176" fmla="*/ 326890 h 485775"/>
                <a:gd name="connsiteX177" fmla="*/ 308325 w 923925"/>
                <a:gd name="connsiteY177" fmla="*/ 323204 h 485775"/>
                <a:gd name="connsiteX178" fmla="*/ 300946 w 923925"/>
                <a:gd name="connsiteY178" fmla="*/ 323204 h 485775"/>
                <a:gd name="connsiteX179" fmla="*/ 300946 w 923925"/>
                <a:gd name="connsiteY179" fmla="*/ 319508 h 485775"/>
                <a:gd name="connsiteX180" fmla="*/ 297257 w 923925"/>
                <a:gd name="connsiteY180" fmla="*/ 319508 h 485775"/>
                <a:gd name="connsiteX181" fmla="*/ 289878 w 923925"/>
                <a:gd name="connsiteY181" fmla="*/ 323204 h 485775"/>
                <a:gd name="connsiteX182" fmla="*/ 289878 w 923925"/>
                <a:gd name="connsiteY182" fmla="*/ 326890 h 485775"/>
                <a:gd name="connsiteX183" fmla="*/ 289878 w 923925"/>
                <a:gd name="connsiteY183" fmla="*/ 330585 h 485775"/>
                <a:gd name="connsiteX184" fmla="*/ 293568 w 923925"/>
                <a:gd name="connsiteY184" fmla="*/ 334272 h 485775"/>
                <a:gd name="connsiteX185" fmla="*/ 300946 w 923925"/>
                <a:gd name="connsiteY185" fmla="*/ 337967 h 485775"/>
                <a:gd name="connsiteX186" fmla="*/ 304636 w 923925"/>
                <a:gd name="connsiteY186" fmla="*/ 337967 h 485775"/>
                <a:gd name="connsiteX187" fmla="*/ 315703 w 923925"/>
                <a:gd name="connsiteY187" fmla="*/ 334272 h 485775"/>
                <a:gd name="connsiteX188" fmla="*/ 323081 w 923925"/>
                <a:gd name="connsiteY188" fmla="*/ 334272 h 485775"/>
                <a:gd name="connsiteX189" fmla="*/ 330460 w 923925"/>
                <a:gd name="connsiteY189" fmla="*/ 334272 h 485775"/>
                <a:gd name="connsiteX190" fmla="*/ 334149 w 923925"/>
                <a:gd name="connsiteY190" fmla="*/ 337967 h 485775"/>
                <a:gd name="connsiteX191" fmla="*/ 337838 w 923925"/>
                <a:gd name="connsiteY191" fmla="*/ 337967 h 485775"/>
                <a:gd name="connsiteX192" fmla="*/ 337838 w 923925"/>
                <a:gd name="connsiteY192" fmla="*/ 334272 h 485775"/>
                <a:gd name="connsiteX193" fmla="*/ 341527 w 923925"/>
                <a:gd name="connsiteY193" fmla="*/ 334272 h 485775"/>
                <a:gd name="connsiteX194" fmla="*/ 345217 w 923925"/>
                <a:gd name="connsiteY194" fmla="*/ 334272 h 485775"/>
                <a:gd name="connsiteX195" fmla="*/ 348906 w 923925"/>
                <a:gd name="connsiteY195" fmla="*/ 334272 h 485775"/>
                <a:gd name="connsiteX196" fmla="*/ 352595 w 923925"/>
                <a:gd name="connsiteY196" fmla="*/ 334272 h 485775"/>
                <a:gd name="connsiteX197" fmla="*/ 359973 w 923925"/>
                <a:gd name="connsiteY197" fmla="*/ 341654 h 485775"/>
                <a:gd name="connsiteX198" fmla="*/ 359973 w 923925"/>
                <a:gd name="connsiteY198" fmla="*/ 345349 h 485775"/>
                <a:gd name="connsiteX199" fmla="*/ 363662 w 923925"/>
                <a:gd name="connsiteY199" fmla="*/ 345349 h 485775"/>
                <a:gd name="connsiteX200" fmla="*/ 367351 w 923925"/>
                <a:gd name="connsiteY200" fmla="*/ 349036 h 485775"/>
                <a:gd name="connsiteX201" fmla="*/ 371041 w 923925"/>
                <a:gd name="connsiteY201" fmla="*/ 349036 h 485775"/>
                <a:gd name="connsiteX202" fmla="*/ 385797 w 923925"/>
                <a:gd name="connsiteY202" fmla="*/ 326890 h 485775"/>
                <a:gd name="connsiteX203" fmla="*/ 407932 w 923925"/>
                <a:gd name="connsiteY203" fmla="*/ 312136 h 485775"/>
                <a:gd name="connsiteX204" fmla="*/ 407932 w 923925"/>
                <a:gd name="connsiteY204" fmla="*/ 304754 h 485775"/>
                <a:gd name="connsiteX205" fmla="*/ 411621 w 923925"/>
                <a:gd name="connsiteY205" fmla="*/ 304754 h 485775"/>
                <a:gd name="connsiteX206" fmla="*/ 411621 w 923925"/>
                <a:gd name="connsiteY206" fmla="*/ 301058 h 485775"/>
                <a:gd name="connsiteX207" fmla="*/ 407932 w 923925"/>
                <a:gd name="connsiteY207" fmla="*/ 297372 h 485775"/>
                <a:gd name="connsiteX208" fmla="*/ 407932 w 923925"/>
                <a:gd name="connsiteY208" fmla="*/ 293676 h 485775"/>
                <a:gd name="connsiteX209" fmla="*/ 411621 w 923925"/>
                <a:gd name="connsiteY209" fmla="*/ 289990 h 485775"/>
                <a:gd name="connsiteX210" fmla="*/ 411621 w 923925"/>
                <a:gd name="connsiteY210" fmla="*/ 286294 h 485775"/>
                <a:gd name="connsiteX211" fmla="*/ 415310 w 923925"/>
                <a:gd name="connsiteY211" fmla="*/ 282608 h 485775"/>
                <a:gd name="connsiteX212" fmla="*/ 422689 w 923925"/>
                <a:gd name="connsiteY212" fmla="*/ 278912 h 485775"/>
                <a:gd name="connsiteX213" fmla="*/ 426378 w 923925"/>
                <a:gd name="connsiteY213" fmla="*/ 278912 h 485775"/>
                <a:gd name="connsiteX214" fmla="*/ 422689 w 923925"/>
                <a:gd name="connsiteY214" fmla="*/ 282608 h 485775"/>
                <a:gd name="connsiteX215" fmla="*/ 426378 w 923925"/>
                <a:gd name="connsiteY215" fmla="*/ 286294 h 485775"/>
                <a:gd name="connsiteX216" fmla="*/ 426378 w 923925"/>
                <a:gd name="connsiteY216" fmla="*/ 289990 h 485775"/>
                <a:gd name="connsiteX217" fmla="*/ 430067 w 923925"/>
                <a:gd name="connsiteY217" fmla="*/ 289990 h 485775"/>
                <a:gd name="connsiteX218" fmla="*/ 444825 w 923925"/>
                <a:gd name="connsiteY218" fmla="*/ 289990 h 485775"/>
                <a:gd name="connsiteX219" fmla="*/ 455892 w 923925"/>
                <a:gd name="connsiteY219" fmla="*/ 323204 h 485775"/>
                <a:gd name="connsiteX220" fmla="*/ 452203 w 923925"/>
                <a:gd name="connsiteY220" fmla="*/ 330585 h 485775"/>
                <a:gd name="connsiteX221" fmla="*/ 441136 w 923925"/>
                <a:gd name="connsiteY221" fmla="*/ 352731 h 485775"/>
                <a:gd name="connsiteX222" fmla="*/ 463271 w 923925"/>
                <a:gd name="connsiteY222" fmla="*/ 378563 h 485775"/>
                <a:gd name="connsiteX223" fmla="*/ 463271 w 923925"/>
                <a:gd name="connsiteY223" fmla="*/ 382249 h 485775"/>
                <a:gd name="connsiteX224" fmla="*/ 466960 w 923925"/>
                <a:gd name="connsiteY224" fmla="*/ 385945 h 485775"/>
                <a:gd name="connsiteX225" fmla="*/ 470649 w 923925"/>
                <a:gd name="connsiteY225" fmla="*/ 389631 h 485775"/>
                <a:gd name="connsiteX226" fmla="*/ 470649 w 923925"/>
                <a:gd name="connsiteY226" fmla="*/ 415463 h 485775"/>
                <a:gd name="connsiteX227" fmla="*/ 485405 w 923925"/>
                <a:gd name="connsiteY227" fmla="*/ 419159 h 485775"/>
                <a:gd name="connsiteX228" fmla="*/ 489095 w 923925"/>
                <a:gd name="connsiteY228" fmla="*/ 415463 h 485775"/>
                <a:gd name="connsiteX229" fmla="*/ 500162 w 923925"/>
                <a:gd name="connsiteY229" fmla="*/ 411777 h 485775"/>
                <a:gd name="connsiteX230" fmla="*/ 503851 w 923925"/>
                <a:gd name="connsiteY230" fmla="*/ 411777 h 485775"/>
                <a:gd name="connsiteX231" fmla="*/ 503851 w 923925"/>
                <a:gd name="connsiteY231" fmla="*/ 408091 h 485775"/>
                <a:gd name="connsiteX232" fmla="*/ 525986 w 923925"/>
                <a:gd name="connsiteY232" fmla="*/ 422845 h 485775"/>
                <a:gd name="connsiteX233" fmla="*/ 518608 w 923925"/>
                <a:gd name="connsiteY233" fmla="*/ 452372 h 485775"/>
                <a:gd name="connsiteX234" fmla="*/ 522297 w 923925"/>
                <a:gd name="connsiteY234" fmla="*/ 456068 h 485775"/>
                <a:gd name="connsiteX235" fmla="*/ 537051 w 923925"/>
                <a:gd name="connsiteY235" fmla="*/ 452372 h 485775"/>
                <a:gd name="connsiteX236" fmla="*/ 551815 w 923925"/>
                <a:gd name="connsiteY236" fmla="*/ 456068 h 485775"/>
                <a:gd name="connsiteX237" fmla="*/ 562874 w 923925"/>
                <a:gd name="connsiteY237" fmla="*/ 456068 h 485775"/>
                <a:gd name="connsiteX238" fmla="*/ 570255 w 923925"/>
                <a:gd name="connsiteY238" fmla="*/ 456068 h 485775"/>
                <a:gd name="connsiteX239" fmla="*/ 573942 w 923925"/>
                <a:gd name="connsiteY239" fmla="*/ 452372 h 485775"/>
                <a:gd name="connsiteX240" fmla="*/ 577637 w 923925"/>
                <a:gd name="connsiteY240" fmla="*/ 444990 h 485775"/>
                <a:gd name="connsiteX241" fmla="*/ 588705 w 923925"/>
                <a:gd name="connsiteY241" fmla="*/ 448686 h 485775"/>
                <a:gd name="connsiteX242" fmla="*/ 603460 w 923925"/>
                <a:gd name="connsiteY242" fmla="*/ 452372 h 485775"/>
                <a:gd name="connsiteX243" fmla="*/ 610841 w 923925"/>
                <a:gd name="connsiteY243" fmla="*/ 456068 h 485775"/>
                <a:gd name="connsiteX244" fmla="*/ 621910 w 923925"/>
                <a:gd name="connsiteY244" fmla="*/ 444990 h 485775"/>
                <a:gd name="connsiteX245" fmla="*/ 625596 w 923925"/>
                <a:gd name="connsiteY245" fmla="*/ 441304 h 485775"/>
                <a:gd name="connsiteX246" fmla="*/ 636664 w 923925"/>
                <a:gd name="connsiteY246" fmla="*/ 437608 h 485775"/>
                <a:gd name="connsiteX247" fmla="*/ 640350 w 923925"/>
                <a:gd name="connsiteY247" fmla="*/ 433922 h 485775"/>
                <a:gd name="connsiteX248" fmla="*/ 644036 w 923925"/>
                <a:gd name="connsiteY248" fmla="*/ 430227 h 485775"/>
                <a:gd name="connsiteX249" fmla="*/ 644036 w 923925"/>
                <a:gd name="connsiteY249" fmla="*/ 426540 h 485775"/>
                <a:gd name="connsiteX250" fmla="*/ 647732 w 923925"/>
                <a:gd name="connsiteY250" fmla="*/ 426540 h 485775"/>
                <a:gd name="connsiteX251" fmla="*/ 662486 w 923925"/>
                <a:gd name="connsiteY251" fmla="*/ 430227 h 485775"/>
                <a:gd name="connsiteX252" fmla="*/ 662486 w 923925"/>
                <a:gd name="connsiteY252" fmla="*/ 433922 h 485775"/>
                <a:gd name="connsiteX253" fmla="*/ 666172 w 923925"/>
                <a:gd name="connsiteY253" fmla="*/ 441304 h 485775"/>
                <a:gd name="connsiteX254" fmla="*/ 677240 w 923925"/>
                <a:gd name="connsiteY254" fmla="*/ 448686 h 485775"/>
                <a:gd name="connsiteX255" fmla="*/ 680936 w 923925"/>
                <a:gd name="connsiteY255" fmla="*/ 452372 h 485775"/>
                <a:gd name="connsiteX256" fmla="*/ 680936 w 923925"/>
                <a:gd name="connsiteY256" fmla="*/ 456068 h 485775"/>
                <a:gd name="connsiteX257" fmla="*/ 680936 w 923925"/>
                <a:gd name="connsiteY257" fmla="*/ 459754 h 485775"/>
                <a:gd name="connsiteX258" fmla="*/ 680936 w 923925"/>
                <a:gd name="connsiteY258" fmla="*/ 463440 h 485775"/>
                <a:gd name="connsiteX259" fmla="*/ 680936 w 923925"/>
                <a:gd name="connsiteY259" fmla="*/ 467136 h 485775"/>
                <a:gd name="connsiteX260" fmla="*/ 680936 w 923925"/>
                <a:gd name="connsiteY260" fmla="*/ 474518 h 485775"/>
                <a:gd name="connsiteX261" fmla="*/ 684622 w 923925"/>
                <a:gd name="connsiteY261" fmla="*/ 489282 h 485775"/>
                <a:gd name="connsiteX262" fmla="*/ 688308 w 923925"/>
                <a:gd name="connsiteY262" fmla="*/ 489282 h 485775"/>
                <a:gd name="connsiteX263" fmla="*/ 699376 w 923925"/>
                <a:gd name="connsiteY263" fmla="*/ 485586 h 485775"/>
                <a:gd name="connsiteX264" fmla="*/ 703063 w 923925"/>
                <a:gd name="connsiteY264" fmla="*/ 485586 h 485775"/>
                <a:gd name="connsiteX265" fmla="*/ 714131 w 923925"/>
                <a:gd name="connsiteY265" fmla="*/ 481900 h 485775"/>
                <a:gd name="connsiteX266" fmla="*/ 714131 w 923925"/>
                <a:gd name="connsiteY266" fmla="*/ 467136 h 485775"/>
                <a:gd name="connsiteX267" fmla="*/ 717826 w 923925"/>
                <a:gd name="connsiteY267" fmla="*/ 448686 h 485775"/>
                <a:gd name="connsiteX268" fmla="*/ 725199 w 923925"/>
                <a:gd name="connsiteY268" fmla="*/ 433922 h 485775"/>
                <a:gd name="connsiteX269" fmla="*/ 728894 w 923925"/>
                <a:gd name="connsiteY269" fmla="*/ 426540 h 485775"/>
                <a:gd name="connsiteX270" fmla="*/ 739962 w 923925"/>
                <a:gd name="connsiteY270" fmla="*/ 415463 h 485775"/>
                <a:gd name="connsiteX271" fmla="*/ 754717 w 923925"/>
                <a:gd name="connsiteY271" fmla="*/ 408091 h 485775"/>
                <a:gd name="connsiteX272" fmla="*/ 758403 w 923925"/>
                <a:gd name="connsiteY272" fmla="*/ 408091 h 485775"/>
                <a:gd name="connsiteX273" fmla="*/ 776853 w 923925"/>
                <a:gd name="connsiteY273" fmla="*/ 404395 h 485775"/>
                <a:gd name="connsiteX274" fmla="*/ 784225 w 923925"/>
                <a:gd name="connsiteY274" fmla="*/ 400709 h 485775"/>
                <a:gd name="connsiteX275" fmla="*/ 787921 w 923925"/>
                <a:gd name="connsiteY275" fmla="*/ 400709 h 485775"/>
                <a:gd name="connsiteX276" fmla="*/ 791607 w 923925"/>
                <a:gd name="connsiteY276" fmla="*/ 397013 h 485775"/>
                <a:gd name="connsiteX277" fmla="*/ 821125 w 923925"/>
                <a:gd name="connsiteY277" fmla="*/ 389631 h 485775"/>
                <a:gd name="connsiteX278" fmla="*/ 832193 w 923925"/>
                <a:gd name="connsiteY278" fmla="*/ 385945 h 485775"/>
                <a:gd name="connsiteX279" fmla="*/ 835879 w 923925"/>
                <a:gd name="connsiteY279" fmla="*/ 385945 h 485775"/>
                <a:gd name="connsiteX280" fmla="*/ 839565 w 923925"/>
                <a:gd name="connsiteY280" fmla="*/ 382249 h 485775"/>
                <a:gd name="connsiteX281" fmla="*/ 843252 w 923925"/>
                <a:gd name="connsiteY281" fmla="*/ 382249 h 485775"/>
                <a:gd name="connsiteX282" fmla="*/ 850633 w 923925"/>
                <a:gd name="connsiteY282" fmla="*/ 374867 h 485775"/>
                <a:gd name="connsiteX283" fmla="*/ 861701 w 923925"/>
                <a:gd name="connsiteY283" fmla="*/ 363799 h 485775"/>
                <a:gd name="connsiteX284" fmla="*/ 869083 w 923925"/>
                <a:gd name="connsiteY284" fmla="*/ 360113 h 485775"/>
                <a:gd name="connsiteX285" fmla="*/ 861701 w 923925"/>
                <a:gd name="connsiteY285" fmla="*/ 349036 h 485775"/>
                <a:gd name="connsiteX286" fmla="*/ 854319 w 923925"/>
                <a:gd name="connsiteY286" fmla="*/ 334272 h 485775"/>
                <a:gd name="connsiteX287" fmla="*/ 839565 w 923925"/>
                <a:gd name="connsiteY287" fmla="*/ 308440 h 485775"/>
                <a:gd name="connsiteX288" fmla="*/ 839565 w 923925"/>
                <a:gd name="connsiteY288" fmla="*/ 304754 h 485775"/>
                <a:gd name="connsiteX289" fmla="*/ 832193 w 923925"/>
                <a:gd name="connsiteY289" fmla="*/ 271531 h 485775"/>
                <a:gd name="connsiteX290" fmla="*/ 828497 w 923925"/>
                <a:gd name="connsiteY290" fmla="*/ 264158 h 485775"/>
                <a:gd name="connsiteX291" fmla="*/ 828497 w 923925"/>
                <a:gd name="connsiteY291" fmla="*/ 256776 h 485775"/>
                <a:gd name="connsiteX292" fmla="*/ 824811 w 923925"/>
                <a:gd name="connsiteY292" fmla="*/ 245699 h 485775"/>
                <a:gd name="connsiteX293" fmla="*/ 821125 w 923925"/>
                <a:gd name="connsiteY293" fmla="*/ 212485 h 485775"/>
                <a:gd name="connsiteX294" fmla="*/ 835879 w 923925"/>
                <a:gd name="connsiteY294" fmla="*/ 216181 h 485775"/>
                <a:gd name="connsiteX295" fmla="*/ 846947 w 923925"/>
                <a:gd name="connsiteY295" fmla="*/ 219867 h 485775"/>
                <a:gd name="connsiteX296" fmla="*/ 854319 w 923925"/>
                <a:gd name="connsiteY296" fmla="*/ 223553 h 485775"/>
                <a:gd name="connsiteX297" fmla="*/ 861701 w 923925"/>
                <a:gd name="connsiteY297" fmla="*/ 223553 h 485775"/>
                <a:gd name="connsiteX298" fmla="*/ 869083 w 923925"/>
                <a:gd name="connsiteY298" fmla="*/ 223553 h 485775"/>
                <a:gd name="connsiteX299" fmla="*/ 876456 w 923925"/>
                <a:gd name="connsiteY299" fmla="*/ 219867 h 485775"/>
                <a:gd name="connsiteX300" fmla="*/ 887524 w 923925"/>
                <a:gd name="connsiteY300" fmla="*/ 216181 h 485775"/>
                <a:gd name="connsiteX301" fmla="*/ 894905 w 923925"/>
                <a:gd name="connsiteY301" fmla="*/ 212485 h 485775"/>
                <a:gd name="connsiteX302" fmla="*/ 902287 w 923925"/>
                <a:gd name="connsiteY302" fmla="*/ 208799 h 485775"/>
                <a:gd name="connsiteX303" fmla="*/ 902287 w 923925"/>
                <a:gd name="connsiteY303" fmla="*/ 212485 h 485775"/>
                <a:gd name="connsiteX304" fmla="*/ 905974 w 923925"/>
                <a:gd name="connsiteY304" fmla="*/ 212485 h 485775"/>
                <a:gd name="connsiteX305" fmla="*/ 909660 w 923925"/>
                <a:gd name="connsiteY305" fmla="*/ 216181 h 485775"/>
                <a:gd name="connsiteX306" fmla="*/ 917042 w 923925"/>
                <a:gd name="connsiteY306" fmla="*/ 223553 h 485775"/>
                <a:gd name="connsiteX307" fmla="*/ 917042 w 923925"/>
                <a:gd name="connsiteY307" fmla="*/ 219867 h 485775"/>
                <a:gd name="connsiteX308" fmla="*/ 920728 w 923925"/>
                <a:gd name="connsiteY308" fmla="*/ 219867 h 485775"/>
                <a:gd name="connsiteX309" fmla="*/ 924414 w 923925"/>
                <a:gd name="connsiteY309" fmla="*/ 219867 h 485775"/>
                <a:gd name="connsiteX310" fmla="*/ 920728 w 923925"/>
                <a:gd name="connsiteY310" fmla="*/ 216181 h 485775"/>
                <a:gd name="connsiteX311" fmla="*/ 920728 w 923925"/>
                <a:gd name="connsiteY311" fmla="*/ 212485 h 485775"/>
                <a:gd name="connsiteX312" fmla="*/ 920728 w 923925"/>
                <a:gd name="connsiteY312" fmla="*/ 208799 h 485775"/>
                <a:gd name="connsiteX313" fmla="*/ 920728 w 923925"/>
                <a:gd name="connsiteY313" fmla="*/ 205103 h 485775"/>
                <a:gd name="connsiteX314" fmla="*/ 920728 w 923925"/>
                <a:gd name="connsiteY314" fmla="*/ 201417 h 485775"/>
                <a:gd name="connsiteX315" fmla="*/ 917042 w 923925"/>
                <a:gd name="connsiteY315" fmla="*/ 194035 h 485775"/>
                <a:gd name="connsiteX316" fmla="*/ 913356 w 923925"/>
                <a:gd name="connsiteY316" fmla="*/ 190339 h 485775"/>
                <a:gd name="connsiteX317" fmla="*/ 913356 w 923925"/>
                <a:gd name="connsiteY317" fmla="*/ 186653 h 485775"/>
                <a:gd name="connsiteX318" fmla="*/ 913356 w 923925"/>
                <a:gd name="connsiteY318" fmla="*/ 175576 h 485775"/>
                <a:gd name="connsiteX319" fmla="*/ 909660 w 923925"/>
                <a:gd name="connsiteY319" fmla="*/ 171890 h 485775"/>
                <a:gd name="connsiteX320" fmla="*/ 909660 w 923925"/>
                <a:gd name="connsiteY320" fmla="*/ 168203 h 485775"/>
                <a:gd name="connsiteX321" fmla="*/ 905974 w 923925"/>
                <a:gd name="connsiteY321" fmla="*/ 164508 h 485775"/>
                <a:gd name="connsiteX322" fmla="*/ 902287 w 923925"/>
                <a:gd name="connsiteY322" fmla="*/ 160821 h 485775"/>
                <a:gd name="connsiteX323" fmla="*/ 898592 w 923925"/>
                <a:gd name="connsiteY323" fmla="*/ 157126 h 485775"/>
                <a:gd name="connsiteX324" fmla="*/ 887524 w 923925"/>
                <a:gd name="connsiteY324" fmla="*/ 153440 h 485775"/>
                <a:gd name="connsiteX325" fmla="*/ 887524 w 923925"/>
                <a:gd name="connsiteY325" fmla="*/ 149744 h 485775"/>
                <a:gd name="connsiteX326" fmla="*/ 883838 w 923925"/>
                <a:gd name="connsiteY326" fmla="*/ 146058 h 485775"/>
                <a:gd name="connsiteX327" fmla="*/ 883838 w 923925"/>
                <a:gd name="connsiteY327" fmla="*/ 134980 h 485775"/>
                <a:gd name="connsiteX328" fmla="*/ 883838 w 923925"/>
                <a:gd name="connsiteY328" fmla="*/ 131294 h 485775"/>
                <a:gd name="connsiteX329" fmla="*/ 883838 w 923925"/>
                <a:gd name="connsiteY329" fmla="*/ 127598 h 485775"/>
                <a:gd name="connsiteX330" fmla="*/ 883838 w 923925"/>
                <a:gd name="connsiteY330" fmla="*/ 120226 h 485775"/>
                <a:gd name="connsiteX331" fmla="*/ 880151 w 923925"/>
                <a:gd name="connsiteY331" fmla="*/ 120226 h 485775"/>
                <a:gd name="connsiteX332" fmla="*/ 880151 w 923925"/>
                <a:gd name="connsiteY332" fmla="*/ 116530 h 485775"/>
                <a:gd name="connsiteX333" fmla="*/ 880151 w 923925"/>
                <a:gd name="connsiteY333" fmla="*/ 109148 h 485775"/>
                <a:gd name="connsiteX334" fmla="*/ 876456 w 923925"/>
                <a:gd name="connsiteY334" fmla="*/ 98080 h 485775"/>
                <a:gd name="connsiteX335" fmla="*/ 872769 w 923925"/>
                <a:gd name="connsiteY335" fmla="*/ 98080 h 485775"/>
                <a:gd name="connsiteX336" fmla="*/ 869083 w 923925"/>
                <a:gd name="connsiteY336" fmla="*/ 94385 h 485775"/>
                <a:gd name="connsiteX337" fmla="*/ 861701 w 923925"/>
                <a:gd name="connsiteY337" fmla="*/ 94385 h 485775"/>
                <a:gd name="connsiteX338" fmla="*/ 854319 w 923925"/>
                <a:gd name="connsiteY338" fmla="*/ 90698 h 485775"/>
                <a:gd name="connsiteX339" fmla="*/ 846947 w 923925"/>
                <a:gd name="connsiteY339" fmla="*/ 90698 h 485775"/>
                <a:gd name="connsiteX340" fmla="*/ 843252 w 923925"/>
                <a:gd name="connsiteY340" fmla="*/ 87003 h 485775"/>
                <a:gd name="connsiteX341" fmla="*/ 843252 w 923925"/>
                <a:gd name="connsiteY341" fmla="*/ 79621 h 485775"/>
                <a:gd name="connsiteX342" fmla="*/ 839565 w 923925"/>
                <a:gd name="connsiteY342" fmla="*/ 72248 h 485775"/>
                <a:gd name="connsiteX343" fmla="*/ 839565 w 923925"/>
                <a:gd name="connsiteY343" fmla="*/ 68553 h 485775"/>
                <a:gd name="connsiteX344" fmla="*/ 839565 w 923925"/>
                <a:gd name="connsiteY344" fmla="*/ 64867 h 485775"/>
                <a:gd name="connsiteX345" fmla="*/ 835879 w 923925"/>
                <a:gd name="connsiteY345" fmla="*/ 64867 h 485775"/>
                <a:gd name="connsiteX346" fmla="*/ 832193 w 923925"/>
                <a:gd name="connsiteY346" fmla="*/ 61171 h 485775"/>
                <a:gd name="connsiteX347" fmla="*/ 828497 w 923925"/>
                <a:gd name="connsiteY347" fmla="*/ 61171 h 485775"/>
                <a:gd name="connsiteX348" fmla="*/ 821125 w 923925"/>
                <a:gd name="connsiteY348" fmla="*/ 61171 h 485775"/>
                <a:gd name="connsiteX349" fmla="*/ 810057 w 923925"/>
                <a:gd name="connsiteY349" fmla="*/ 61171 h 485775"/>
                <a:gd name="connsiteX350" fmla="*/ 806361 w 923925"/>
                <a:gd name="connsiteY350" fmla="*/ 61171 h 485775"/>
                <a:gd name="connsiteX351" fmla="*/ 795293 w 923925"/>
                <a:gd name="connsiteY351" fmla="*/ 64867 h 485775"/>
                <a:gd name="connsiteX352" fmla="*/ 791607 w 923925"/>
                <a:gd name="connsiteY352" fmla="*/ 64867 h 485775"/>
                <a:gd name="connsiteX353" fmla="*/ 784225 w 923925"/>
                <a:gd name="connsiteY353" fmla="*/ 64867 h 485775"/>
                <a:gd name="connsiteX354" fmla="*/ 780539 w 923925"/>
                <a:gd name="connsiteY354" fmla="*/ 64867 h 485775"/>
                <a:gd name="connsiteX355" fmla="*/ 776853 w 923925"/>
                <a:gd name="connsiteY355" fmla="*/ 64867 h 485775"/>
                <a:gd name="connsiteX356" fmla="*/ 773157 w 923925"/>
                <a:gd name="connsiteY356" fmla="*/ 61171 h 485775"/>
                <a:gd name="connsiteX357" fmla="*/ 773157 w 923925"/>
                <a:gd name="connsiteY357" fmla="*/ 57485 h 485775"/>
                <a:gd name="connsiteX358" fmla="*/ 769471 w 923925"/>
                <a:gd name="connsiteY358" fmla="*/ 53789 h 485775"/>
                <a:gd name="connsiteX359" fmla="*/ 765785 w 923925"/>
                <a:gd name="connsiteY359" fmla="*/ 50103 h 485775"/>
                <a:gd name="connsiteX360" fmla="*/ 762098 w 923925"/>
                <a:gd name="connsiteY360" fmla="*/ 50103 h 485775"/>
                <a:gd name="connsiteX361" fmla="*/ 758403 w 923925"/>
                <a:gd name="connsiteY361" fmla="*/ 50103 h 485775"/>
                <a:gd name="connsiteX362" fmla="*/ 754717 w 923925"/>
                <a:gd name="connsiteY362" fmla="*/ 46407 h 485775"/>
                <a:gd name="connsiteX363" fmla="*/ 751030 w 923925"/>
                <a:gd name="connsiteY363" fmla="*/ 46407 h 485775"/>
                <a:gd name="connsiteX364" fmla="*/ 751030 w 923925"/>
                <a:gd name="connsiteY364" fmla="*/ 39025 h 485775"/>
                <a:gd name="connsiteX365" fmla="*/ 747335 w 923925"/>
                <a:gd name="connsiteY365" fmla="*/ 39025 h 485775"/>
                <a:gd name="connsiteX366" fmla="*/ 743649 w 923925"/>
                <a:gd name="connsiteY366" fmla="*/ 35339 h 485775"/>
                <a:gd name="connsiteX367" fmla="*/ 739962 w 923925"/>
                <a:gd name="connsiteY367" fmla="*/ 35339 h 485775"/>
                <a:gd name="connsiteX368" fmla="*/ 736267 w 923925"/>
                <a:gd name="connsiteY368" fmla="*/ 35339 h 485775"/>
                <a:gd name="connsiteX369" fmla="*/ 732581 w 923925"/>
                <a:gd name="connsiteY369" fmla="*/ 31643 h 485775"/>
                <a:gd name="connsiteX370" fmla="*/ 728894 w 923925"/>
                <a:gd name="connsiteY370" fmla="*/ 27957 h 485775"/>
                <a:gd name="connsiteX371" fmla="*/ 725199 w 923925"/>
                <a:gd name="connsiteY371" fmla="*/ 24271 h 485775"/>
                <a:gd name="connsiteX372" fmla="*/ 725199 w 923925"/>
                <a:gd name="connsiteY372" fmla="*/ 16889 h 485775"/>
                <a:gd name="connsiteX373" fmla="*/ 721512 w 923925"/>
                <a:gd name="connsiteY373" fmla="*/ 13194 h 485775"/>
                <a:gd name="connsiteX374" fmla="*/ 714131 w 923925"/>
                <a:gd name="connsiteY374" fmla="*/ 13194 h 485775"/>
                <a:gd name="connsiteX375" fmla="*/ 710444 w 923925"/>
                <a:gd name="connsiteY375" fmla="*/ 13194 h 485775"/>
                <a:gd name="connsiteX376" fmla="*/ 706758 w 923925"/>
                <a:gd name="connsiteY376" fmla="*/ 9507 h 485775"/>
                <a:gd name="connsiteX377" fmla="*/ 699376 w 923925"/>
                <a:gd name="connsiteY377" fmla="*/ 5812 h 485775"/>
                <a:gd name="connsiteX378" fmla="*/ 695690 w 923925"/>
                <a:gd name="connsiteY378" fmla="*/ 5812 h 485775"/>
                <a:gd name="connsiteX379" fmla="*/ 692004 w 923925"/>
                <a:gd name="connsiteY379" fmla="*/ 5812 h 485775"/>
                <a:gd name="connsiteX380" fmla="*/ 684622 w 923925"/>
                <a:gd name="connsiteY380" fmla="*/ 5812 h 485775"/>
                <a:gd name="connsiteX381" fmla="*/ 680936 w 923925"/>
                <a:gd name="connsiteY381" fmla="*/ 5812 h 485775"/>
                <a:gd name="connsiteX382" fmla="*/ 677240 w 923925"/>
                <a:gd name="connsiteY382" fmla="*/ 9507 h 485775"/>
                <a:gd name="connsiteX383" fmla="*/ 677240 w 923925"/>
                <a:gd name="connsiteY383" fmla="*/ 13194 h 485775"/>
                <a:gd name="connsiteX384" fmla="*/ 673554 w 923925"/>
                <a:gd name="connsiteY384" fmla="*/ 16889 h 485775"/>
                <a:gd name="connsiteX385" fmla="*/ 669868 w 923925"/>
                <a:gd name="connsiteY385" fmla="*/ 16889 h 485775"/>
                <a:gd name="connsiteX386" fmla="*/ 666172 w 923925"/>
                <a:gd name="connsiteY386" fmla="*/ 13194 h 485775"/>
                <a:gd name="connsiteX387" fmla="*/ 662486 w 923925"/>
                <a:gd name="connsiteY387" fmla="*/ 13194 h 485775"/>
                <a:gd name="connsiteX388" fmla="*/ 658800 w 923925"/>
                <a:gd name="connsiteY388" fmla="*/ 13194 h 485775"/>
                <a:gd name="connsiteX389" fmla="*/ 658800 w 923925"/>
                <a:gd name="connsiteY389" fmla="*/ 9507 h 485775"/>
                <a:gd name="connsiteX390" fmla="*/ 655104 w 923925"/>
                <a:gd name="connsiteY390" fmla="*/ 5812 h 485775"/>
                <a:gd name="connsiteX391" fmla="*/ 651418 w 923925"/>
                <a:gd name="connsiteY391" fmla="*/ 5812 h 485775"/>
                <a:gd name="connsiteX392" fmla="*/ 647732 w 923925"/>
                <a:gd name="connsiteY392" fmla="*/ 5812 h 485775"/>
                <a:gd name="connsiteX393" fmla="*/ 644036 w 923925"/>
                <a:gd name="connsiteY393" fmla="*/ 5812 h 485775"/>
                <a:gd name="connsiteX394" fmla="*/ 644036 w 923925"/>
                <a:gd name="connsiteY394" fmla="*/ 9507 h 485775"/>
                <a:gd name="connsiteX395" fmla="*/ 640350 w 923925"/>
                <a:gd name="connsiteY395" fmla="*/ 16889 h 485775"/>
                <a:gd name="connsiteX396" fmla="*/ 636664 w 923925"/>
                <a:gd name="connsiteY396" fmla="*/ 20575 h 485775"/>
                <a:gd name="connsiteX397" fmla="*/ 629282 w 923925"/>
                <a:gd name="connsiteY397" fmla="*/ 20575 h 485775"/>
                <a:gd name="connsiteX398" fmla="*/ 621910 w 923925"/>
                <a:gd name="connsiteY398" fmla="*/ 20575 h 485775"/>
                <a:gd name="connsiteX399" fmla="*/ 618214 w 923925"/>
                <a:gd name="connsiteY399" fmla="*/ 20575 h 485775"/>
                <a:gd name="connsiteX400" fmla="*/ 614528 w 923925"/>
                <a:gd name="connsiteY400" fmla="*/ 16889 h 485775"/>
                <a:gd name="connsiteX401" fmla="*/ 610841 w 923925"/>
                <a:gd name="connsiteY401" fmla="*/ 13194 h 485775"/>
                <a:gd name="connsiteX402" fmla="*/ 610841 w 923925"/>
                <a:gd name="connsiteY402" fmla="*/ 9507 h 485775"/>
                <a:gd name="connsiteX403" fmla="*/ 607146 w 923925"/>
                <a:gd name="connsiteY403" fmla="*/ 9507 h 485775"/>
                <a:gd name="connsiteX404" fmla="*/ 603460 w 923925"/>
                <a:gd name="connsiteY404" fmla="*/ 13194 h 485775"/>
                <a:gd name="connsiteX405" fmla="*/ 603460 w 923925"/>
                <a:gd name="connsiteY405" fmla="*/ 16889 h 485775"/>
                <a:gd name="connsiteX406" fmla="*/ 599773 w 923925"/>
                <a:gd name="connsiteY406" fmla="*/ 20575 h 485775"/>
                <a:gd name="connsiteX407" fmla="*/ 596078 w 923925"/>
                <a:gd name="connsiteY407" fmla="*/ 24271 h 485775"/>
                <a:gd name="connsiteX408" fmla="*/ 588705 w 923925"/>
                <a:gd name="connsiteY408" fmla="*/ 35339 h 485775"/>
                <a:gd name="connsiteX409" fmla="*/ 588705 w 923925"/>
                <a:gd name="connsiteY409" fmla="*/ 39025 h 485775"/>
                <a:gd name="connsiteX410" fmla="*/ 585010 w 923925"/>
                <a:gd name="connsiteY410" fmla="*/ 46407 h 485775"/>
                <a:gd name="connsiteX411" fmla="*/ 585010 w 923925"/>
                <a:gd name="connsiteY411" fmla="*/ 53789 h 485775"/>
                <a:gd name="connsiteX412" fmla="*/ 585010 w 923925"/>
                <a:gd name="connsiteY412" fmla="*/ 61171 h 485775"/>
                <a:gd name="connsiteX413" fmla="*/ 581323 w 923925"/>
                <a:gd name="connsiteY413" fmla="*/ 61171 h 485775"/>
                <a:gd name="connsiteX414" fmla="*/ 581323 w 923925"/>
                <a:gd name="connsiteY414" fmla="*/ 64867 h 485775"/>
                <a:gd name="connsiteX415" fmla="*/ 562874 w 923925"/>
                <a:gd name="connsiteY415" fmla="*/ 72248 h 485775"/>
                <a:gd name="connsiteX416" fmla="*/ 555501 w 923925"/>
                <a:gd name="connsiteY416" fmla="*/ 75935 h 485775"/>
                <a:gd name="connsiteX417" fmla="*/ 555501 w 923925"/>
                <a:gd name="connsiteY417" fmla="*/ 79621 h 485775"/>
                <a:gd name="connsiteX418" fmla="*/ 551815 w 923925"/>
                <a:gd name="connsiteY418" fmla="*/ 79621 h 485775"/>
                <a:gd name="connsiteX419" fmla="*/ 544433 w 923925"/>
                <a:gd name="connsiteY419" fmla="*/ 75935 h 485775"/>
                <a:gd name="connsiteX420" fmla="*/ 537051 w 923925"/>
                <a:gd name="connsiteY420" fmla="*/ 75935 h 485775"/>
                <a:gd name="connsiteX421" fmla="*/ 533365 w 923925"/>
                <a:gd name="connsiteY421" fmla="*/ 79621 h 485775"/>
                <a:gd name="connsiteX422" fmla="*/ 529675 w 923925"/>
                <a:gd name="connsiteY422" fmla="*/ 83317 h 485775"/>
                <a:gd name="connsiteX423" fmla="*/ 525986 w 923925"/>
                <a:gd name="connsiteY423" fmla="*/ 79621 h 485775"/>
                <a:gd name="connsiteX424" fmla="*/ 518608 w 923925"/>
                <a:gd name="connsiteY424" fmla="*/ 75935 h 485775"/>
                <a:gd name="connsiteX425" fmla="*/ 514919 w 923925"/>
                <a:gd name="connsiteY425" fmla="*/ 72248 h 485775"/>
                <a:gd name="connsiteX426" fmla="*/ 511230 w 923925"/>
                <a:gd name="connsiteY426" fmla="*/ 75935 h 485775"/>
                <a:gd name="connsiteX427" fmla="*/ 507540 w 923925"/>
                <a:gd name="connsiteY427" fmla="*/ 75935 h 485775"/>
                <a:gd name="connsiteX428" fmla="*/ 503851 w 923925"/>
                <a:gd name="connsiteY428" fmla="*/ 75935 h 485775"/>
                <a:gd name="connsiteX429" fmla="*/ 496473 w 923925"/>
                <a:gd name="connsiteY429" fmla="*/ 75935 h 485775"/>
                <a:gd name="connsiteX430" fmla="*/ 492784 w 923925"/>
                <a:gd name="connsiteY430" fmla="*/ 75935 h 485775"/>
                <a:gd name="connsiteX431" fmla="*/ 485405 w 923925"/>
                <a:gd name="connsiteY431" fmla="*/ 75935 h 485775"/>
                <a:gd name="connsiteX432" fmla="*/ 478027 w 923925"/>
                <a:gd name="connsiteY432" fmla="*/ 75935 h 485775"/>
                <a:gd name="connsiteX433" fmla="*/ 470649 w 923925"/>
                <a:gd name="connsiteY433" fmla="*/ 79621 h 485775"/>
                <a:gd name="connsiteX434" fmla="*/ 466960 w 923925"/>
                <a:gd name="connsiteY434" fmla="*/ 75935 h 485775"/>
                <a:gd name="connsiteX435" fmla="*/ 466960 w 923925"/>
                <a:gd name="connsiteY435" fmla="*/ 72248 h 485775"/>
                <a:gd name="connsiteX436" fmla="*/ 470649 w 923925"/>
                <a:gd name="connsiteY436" fmla="*/ 72248 h 485775"/>
                <a:gd name="connsiteX437" fmla="*/ 474338 w 923925"/>
                <a:gd name="connsiteY437" fmla="*/ 68553 h 485775"/>
                <a:gd name="connsiteX438" fmla="*/ 478027 w 923925"/>
                <a:gd name="connsiteY438" fmla="*/ 64867 h 485775"/>
                <a:gd name="connsiteX439" fmla="*/ 474338 w 923925"/>
                <a:gd name="connsiteY439" fmla="*/ 61171 h 485775"/>
                <a:gd name="connsiteX440" fmla="*/ 474338 w 923925"/>
                <a:gd name="connsiteY440" fmla="*/ 57485 h 485775"/>
                <a:gd name="connsiteX441" fmla="*/ 474338 w 923925"/>
                <a:gd name="connsiteY441" fmla="*/ 53789 h 485775"/>
                <a:gd name="connsiteX442" fmla="*/ 474338 w 923925"/>
                <a:gd name="connsiteY442" fmla="*/ 50103 h 485775"/>
                <a:gd name="connsiteX443" fmla="*/ 463271 w 923925"/>
                <a:gd name="connsiteY443" fmla="*/ 46407 h 485775"/>
                <a:gd name="connsiteX444" fmla="*/ 459581 w 923925"/>
                <a:gd name="connsiteY444" fmla="*/ 42721 h 485775"/>
                <a:gd name="connsiteX445" fmla="*/ 455892 w 923925"/>
                <a:gd name="connsiteY445" fmla="*/ 39025 h 485775"/>
                <a:gd name="connsiteX446" fmla="*/ 452203 w 923925"/>
                <a:gd name="connsiteY446" fmla="*/ 39025 h 485775"/>
                <a:gd name="connsiteX447" fmla="*/ 448514 w 923925"/>
                <a:gd name="connsiteY447" fmla="*/ 42721 h 485775"/>
                <a:gd name="connsiteX448" fmla="*/ 444825 w 923925"/>
                <a:gd name="connsiteY448" fmla="*/ 46407 h 485775"/>
                <a:gd name="connsiteX449" fmla="*/ 441136 w 923925"/>
                <a:gd name="connsiteY449" fmla="*/ 46407 h 485775"/>
                <a:gd name="connsiteX450" fmla="*/ 441136 w 923925"/>
                <a:gd name="connsiteY450" fmla="*/ 42721 h 485775"/>
                <a:gd name="connsiteX451" fmla="*/ 437445 w 923925"/>
                <a:gd name="connsiteY451" fmla="*/ 42721 h 485775"/>
                <a:gd name="connsiteX452" fmla="*/ 437445 w 923925"/>
                <a:gd name="connsiteY452" fmla="*/ 39025 h 485775"/>
                <a:gd name="connsiteX453" fmla="*/ 433756 w 923925"/>
                <a:gd name="connsiteY453" fmla="*/ 35339 h 485775"/>
                <a:gd name="connsiteX454" fmla="*/ 433756 w 923925"/>
                <a:gd name="connsiteY454" fmla="*/ 31643 h 485775"/>
                <a:gd name="connsiteX455" fmla="*/ 430067 w 923925"/>
                <a:gd name="connsiteY455" fmla="*/ 31643 h 485775"/>
                <a:gd name="connsiteX456" fmla="*/ 426378 w 923925"/>
                <a:gd name="connsiteY456" fmla="*/ 27957 h 485775"/>
                <a:gd name="connsiteX457" fmla="*/ 419000 w 923925"/>
                <a:gd name="connsiteY457" fmla="*/ 24271 h 485775"/>
                <a:gd name="connsiteX458" fmla="*/ 415310 w 923925"/>
                <a:gd name="connsiteY458" fmla="*/ 20575 h 485775"/>
                <a:gd name="connsiteX459" fmla="*/ 411621 w 923925"/>
                <a:gd name="connsiteY459" fmla="*/ 20575 h 485775"/>
                <a:gd name="connsiteX460" fmla="*/ 411621 w 923925"/>
                <a:gd name="connsiteY460" fmla="*/ 16889 h 485775"/>
                <a:gd name="connsiteX461" fmla="*/ 411621 w 923925"/>
                <a:gd name="connsiteY461" fmla="*/ 13194 h 485775"/>
                <a:gd name="connsiteX462" fmla="*/ 407932 w 923925"/>
                <a:gd name="connsiteY462" fmla="*/ 13194 h 485775"/>
                <a:gd name="connsiteX463" fmla="*/ 400554 w 923925"/>
                <a:gd name="connsiteY463" fmla="*/ 13194 h 485775"/>
                <a:gd name="connsiteX464" fmla="*/ 396865 w 923925"/>
                <a:gd name="connsiteY464" fmla="*/ 9507 h 485775"/>
                <a:gd name="connsiteX465" fmla="*/ 393175 w 923925"/>
                <a:gd name="connsiteY465" fmla="*/ 9507 h 485775"/>
                <a:gd name="connsiteX466" fmla="*/ 385797 w 923925"/>
                <a:gd name="connsiteY466" fmla="*/ 9507 h 485775"/>
                <a:gd name="connsiteX467" fmla="*/ 378419 w 923925"/>
                <a:gd name="connsiteY467" fmla="*/ 5812 h 485775"/>
                <a:gd name="connsiteX468" fmla="*/ 374730 w 923925"/>
                <a:gd name="connsiteY468" fmla="*/ 5812 h 485775"/>
                <a:gd name="connsiteX469" fmla="*/ 371041 w 923925"/>
                <a:gd name="connsiteY469" fmla="*/ 5812 h 485775"/>
                <a:gd name="connsiteX470" fmla="*/ 363662 w 923925"/>
                <a:gd name="connsiteY470" fmla="*/ 5812 h 485775"/>
                <a:gd name="connsiteX471" fmla="*/ 367351 w 923925"/>
                <a:gd name="connsiteY471" fmla="*/ 349036 h 485775"/>
                <a:gd name="connsiteX472" fmla="*/ 363662 w 923925"/>
                <a:gd name="connsiteY472" fmla="*/ 349036 h 485775"/>
                <a:gd name="connsiteX473" fmla="*/ 359973 w 923925"/>
                <a:gd name="connsiteY473" fmla="*/ 349036 h 485775"/>
                <a:gd name="connsiteX474" fmla="*/ 363662 w 923925"/>
                <a:gd name="connsiteY474" fmla="*/ 352731 h 485775"/>
                <a:gd name="connsiteX475" fmla="*/ 367351 w 923925"/>
                <a:gd name="connsiteY475" fmla="*/ 349036 h 485775"/>
                <a:gd name="connsiteX476" fmla="*/ 363662 w 923925"/>
                <a:gd name="connsiteY476" fmla="*/ 308440 h 485775"/>
                <a:gd name="connsiteX477" fmla="*/ 367351 w 923925"/>
                <a:gd name="connsiteY477" fmla="*/ 308440 h 485775"/>
                <a:gd name="connsiteX478" fmla="*/ 367351 w 923925"/>
                <a:gd name="connsiteY478" fmla="*/ 312136 h 485775"/>
                <a:gd name="connsiteX479" fmla="*/ 371041 w 923925"/>
                <a:gd name="connsiteY479" fmla="*/ 315822 h 485775"/>
                <a:gd name="connsiteX480" fmla="*/ 374730 w 923925"/>
                <a:gd name="connsiteY480" fmla="*/ 315822 h 485775"/>
                <a:gd name="connsiteX481" fmla="*/ 374730 w 923925"/>
                <a:gd name="connsiteY481" fmla="*/ 319508 h 485775"/>
                <a:gd name="connsiteX482" fmla="*/ 374730 w 923925"/>
                <a:gd name="connsiteY482" fmla="*/ 323204 h 485775"/>
                <a:gd name="connsiteX483" fmla="*/ 371041 w 923925"/>
                <a:gd name="connsiteY483" fmla="*/ 323204 h 485775"/>
                <a:gd name="connsiteX484" fmla="*/ 367351 w 923925"/>
                <a:gd name="connsiteY484" fmla="*/ 319508 h 485775"/>
                <a:gd name="connsiteX485" fmla="*/ 363662 w 923925"/>
                <a:gd name="connsiteY485" fmla="*/ 319508 h 485775"/>
                <a:gd name="connsiteX486" fmla="*/ 367351 w 923925"/>
                <a:gd name="connsiteY486" fmla="*/ 315822 h 485775"/>
                <a:gd name="connsiteX487" fmla="*/ 363662 w 923925"/>
                <a:gd name="connsiteY487" fmla="*/ 312136 h 485775"/>
                <a:gd name="connsiteX488" fmla="*/ 363662 w 923925"/>
                <a:gd name="connsiteY488" fmla="*/ 308440 h 485775"/>
                <a:gd name="connsiteX489" fmla="*/ 371041 w 923925"/>
                <a:gd name="connsiteY489" fmla="*/ 308440 h 485775"/>
                <a:gd name="connsiteX490" fmla="*/ 374730 w 923925"/>
                <a:gd name="connsiteY490" fmla="*/ 312136 h 485775"/>
                <a:gd name="connsiteX491" fmla="*/ 371041 w 923925"/>
                <a:gd name="connsiteY491" fmla="*/ 312136 h 485775"/>
                <a:gd name="connsiteX492" fmla="*/ 371041 w 923925"/>
                <a:gd name="connsiteY492" fmla="*/ 308440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Lst>
              <a:rect l="l" t="t" r="r" b="b"/>
              <a:pathLst>
                <a:path w="923925" h="485775">
                  <a:moveTo>
                    <a:pt x="363662" y="5812"/>
                  </a:moveTo>
                  <a:lnTo>
                    <a:pt x="359973" y="9507"/>
                  </a:lnTo>
                  <a:lnTo>
                    <a:pt x="352595" y="13194"/>
                  </a:lnTo>
                  <a:lnTo>
                    <a:pt x="348906" y="13194"/>
                  </a:lnTo>
                  <a:lnTo>
                    <a:pt x="341527" y="24271"/>
                  </a:lnTo>
                  <a:lnTo>
                    <a:pt x="337838" y="24271"/>
                  </a:lnTo>
                  <a:lnTo>
                    <a:pt x="330460" y="27957"/>
                  </a:lnTo>
                  <a:lnTo>
                    <a:pt x="326771" y="27957"/>
                  </a:lnTo>
                  <a:lnTo>
                    <a:pt x="319392" y="27957"/>
                  </a:lnTo>
                  <a:lnTo>
                    <a:pt x="312014" y="27957"/>
                  </a:lnTo>
                  <a:lnTo>
                    <a:pt x="304636" y="27957"/>
                  </a:lnTo>
                  <a:lnTo>
                    <a:pt x="297257" y="31643"/>
                  </a:lnTo>
                  <a:lnTo>
                    <a:pt x="293568" y="31643"/>
                  </a:lnTo>
                  <a:lnTo>
                    <a:pt x="289878" y="35339"/>
                  </a:lnTo>
                  <a:lnTo>
                    <a:pt x="289878" y="39025"/>
                  </a:lnTo>
                  <a:lnTo>
                    <a:pt x="286189" y="42721"/>
                  </a:lnTo>
                  <a:lnTo>
                    <a:pt x="282500" y="46407"/>
                  </a:lnTo>
                  <a:lnTo>
                    <a:pt x="278811" y="57485"/>
                  </a:lnTo>
                  <a:lnTo>
                    <a:pt x="275121" y="61171"/>
                  </a:lnTo>
                  <a:lnTo>
                    <a:pt x="271432" y="68553"/>
                  </a:lnTo>
                  <a:lnTo>
                    <a:pt x="260365" y="75935"/>
                  </a:lnTo>
                  <a:lnTo>
                    <a:pt x="252986" y="79621"/>
                  </a:lnTo>
                  <a:lnTo>
                    <a:pt x="249297" y="83317"/>
                  </a:lnTo>
                  <a:lnTo>
                    <a:pt x="245608" y="87003"/>
                  </a:lnTo>
                  <a:lnTo>
                    <a:pt x="230851" y="90698"/>
                  </a:lnTo>
                  <a:lnTo>
                    <a:pt x="230851" y="94385"/>
                  </a:lnTo>
                  <a:lnTo>
                    <a:pt x="223473" y="98080"/>
                  </a:lnTo>
                  <a:lnTo>
                    <a:pt x="219784" y="101766"/>
                  </a:lnTo>
                  <a:lnTo>
                    <a:pt x="216095" y="101766"/>
                  </a:lnTo>
                  <a:lnTo>
                    <a:pt x="212406" y="105462"/>
                  </a:lnTo>
                  <a:lnTo>
                    <a:pt x="208717" y="109148"/>
                  </a:lnTo>
                  <a:lnTo>
                    <a:pt x="179203" y="116530"/>
                  </a:lnTo>
                  <a:lnTo>
                    <a:pt x="175514" y="116530"/>
                  </a:lnTo>
                  <a:lnTo>
                    <a:pt x="171825" y="116530"/>
                  </a:lnTo>
                  <a:lnTo>
                    <a:pt x="160757" y="120226"/>
                  </a:lnTo>
                  <a:lnTo>
                    <a:pt x="153379" y="120226"/>
                  </a:lnTo>
                  <a:lnTo>
                    <a:pt x="142311" y="116530"/>
                  </a:lnTo>
                  <a:lnTo>
                    <a:pt x="138621" y="112844"/>
                  </a:lnTo>
                  <a:lnTo>
                    <a:pt x="134932" y="112844"/>
                  </a:lnTo>
                  <a:lnTo>
                    <a:pt x="131243" y="109148"/>
                  </a:lnTo>
                  <a:lnTo>
                    <a:pt x="127554" y="109148"/>
                  </a:lnTo>
                  <a:lnTo>
                    <a:pt x="120176" y="109148"/>
                  </a:lnTo>
                  <a:lnTo>
                    <a:pt x="116487" y="112844"/>
                  </a:lnTo>
                  <a:lnTo>
                    <a:pt x="109108" y="116530"/>
                  </a:lnTo>
                  <a:lnTo>
                    <a:pt x="105419" y="120226"/>
                  </a:lnTo>
                  <a:lnTo>
                    <a:pt x="105419" y="123912"/>
                  </a:lnTo>
                  <a:lnTo>
                    <a:pt x="101730" y="131294"/>
                  </a:lnTo>
                  <a:lnTo>
                    <a:pt x="98041" y="134980"/>
                  </a:lnTo>
                  <a:lnTo>
                    <a:pt x="94352" y="138676"/>
                  </a:lnTo>
                  <a:lnTo>
                    <a:pt x="90662" y="142362"/>
                  </a:lnTo>
                  <a:lnTo>
                    <a:pt x="83284" y="146058"/>
                  </a:lnTo>
                  <a:lnTo>
                    <a:pt x="79595" y="146058"/>
                  </a:lnTo>
                  <a:lnTo>
                    <a:pt x="75906" y="149744"/>
                  </a:lnTo>
                  <a:lnTo>
                    <a:pt x="72217" y="149744"/>
                  </a:lnTo>
                  <a:lnTo>
                    <a:pt x="72217" y="146058"/>
                  </a:lnTo>
                  <a:lnTo>
                    <a:pt x="68527" y="146058"/>
                  </a:lnTo>
                  <a:lnTo>
                    <a:pt x="64838" y="149744"/>
                  </a:lnTo>
                  <a:lnTo>
                    <a:pt x="57460" y="149744"/>
                  </a:lnTo>
                  <a:lnTo>
                    <a:pt x="53771" y="149744"/>
                  </a:lnTo>
                  <a:lnTo>
                    <a:pt x="50082" y="153440"/>
                  </a:lnTo>
                  <a:lnTo>
                    <a:pt x="46393" y="153440"/>
                  </a:lnTo>
                  <a:lnTo>
                    <a:pt x="42703" y="153440"/>
                  </a:lnTo>
                  <a:lnTo>
                    <a:pt x="39014" y="160821"/>
                  </a:lnTo>
                  <a:lnTo>
                    <a:pt x="35325" y="160821"/>
                  </a:lnTo>
                  <a:lnTo>
                    <a:pt x="35325" y="157126"/>
                  </a:lnTo>
                  <a:lnTo>
                    <a:pt x="31636" y="157126"/>
                  </a:lnTo>
                  <a:lnTo>
                    <a:pt x="27947" y="157126"/>
                  </a:lnTo>
                  <a:lnTo>
                    <a:pt x="16879" y="160821"/>
                  </a:lnTo>
                  <a:lnTo>
                    <a:pt x="13190" y="164508"/>
                  </a:lnTo>
                  <a:lnTo>
                    <a:pt x="9501" y="168203"/>
                  </a:lnTo>
                  <a:lnTo>
                    <a:pt x="5812" y="175576"/>
                  </a:lnTo>
                  <a:lnTo>
                    <a:pt x="5812" y="179271"/>
                  </a:lnTo>
                  <a:lnTo>
                    <a:pt x="5812" y="186653"/>
                  </a:lnTo>
                  <a:lnTo>
                    <a:pt x="5812" y="190339"/>
                  </a:lnTo>
                  <a:lnTo>
                    <a:pt x="9501" y="194035"/>
                  </a:lnTo>
                  <a:lnTo>
                    <a:pt x="24258" y="212485"/>
                  </a:lnTo>
                  <a:lnTo>
                    <a:pt x="24258" y="219867"/>
                  </a:lnTo>
                  <a:lnTo>
                    <a:pt x="27947" y="223553"/>
                  </a:lnTo>
                  <a:lnTo>
                    <a:pt x="27947" y="227249"/>
                  </a:lnTo>
                  <a:lnTo>
                    <a:pt x="24258" y="234631"/>
                  </a:lnTo>
                  <a:lnTo>
                    <a:pt x="20568" y="245699"/>
                  </a:lnTo>
                  <a:lnTo>
                    <a:pt x="16879" y="253081"/>
                  </a:lnTo>
                  <a:lnTo>
                    <a:pt x="16879" y="256776"/>
                  </a:lnTo>
                  <a:lnTo>
                    <a:pt x="24258" y="271531"/>
                  </a:lnTo>
                  <a:lnTo>
                    <a:pt x="39014" y="312136"/>
                  </a:lnTo>
                  <a:lnTo>
                    <a:pt x="46393" y="323204"/>
                  </a:lnTo>
                  <a:lnTo>
                    <a:pt x="39014" y="326890"/>
                  </a:lnTo>
                  <a:lnTo>
                    <a:pt x="39014" y="330585"/>
                  </a:lnTo>
                  <a:lnTo>
                    <a:pt x="42703" y="341654"/>
                  </a:lnTo>
                  <a:lnTo>
                    <a:pt x="39014" y="352731"/>
                  </a:lnTo>
                  <a:lnTo>
                    <a:pt x="39014" y="356417"/>
                  </a:lnTo>
                  <a:lnTo>
                    <a:pt x="42703" y="356417"/>
                  </a:lnTo>
                  <a:lnTo>
                    <a:pt x="46393" y="360113"/>
                  </a:lnTo>
                  <a:lnTo>
                    <a:pt x="72217" y="360113"/>
                  </a:lnTo>
                  <a:lnTo>
                    <a:pt x="72217" y="363799"/>
                  </a:lnTo>
                  <a:lnTo>
                    <a:pt x="75906" y="367485"/>
                  </a:lnTo>
                  <a:lnTo>
                    <a:pt x="75906" y="378563"/>
                  </a:lnTo>
                  <a:lnTo>
                    <a:pt x="79595" y="374867"/>
                  </a:lnTo>
                  <a:lnTo>
                    <a:pt x="90662" y="378563"/>
                  </a:lnTo>
                  <a:lnTo>
                    <a:pt x="94352" y="378563"/>
                  </a:lnTo>
                  <a:lnTo>
                    <a:pt x="98041" y="378563"/>
                  </a:lnTo>
                  <a:lnTo>
                    <a:pt x="101730" y="378563"/>
                  </a:lnTo>
                  <a:lnTo>
                    <a:pt x="105419" y="378563"/>
                  </a:lnTo>
                  <a:lnTo>
                    <a:pt x="109108" y="374867"/>
                  </a:lnTo>
                  <a:lnTo>
                    <a:pt x="116487" y="371181"/>
                  </a:lnTo>
                  <a:lnTo>
                    <a:pt x="120176" y="371181"/>
                  </a:lnTo>
                  <a:lnTo>
                    <a:pt x="120176" y="367485"/>
                  </a:lnTo>
                  <a:lnTo>
                    <a:pt x="120176" y="363799"/>
                  </a:lnTo>
                  <a:lnTo>
                    <a:pt x="101730" y="337967"/>
                  </a:lnTo>
                  <a:lnTo>
                    <a:pt x="98041" y="326890"/>
                  </a:lnTo>
                  <a:lnTo>
                    <a:pt x="101730" y="323204"/>
                  </a:lnTo>
                  <a:lnTo>
                    <a:pt x="105419" y="323204"/>
                  </a:lnTo>
                  <a:lnTo>
                    <a:pt x="105419" y="319508"/>
                  </a:lnTo>
                  <a:lnTo>
                    <a:pt x="105419" y="315822"/>
                  </a:lnTo>
                  <a:lnTo>
                    <a:pt x="105419" y="312136"/>
                  </a:lnTo>
                  <a:lnTo>
                    <a:pt x="105419" y="308440"/>
                  </a:lnTo>
                  <a:lnTo>
                    <a:pt x="101730" y="308440"/>
                  </a:lnTo>
                  <a:lnTo>
                    <a:pt x="98041" y="304754"/>
                  </a:lnTo>
                  <a:lnTo>
                    <a:pt x="101730" y="301058"/>
                  </a:lnTo>
                  <a:lnTo>
                    <a:pt x="127554" y="289990"/>
                  </a:lnTo>
                  <a:lnTo>
                    <a:pt x="134932" y="289990"/>
                  </a:lnTo>
                  <a:lnTo>
                    <a:pt x="138621" y="286294"/>
                  </a:lnTo>
                  <a:lnTo>
                    <a:pt x="142311" y="282608"/>
                  </a:lnTo>
                  <a:lnTo>
                    <a:pt x="146000" y="282608"/>
                  </a:lnTo>
                  <a:lnTo>
                    <a:pt x="149690" y="282608"/>
                  </a:lnTo>
                  <a:lnTo>
                    <a:pt x="175514" y="278912"/>
                  </a:lnTo>
                  <a:lnTo>
                    <a:pt x="179203" y="286294"/>
                  </a:lnTo>
                  <a:lnTo>
                    <a:pt x="171825" y="304754"/>
                  </a:lnTo>
                  <a:lnTo>
                    <a:pt x="175514" y="326890"/>
                  </a:lnTo>
                  <a:lnTo>
                    <a:pt x="193960" y="319508"/>
                  </a:lnTo>
                  <a:lnTo>
                    <a:pt x="197649" y="319508"/>
                  </a:lnTo>
                  <a:lnTo>
                    <a:pt x="205027" y="319508"/>
                  </a:lnTo>
                  <a:lnTo>
                    <a:pt x="219784" y="323204"/>
                  </a:lnTo>
                  <a:lnTo>
                    <a:pt x="227162" y="326890"/>
                  </a:lnTo>
                  <a:lnTo>
                    <a:pt x="230851" y="326890"/>
                  </a:lnTo>
                  <a:lnTo>
                    <a:pt x="230851" y="323204"/>
                  </a:lnTo>
                  <a:lnTo>
                    <a:pt x="234541" y="326890"/>
                  </a:lnTo>
                  <a:lnTo>
                    <a:pt x="241919" y="323204"/>
                  </a:lnTo>
                  <a:lnTo>
                    <a:pt x="238230" y="308440"/>
                  </a:lnTo>
                  <a:lnTo>
                    <a:pt x="249297" y="304754"/>
                  </a:lnTo>
                  <a:lnTo>
                    <a:pt x="252986" y="304754"/>
                  </a:lnTo>
                  <a:lnTo>
                    <a:pt x="256676" y="293676"/>
                  </a:lnTo>
                  <a:lnTo>
                    <a:pt x="264054" y="289990"/>
                  </a:lnTo>
                  <a:lnTo>
                    <a:pt x="267743" y="286294"/>
                  </a:lnTo>
                  <a:lnTo>
                    <a:pt x="271432" y="278912"/>
                  </a:lnTo>
                  <a:lnTo>
                    <a:pt x="278811" y="275226"/>
                  </a:lnTo>
                  <a:lnTo>
                    <a:pt x="282500" y="271531"/>
                  </a:lnTo>
                  <a:lnTo>
                    <a:pt x="278811" y="267844"/>
                  </a:lnTo>
                  <a:lnTo>
                    <a:pt x="282500" y="267844"/>
                  </a:lnTo>
                  <a:lnTo>
                    <a:pt x="286189" y="267844"/>
                  </a:lnTo>
                  <a:lnTo>
                    <a:pt x="286189" y="264158"/>
                  </a:lnTo>
                  <a:lnTo>
                    <a:pt x="293568" y="260462"/>
                  </a:lnTo>
                  <a:lnTo>
                    <a:pt x="297257" y="264158"/>
                  </a:lnTo>
                  <a:lnTo>
                    <a:pt x="297257" y="267844"/>
                  </a:lnTo>
                  <a:lnTo>
                    <a:pt x="300946" y="267844"/>
                  </a:lnTo>
                  <a:lnTo>
                    <a:pt x="304636" y="267844"/>
                  </a:lnTo>
                  <a:lnTo>
                    <a:pt x="312014" y="271531"/>
                  </a:lnTo>
                  <a:lnTo>
                    <a:pt x="315703" y="271531"/>
                  </a:lnTo>
                  <a:lnTo>
                    <a:pt x="315703" y="275226"/>
                  </a:lnTo>
                  <a:lnTo>
                    <a:pt x="315703" y="278912"/>
                  </a:lnTo>
                  <a:lnTo>
                    <a:pt x="319392" y="282608"/>
                  </a:lnTo>
                  <a:lnTo>
                    <a:pt x="323081" y="278912"/>
                  </a:lnTo>
                  <a:lnTo>
                    <a:pt x="326771" y="282608"/>
                  </a:lnTo>
                  <a:lnTo>
                    <a:pt x="323081" y="289990"/>
                  </a:lnTo>
                  <a:lnTo>
                    <a:pt x="323081" y="297372"/>
                  </a:lnTo>
                  <a:lnTo>
                    <a:pt x="326771" y="297372"/>
                  </a:lnTo>
                  <a:lnTo>
                    <a:pt x="326771" y="301058"/>
                  </a:lnTo>
                  <a:lnTo>
                    <a:pt x="323081" y="301058"/>
                  </a:lnTo>
                  <a:lnTo>
                    <a:pt x="319392" y="304754"/>
                  </a:lnTo>
                  <a:lnTo>
                    <a:pt x="315703" y="308440"/>
                  </a:lnTo>
                  <a:lnTo>
                    <a:pt x="319392" y="323204"/>
                  </a:lnTo>
                  <a:lnTo>
                    <a:pt x="319392" y="326890"/>
                  </a:lnTo>
                  <a:lnTo>
                    <a:pt x="323081" y="326890"/>
                  </a:lnTo>
                  <a:lnTo>
                    <a:pt x="326771" y="326890"/>
                  </a:lnTo>
                  <a:lnTo>
                    <a:pt x="326771" y="330585"/>
                  </a:lnTo>
                  <a:lnTo>
                    <a:pt x="323081" y="330585"/>
                  </a:lnTo>
                  <a:lnTo>
                    <a:pt x="312014" y="326890"/>
                  </a:lnTo>
                  <a:lnTo>
                    <a:pt x="308325" y="323204"/>
                  </a:lnTo>
                  <a:lnTo>
                    <a:pt x="300946" y="323204"/>
                  </a:lnTo>
                  <a:lnTo>
                    <a:pt x="300946" y="319508"/>
                  </a:lnTo>
                  <a:lnTo>
                    <a:pt x="297257" y="319508"/>
                  </a:lnTo>
                  <a:lnTo>
                    <a:pt x="289878" y="323204"/>
                  </a:lnTo>
                  <a:lnTo>
                    <a:pt x="289878" y="326890"/>
                  </a:lnTo>
                  <a:lnTo>
                    <a:pt x="289878" y="330585"/>
                  </a:lnTo>
                  <a:lnTo>
                    <a:pt x="293568" y="334272"/>
                  </a:lnTo>
                  <a:lnTo>
                    <a:pt x="300946" y="337967"/>
                  </a:lnTo>
                  <a:lnTo>
                    <a:pt x="304636" y="337967"/>
                  </a:lnTo>
                  <a:lnTo>
                    <a:pt x="315703" y="334272"/>
                  </a:lnTo>
                  <a:lnTo>
                    <a:pt x="323081" y="334272"/>
                  </a:lnTo>
                  <a:lnTo>
                    <a:pt x="330460" y="334272"/>
                  </a:lnTo>
                  <a:lnTo>
                    <a:pt x="334149" y="337967"/>
                  </a:lnTo>
                  <a:lnTo>
                    <a:pt x="337838" y="337967"/>
                  </a:lnTo>
                  <a:lnTo>
                    <a:pt x="337838" y="334272"/>
                  </a:lnTo>
                  <a:lnTo>
                    <a:pt x="341527" y="334272"/>
                  </a:lnTo>
                  <a:lnTo>
                    <a:pt x="345217" y="334272"/>
                  </a:lnTo>
                  <a:lnTo>
                    <a:pt x="348906" y="334272"/>
                  </a:lnTo>
                  <a:lnTo>
                    <a:pt x="352595" y="334272"/>
                  </a:lnTo>
                  <a:lnTo>
                    <a:pt x="359973" y="341654"/>
                  </a:lnTo>
                  <a:lnTo>
                    <a:pt x="359973" y="345349"/>
                  </a:lnTo>
                  <a:lnTo>
                    <a:pt x="363662" y="345349"/>
                  </a:lnTo>
                  <a:lnTo>
                    <a:pt x="367351" y="349036"/>
                  </a:lnTo>
                  <a:lnTo>
                    <a:pt x="371041" y="349036"/>
                  </a:lnTo>
                  <a:lnTo>
                    <a:pt x="385797" y="326890"/>
                  </a:lnTo>
                  <a:lnTo>
                    <a:pt x="407932" y="312136"/>
                  </a:lnTo>
                  <a:lnTo>
                    <a:pt x="407932" y="304754"/>
                  </a:lnTo>
                  <a:lnTo>
                    <a:pt x="411621" y="304754"/>
                  </a:lnTo>
                  <a:lnTo>
                    <a:pt x="411621" y="301058"/>
                  </a:lnTo>
                  <a:lnTo>
                    <a:pt x="407932" y="297372"/>
                  </a:lnTo>
                  <a:lnTo>
                    <a:pt x="407932" y="293676"/>
                  </a:lnTo>
                  <a:lnTo>
                    <a:pt x="411621" y="289990"/>
                  </a:lnTo>
                  <a:lnTo>
                    <a:pt x="411621" y="286294"/>
                  </a:lnTo>
                  <a:lnTo>
                    <a:pt x="415310" y="282608"/>
                  </a:lnTo>
                  <a:lnTo>
                    <a:pt x="422689" y="278912"/>
                  </a:lnTo>
                  <a:lnTo>
                    <a:pt x="426378" y="278912"/>
                  </a:lnTo>
                  <a:lnTo>
                    <a:pt x="422689" y="282608"/>
                  </a:lnTo>
                  <a:lnTo>
                    <a:pt x="426378" y="286294"/>
                  </a:lnTo>
                  <a:lnTo>
                    <a:pt x="426378" y="289990"/>
                  </a:lnTo>
                  <a:lnTo>
                    <a:pt x="430067" y="289990"/>
                  </a:lnTo>
                  <a:lnTo>
                    <a:pt x="444825" y="289990"/>
                  </a:lnTo>
                  <a:lnTo>
                    <a:pt x="455892" y="323204"/>
                  </a:lnTo>
                  <a:lnTo>
                    <a:pt x="452203" y="330585"/>
                  </a:lnTo>
                  <a:lnTo>
                    <a:pt x="441136" y="352731"/>
                  </a:lnTo>
                  <a:lnTo>
                    <a:pt x="463271" y="378563"/>
                  </a:lnTo>
                  <a:lnTo>
                    <a:pt x="463271" y="382249"/>
                  </a:lnTo>
                  <a:lnTo>
                    <a:pt x="466960" y="385945"/>
                  </a:lnTo>
                  <a:lnTo>
                    <a:pt x="470649" y="389631"/>
                  </a:lnTo>
                  <a:lnTo>
                    <a:pt x="470649" y="415463"/>
                  </a:lnTo>
                  <a:lnTo>
                    <a:pt x="485405" y="419159"/>
                  </a:lnTo>
                  <a:lnTo>
                    <a:pt x="489095" y="415463"/>
                  </a:lnTo>
                  <a:lnTo>
                    <a:pt x="500162" y="411777"/>
                  </a:lnTo>
                  <a:lnTo>
                    <a:pt x="503851" y="411777"/>
                  </a:lnTo>
                  <a:lnTo>
                    <a:pt x="503851" y="408091"/>
                  </a:lnTo>
                  <a:lnTo>
                    <a:pt x="525986" y="422845"/>
                  </a:lnTo>
                  <a:lnTo>
                    <a:pt x="518608" y="452372"/>
                  </a:lnTo>
                  <a:lnTo>
                    <a:pt x="522297" y="456068"/>
                  </a:lnTo>
                  <a:lnTo>
                    <a:pt x="537051" y="452372"/>
                  </a:lnTo>
                  <a:lnTo>
                    <a:pt x="551815" y="456068"/>
                  </a:lnTo>
                  <a:lnTo>
                    <a:pt x="562874" y="456068"/>
                  </a:lnTo>
                  <a:lnTo>
                    <a:pt x="570255" y="456068"/>
                  </a:lnTo>
                  <a:lnTo>
                    <a:pt x="573942" y="452372"/>
                  </a:lnTo>
                  <a:lnTo>
                    <a:pt x="577637" y="444990"/>
                  </a:lnTo>
                  <a:lnTo>
                    <a:pt x="588705" y="448686"/>
                  </a:lnTo>
                  <a:lnTo>
                    <a:pt x="603460" y="452372"/>
                  </a:lnTo>
                  <a:lnTo>
                    <a:pt x="610841" y="456068"/>
                  </a:lnTo>
                  <a:lnTo>
                    <a:pt x="621910" y="444990"/>
                  </a:lnTo>
                  <a:lnTo>
                    <a:pt x="625596" y="441304"/>
                  </a:lnTo>
                  <a:lnTo>
                    <a:pt x="636664" y="437608"/>
                  </a:lnTo>
                  <a:lnTo>
                    <a:pt x="640350" y="433922"/>
                  </a:lnTo>
                  <a:lnTo>
                    <a:pt x="644036" y="430227"/>
                  </a:lnTo>
                  <a:lnTo>
                    <a:pt x="644036" y="426540"/>
                  </a:lnTo>
                  <a:lnTo>
                    <a:pt x="647732" y="426540"/>
                  </a:lnTo>
                  <a:lnTo>
                    <a:pt x="662486" y="430227"/>
                  </a:lnTo>
                  <a:lnTo>
                    <a:pt x="662486" y="433922"/>
                  </a:lnTo>
                  <a:lnTo>
                    <a:pt x="666172" y="441304"/>
                  </a:lnTo>
                  <a:lnTo>
                    <a:pt x="677240" y="448686"/>
                  </a:lnTo>
                  <a:lnTo>
                    <a:pt x="680936" y="452372"/>
                  </a:lnTo>
                  <a:lnTo>
                    <a:pt x="680936" y="456068"/>
                  </a:lnTo>
                  <a:lnTo>
                    <a:pt x="680936" y="459754"/>
                  </a:lnTo>
                  <a:lnTo>
                    <a:pt x="680936" y="463440"/>
                  </a:lnTo>
                  <a:lnTo>
                    <a:pt x="680936" y="467136"/>
                  </a:lnTo>
                  <a:lnTo>
                    <a:pt x="680936" y="474518"/>
                  </a:lnTo>
                  <a:lnTo>
                    <a:pt x="684622" y="489282"/>
                  </a:lnTo>
                  <a:lnTo>
                    <a:pt x="688308" y="489282"/>
                  </a:lnTo>
                  <a:lnTo>
                    <a:pt x="699376" y="485586"/>
                  </a:lnTo>
                  <a:lnTo>
                    <a:pt x="703063" y="485586"/>
                  </a:lnTo>
                  <a:lnTo>
                    <a:pt x="714131" y="481900"/>
                  </a:lnTo>
                  <a:lnTo>
                    <a:pt x="714131" y="467136"/>
                  </a:lnTo>
                  <a:lnTo>
                    <a:pt x="717826" y="448686"/>
                  </a:lnTo>
                  <a:lnTo>
                    <a:pt x="725199" y="433922"/>
                  </a:lnTo>
                  <a:lnTo>
                    <a:pt x="728894" y="426540"/>
                  </a:lnTo>
                  <a:lnTo>
                    <a:pt x="739962" y="415463"/>
                  </a:lnTo>
                  <a:lnTo>
                    <a:pt x="754717" y="408091"/>
                  </a:lnTo>
                  <a:lnTo>
                    <a:pt x="758403" y="408091"/>
                  </a:lnTo>
                  <a:lnTo>
                    <a:pt x="776853" y="404395"/>
                  </a:lnTo>
                  <a:lnTo>
                    <a:pt x="784225" y="400709"/>
                  </a:lnTo>
                  <a:lnTo>
                    <a:pt x="787921" y="400709"/>
                  </a:lnTo>
                  <a:lnTo>
                    <a:pt x="791607" y="397013"/>
                  </a:lnTo>
                  <a:lnTo>
                    <a:pt x="821125" y="389631"/>
                  </a:lnTo>
                  <a:lnTo>
                    <a:pt x="832193" y="385945"/>
                  </a:lnTo>
                  <a:lnTo>
                    <a:pt x="835879" y="385945"/>
                  </a:lnTo>
                  <a:lnTo>
                    <a:pt x="839565" y="382249"/>
                  </a:lnTo>
                  <a:lnTo>
                    <a:pt x="843252" y="382249"/>
                  </a:lnTo>
                  <a:lnTo>
                    <a:pt x="850633" y="374867"/>
                  </a:lnTo>
                  <a:lnTo>
                    <a:pt x="861701" y="363799"/>
                  </a:lnTo>
                  <a:lnTo>
                    <a:pt x="869083" y="360113"/>
                  </a:lnTo>
                  <a:lnTo>
                    <a:pt x="861701" y="349036"/>
                  </a:lnTo>
                  <a:lnTo>
                    <a:pt x="854319" y="334272"/>
                  </a:lnTo>
                  <a:lnTo>
                    <a:pt x="839565" y="308440"/>
                  </a:lnTo>
                  <a:lnTo>
                    <a:pt x="839565" y="304754"/>
                  </a:lnTo>
                  <a:lnTo>
                    <a:pt x="832193" y="271531"/>
                  </a:lnTo>
                  <a:lnTo>
                    <a:pt x="828497" y="264158"/>
                  </a:lnTo>
                  <a:lnTo>
                    <a:pt x="828497" y="256776"/>
                  </a:lnTo>
                  <a:lnTo>
                    <a:pt x="824811" y="245699"/>
                  </a:lnTo>
                  <a:lnTo>
                    <a:pt x="821125" y="212485"/>
                  </a:lnTo>
                  <a:lnTo>
                    <a:pt x="835879" y="216181"/>
                  </a:lnTo>
                  <a:lnTo>
                    <a:pt x="846947" y="219867"/>
                  </a:lnTo>
                  <a:lnTo>
                    <a:pt x="854319" y="223553"/>
                  </a:lnTo>
                  <a:lnTo>
                    <a:pt x="861701" y="223553"/>
                  </a:lnTo>
                  <a:lnTo>
                    <a:pt x="869083" y="223553"/>
                  </a:lnTo>
                  <a:lnTo>
                    <a:pt x="876456" y="219867"/>
                  </a:lnTo>
                  <a:lnTo>
                    <a:pt x="887524" y="216181"/>
                  </a:lnTo>
                  <a:lnTo>
                    <a:pt x="894905" y="212485"/>
                  </a:lnTo>
                  <a:lnTo>
                    <a:pt x="902287" y="208799"/>
                  </a:lnTo>
                  <a:lnTo>
                    <a:pt x="902287" y="212485"/>
                  </a:lnTo>
                  <a:lnTo>
                    <a:pt x="905974" y="212485"/>
                  </a:lnTo>
                  <a:lnTo>
                    <a:pt x="909660" y="216181"/>
                  </a:lnTo>
                  <a:lnTo>
                    <a:pt x="917042" y="223553"/>
                  </a:lnTo>
                  <a:lnTo>
                    <a:pt x="917042" y="219867"/>
                  </a:lnTo>
                  <a:lnTo>
                    <a:pt x="920728" y="219867"/>
                  </a:lnTo>
                  <a:lnTo>
                    <a:pt x="924414" y="219867"/>
                  </a:lnTo>
                  <a:lnTo>
                    <a:pt x="920728" y="216181"/>
                  </a:lnTo>
                  <a:lnTo>
                    <a:pt x="920728" y="212485"/>
                  </a:lnTo>
                  <a:lnTo>
                    <a:pt x="920728" y="208799"/>
                  </a:lnTo>
                  <a:lnTo>
                    <a:pt x="920728" y="205103"/>
                  </a:lnTo>
                  <a:lnTo>
                    <a:pt x="920728" y="201417"/>
                  </a:lnTo>
                  <a:lnTo>
                    <a:pt x="917042" y="194035"/>
                  </a:lnTo>
                  <a:lnTo>
                    <a:pt x="913356" y="190339"/>
                  </a:lnTo>
                  <a:lnTo>
                    <a:pt x="913356" y="186653"/>
                  </a:lnTo>
                  <a:lnTo>
                    <a:pt x="913356" y="175576"/>
                  </a:lnTo>
                  <a:lnTo>
                    <a:pt x="909660" y="171890"/>
                  </a:lnTo>
                  <a:lnTo>
                    <a:pt x="909660" y="168203"/>
                  </a:lnTo>
                  <a:lnTo>
                    <a:pt x="905974" y="164508"/>
                  </a:lnTo>
                  <a:lnTo>
                    <a:pt x="902287" y="160821"/>
                  </a:lnTo>
                  <a:lnTo>
                    <a:pt x="898592" y="157126"/>
                  </a:lnTo>
                  <a:lnTo>
                    <a:pt x="887524" y="153440"/>
                  </a:lnTo>
                  <a:lnTo>
                    <a:pt x="887524" y="149744"/>
                  </a:lnTo>
                  <a:lnTo>
                    <a:pt x="883838" y="146058"/>
                  </a:lnTo>
                  <a:lnTo>
                    <a:pt x="883838" y="134980"/>
                  </a:lnTo>
                  <a:lnTo>
                    <a:pt x="883838" y="131294"/>
                  </a:lnTo>
                  <a:lnTo>
                    <a:pt x="883838" y="127598"/>
                  </a:lnTo>
                  <a:lnTo>
                    <a:pt x="883838" y="120226"/>
                  </a:lnTo>
                  <a:lnTo>
                    <a:pt x="880151" y="120226"/>
                  </a:lnTo>
                  <a:lnTo>
                    <a:pt x="880151" y="116530"/>
                  </a:lnTo>
                  <a:lnTo>
                    <a:pt x="880151" y="109148"/>
                  </a:lnTo>
                  <a:lnTo>
                    <a:pt x="876456" y="98080"/>
                  </a:lnTo>
                  <a:lnTo>
                    <a:pt x="872769" y="98080"/>
                  </a:lnTo>
                  <a:lnTo>
                    <a:pt x="869083" y="94385"/>
                  </a:lnTo>
                  <a:lnTo>
                    <a:pt x="861701" y="94385"/>
                  </a:lnTo>
                  <a:lnTo>
                    <a:pt x="854319" y="90698"/>
                  </a:lnTo>
                  <a:lnTo>
                    <a:pt x="846947" y="90698"/>
                  </a:lnTo>
                  <a:lnTo>
                    <a:pt x="843252" y="87003"/>
                  </a:lnTo>
                  <a:lnTo>
                    <a:pt x="843252" y="79621"/>
                  </a:lnTo>
                  <a:lnTo>
                    <a:pt x="839565" y="72248"/>
                  </a:lnTo>
                  <a:lnTo>
                    <a:pt x="839565" y="68553"/>
                  </a:lnTo>
                  <a:lnTo>
                    <a:pt x="839565" y="64867"/>
                  </a:lnTo>
                  <a:lnTo>
                    <a:pt x="835879" y="64867"/>
                  </a:lnTo>
                  <a:lnTo>
                    <a:pt x="832193" y="61171"/>
                  </a:lnTo>
                  <a:lnTo>
                    <a:pt x="828497" y="61171"/>
                  </a:lnTo>
                  <a:lnTo>
                    <a:pt x="821125" y="61171"/>
                  </a:lnTo>
                  <a:lnTo>
                    <a:pt x="810057" y="61171"/>
                  </a:lnTo>
                  <a:lnTo>
                    <a:pt x="806361" y="61171"/>
                  </a:lnTo>
                  <a:lnTo>
                    <a:pt x="795293" y="64867"/>
                  </a:lnTo>
                  <a:lnTo>
                    <a:pt x="791607" y="64867"/>
                  </a:lnTo>
                  <a:lnTo>
                    <a:pt x="784225" y="64867"/>
                  </a:lnTo>
                  <a:lnTo>
                    <a:pt x="780539" y="64867"/>
                  </a:lnTo>
                  <a:lnTo>
                    <a:pt x="776853" y="64867"/>
                  </a:lnTo>
                  <a:lnTo>
                    <a:pt x="773157" y="61171"/>
                  </a:lnTo>
                  <a:lnTo>
                    <a:pt x="773157" y="57485"/>
                  </a:lnTo>
                  <a:lnTo>
                    <a:pt x="769471" y="53789"/>
                  </a:lnTo>
                  <a:lnTo>
                    <a:pt x="765785" y="50103"/>
                  </a:lnTo>
                  <a:lnTo>
                    <a:pt x="762098" y="50103"/>
                  </a:lnTo>
                  <a:lnTo>
                    <a:pt x="758403" y="50103"/>
                  </a:lnTo>
                  <a:lnTo>
                    <a:pt x="754717" y="46407"/>
                  </a:lnTo>
                  <a:lnTo>
                    <a:pt x="751030" y="46407"/>
                  </a:lnTo>
                  <a:lnTo>
                    <a:pt x="751030" y="39025"/>
                  </a:lnTo>
                  <a:lnTo>
                    <a:pt x="747335" y="39025"/>
                  </a:lnTo>
                  <a:lnTo>
                    <a:pt x="743649" y="35339"/>
                  </a:lnTo>
                  <a:lnTo>
                    <a:pt x="739962" y="35339"/>
                  </a:lnTo>
                  <a:lnTo>
                    <a:pt x="736267" y="35339"/>
                  </a:lnTo>
                  <a:lnTo>
                    <a:pt x="732581" y="31643"/>
                  </a:lnTo>
                  <a:lnTo>
                    <a:pt x="728894" y="27957"/>
                  </a:lnTo>
                  <a:lnTo>
                    <a:pt x="725199" y="24271"/>
                  </a:lnTo>
                  <a:lnTo>
                    <a:pt x="725199" y="16889"/>
                  </a:lnTo>
                  <a:lnTo>
                    <a:pt x="721512" y="13194"/>
                  </a:lnTo>
                  <a:lnTo>
                    <a:pt x="714131" y="13194"/>
                  </a:lnTo>
                  <a:lnTo>
                    <a:pt x="710444" y="13194"/>
                  </a:lnTo>
                  <a:lnTo>
                    <a:pt x="706758" y="9507"/>
                  </a:lnTo>
                  <a:lnTo>
                    <a:pt x="699376" y="5812"/>
                  </a:lnTo>
                  <a:lnTo>
                    <a:pt x="695690" y="5812"/>
                  </a:lnTo>
                  <a:lnTo>
                    <a:pt x="692004" y="5812"/>
                  </a:lnTo>
                  <a:lnTo>
                    <a:pt x="684622" y="5812"/>
                  </a:lnTo>
                  <a:lnTo>
                    <a:pt x="680936" y="5812"/>
                  </a:lnTo>
                  <a:lnTo>
                    <a:pt x="677240" y="9507"/>
                  </a:lnTo>
                  <a:lnTo>
                    <a:pt x="677240" y="13194"/>
                  </a:lnTo>
                  <a:lnTo>
                    <a:pt x="673554" y="16889"/>
                  </a:lnTo>
                  <a:lnTo>
                    <a:pt x="669868" y="16889"/>
                  </a:lnTo>
                  <a:lnTo>
                    <a:pt x="666172" y="13194"/>
                  </a:lnTo>
                  <a:lnTo>
                    <a:pt x="662486" y="13194"/>
                  </a:lnTo>
                  <a:lnTo>
                    <a:pt x="658800" y="13194"/>
                  </a:lnTo>
                  <a:lnTo>
                    <a:pt x="658800" y="9507"/>
                  </a:lnTo>
                  <a:lnTo>
                    <a:pt x="655104" y="5812"/>
                  </a:lnTo>
                  <a:lnTo>
                    <a:pt x="651418" y="5812"/>
                  </a:lnTo>
                  <a:lnTo>
                    <a:pt x="647732" y="5812"/>
                  </a:lnTo>
                  <a:lnTo>
                    <a:pt x="644036" y="5812"/>
                  </a:lnTo>
                  <a:lnTo>
                    <a:pt x="644036" y="9507"/>
                  </a:lnTo>
                  <a:lnTo>
                    <a:pt x="640350" y="16889"/>
                  </a:lnTo>
                  <a:lnTo>
                    <a:pt x="636664" y="20575"/>
                  </a:lnTo>
                  <a:lnTo>
                    <a:pt x="629282" y="20575"/>
                  </a:lnTo>
                  <a:lnTo>
                    <a:pt x="621910" y="20575"/>
                  </a:lnTo>
                  <a:lnTo>
                    <a:pt x="618214" y="20575"/>
                  </a:lnTo>
                  <a:lnTo>
                    <a:pt x="614528" y="16889"/>
                  </a:lnTo>
                  <a:lnTo>
                    <a:pt x="610841" y="13194"/>
                  </a:lnTo>
                  <a:lnTo>
                    <a:pt x="610841" y="9507"/>
                  </a:lnTo>
                  <a:lnTo>
                    <a:pt x="607146" y="9507"/>
                  </a:lnTo>
                  <a:lnTo>
                    <a:pt x="603460" y="13194"/>
                  </a:lnTo>
                  <a:lnTo>
                    <a:pt x="603460" y="16889"/>
                  </a:lnTo>
                  <a:lnTo>
                    <a:pt x="599773" y="20575"/>
                  </a:lnTo>
                  <a:lnTo>
                    <a:pt x="596078" y="24271"/>
                  </a:lnTo>
                  <a:lnTo>
                    <a:pt x="588705" y="35339"/>
                  </a:lnTo>
                  <a:lnTo>
                    <a:pt x="588705" y="39025"/>
                  </a:lnTo>
                  <a:lnTo>
                    <a:pt x="585010" y="46407"/>
                  </a:lnTo>
                  <a:lnTo>
                    <a:pt x="585010" y="53789"/>
                  </a:lnTo>
                  <a:lnTo>
                    <a:pt x="585010" y="61171"/>
                  </a:lnTo>
                  <a:lnTo>
                    <a:pt x="581323" y="61171"/>
                  </a:lnTo>
                  <a:lnTo>
                    <a:pt x="581323" y="64867"/>
                  </a:lnTo>
                  <a:lnTo>
                    <a:pt x="562874" y="72248"/>
                  </a:lnTo>
                  <a:lnTo>
                    <a:pt x="555501" y="75935"/>
                  </a:lnTo>
                  <a:lnTo>
                    <a:pt x="555501" y="79621"/>
                  </a:lnTo>
                  <a:lnTo>
                    <a:pt x="551815" y="79621"/>
                  </a:lnTo>
                  <a:lnTo>
                    <a:pt x="544433" y="75935"/>
                  </a:lnTo>
                  <a:lnTo>
                    <a:pt x="537051" y="75935"/>
                  </a:lnTo>
                  <a:lnTo>
                    <a:pt x="533365" y="79621"/>
                  </a:lnTo>
                  <a:lnTo>
                    <a:pt x="529675" y="83317"/>
                  </a:lnTo>
                  <a:lnTo>
                    <a:pt x="525986" y="79621"/>
                  </a:lnTo>
                  <a:lnTo>
                    <a:pt x="518608" y="75935"/>
                  </a:lnTo>
                  <a:lnTo>
                    <a:pt x="514919" y="72248"/>
                  </a:lnTo>
                  <a:lnTo>
                    <a:pt x="511230" y="75935"/>
                  </a:lnTo>
                  <a:lnTo>
                    <a:pt x="507540" y="75935"/>
                  </a:lnTo>
                  <a:lnTo>
                    <a:pt x="503851" y="75935"/>
                  </a:lnTo>
                  <a:lnTo>
                    <a:pt x="496473" y="75935"/>
                  </a:lnTo>
                  <a:lnTo>
                    <a:pt x="492784" y="75935"/>
                  </a:lnTo>
                  <a:lnTo>
                    <a:pt x="485405" y="75935"/>
                  </a:lnTo>
                  <a:lnTo>
                    <a:pt x="478027" y="75935"/>
                  </a:lnTo>
                  <a:lnTo>
                    <a:pt x="470649" y="79621"/>
                  </a:lnTo>
                  <a:lnTo>
                    <a:pt x="466960" y="75935"/>
                  </a:lnTo>
                  <a:lnTo>
                    <a:pt x="466960" y="72248"/>
                  </a:lnTo>
                  <a:lnTo>
                    <a:pt x="470649" y="72248"/>
                  </a:lnTo>
                  <a:lnTo>
                    <a:pt x="474338" y="68553"/>
                  </a:lnTo>
                  <a:lnTo>
                    <a:pt x="478027" y="64867"/>
                  </a:lnTo>
                  <a:lnTo>
                    <a:pt x="474338" y="61171"/>
                  </a:lnTo>
                  <a:lnTo>
                    <a:pt x="474338" y="57485"/>
                  </a:lnTo>
                  <a:lnTo>
                    <a:pt x="474338" y="53789"/>
                  </a:lnTo>
                  <a:lnTo>
                    <a:pt x="474338" y="50103"/>
                  </a:lnTo>
                  <a:lnTo>
                    <a:pt x="463271" y="46407"/>
                  </a:lnTo>
                  <a:lnTo>
                    <a:pt x="459581" y="42721"/>
                  </a:lnTo>
                  <a:lnTo>
                    <a:pt x="455892" y="39025"/>
                  </a:lnTo>
                  <a:lnTo>
                    <a:pt x="452203" y="39025"/>
                  </a:lnTo>
                  <a:lnTo>
                    <a:pt x="448514" y="42721"/>
                  </a:lnTo>
                  <a:lnTo>
                    <a:pt x="444825" y="46407"/>
                  </a:lnTo>
                  <a:lnTo>
                    <a:pt x="441136" y="46407"/>
                  </a:lnTo>
                  <a:lnTo>
                    <a:pt x="441136" y="42721"/>
                  </a:lnTo>
                  <a:lnTo>
                    <a:pt x="437445" y="42721"/>
                  </a:lnTo>
                  <a:lnTo>
                    <a:pt x="437445" y="39025"/>
                  </a:lnTo>
                  <a:lnTo>
                    <a:pt x="433756" y="35339"/>
                  </a:lnTo>
                  <a:lnTo>
                    <a:pt x="433756" y="31643"/>
                  </a:lnTo>
                  <a:lnTo>
                    <a:pt x="430067" y="31643"/>
                  </a:lnTo>
                  <a:lnTo>
                    <a:pt x="426378" y="27957"/>
                  </a:lnTo>
                  <a:lnTo>
                    <a:pt x="419000" y="24271"/>
                  </a:lnTo>
                  <a:lnTo>
                    <a:pt x="415310" y="20575"/>
                  </a:lnTo>
                  <a:lnTo>
                    <a:pt x="411621" y="20575"/>
                  </a:lnTo>
                  <a:lnTo>
                    <a:pt x="411621" y="16889"/>
                  </a:lnTo>
                  <a:lnTo>
                    <a:pt x="411621" y="13194"/>
                  </a:lnTo>
                  <a:lnTo>
                    <a:pt x="407932" y="13194"/>
                  </a:lnTo>
                  <a:lnTo>
                    <a:pt x="400554" y="13194"/>
                  </a:lnTo>
                  <a:lnTo>
                    <a:pt x="396865" y="9507"/>
                  </a:lnTo>
                  <a:lnTo>
                    <a:pt x="393175" y="9507"/>
                  </a:lnTo>
                  <a:lnTo>
                    <a:pt x="385797" y="9507"/>
                  </a:lnTo>
                  <a:lnTo>
                    <a:pt x="378419" y="5812"/>
                  </a:lnTo>
                  <a:lnTo>
                    <a:pt x="374730" y="5812"/>
                  </a:lnTo>
                  <a:lnTo>
                    <a:pt x="371041" y="5812"/>
                  </a:lnTo>
                  <a:lnTo>
                    <a:pt x="363662" y="5812"/>
                  </a:lnTo>
                  <a:close/>
                  <a:moveTo>
                    <a:pt x="367351" y="349036"/>
                  </a:moveTo>
                  <a:lnTo>
                    <a:pt x="363662" y="349036"/>
                  </a:lnTo>
                  <a:lnTo>
                    <a:pt x="359973" y="349036"/>
                  </a:lnTo>
                  <a:lnTo>
                    <a:pt x="363662" y="352731"/>
                  </a:lnTo>
                  <a:lnTo>
                    <a:pt x="367351" y="349036"/>
                  </a:lnTo>
                  <a:close/>
                  <a:moveTo>
                    <a:pt x="363662" y="308440"/>
                  </a:moveTo>
                  <a:lnTo>
                    <a:pt x="367351" y="308440"/>
                  </a:lnTo>
                  <a:lnTo>
                    <a:pt x="367351" y="312136"/>
                  </a:lnTo>
                  <a:lnTo>
                    <a:pt x="371041" y="315822"/>
                  </a:lnTo>
                  <a:lnTo>
                    <a:pt x="374730" y="315822"/>
                  </a:lnTo>
                  <a:lnTo>
                    <a:pt x="374730" y="319508"/>
                  </a:lnTo>
                  <a:lnTo>
                    <a:pt x="374730" y="323204"/>
                  </a:lnTo>
                  <a:lnTo>
                    <a:pt x="371041" y="323204"/>
                  </a:lnTo>
                  <a:lnTo>
                    <a:pt x="367351" y="319508"/>
                  </a:lnTo>
                  <a:lnTo>
                    <a:pt x="363662" y="319508"/>
                  </a:lnTo>
                  <a:lnTo>
                    <a:pt x="367351" y="315822"/>
                  </a:lnTo>
                  <a:lnTo>
                    <a:pt x="363662" y="312136"/>
                  </a:lnTo>
                  <a:lnTo>
                    <a:pt x="363662" y="308440"/>
                  </a:lnTo>
                  <a:close/>
                  <a:moveTo>
                    <a:pt x="371041" y="308440"/>
                  </a:moveTo>
                  <a:lnTo>
                    <a:pt x="374730" y="312136"/>
                  </a:lnTo>
                  <a:lnTo>
                    <a:pt x="371041" y="312136"/>
                  </a:lnTo>
                  <a:lnTo>
                    <a:pt x="371041" y="308440"/>
                  </a:lnTo>
                  <a:close/>
                </a:path>
              </a:pathLst>
            </a:custGeom>
            <a:solidFill>
              <a:srgbClr val="EC6224">
                <a:alpha val="60000"/>
              </a:srgbClr>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45" name="Freeform: Shape 44">
              <a:extLst>
                <a:ext uri="{FF2B5EF4-FFF2-40B4-BE49-F238E27FC236}">
                  <a16:creationId xmlns:a16="http://schemas.microsoft.com/office/drawing/2014/main" id="{E4D516A6-0245-48F1-ABA9-4E39A8125222}"/>
                </a:ext>
              </a:extLst>
            </p:cNvPr>
            <p:cNvSpPr/>
            <p:nvPr/>
          </p:nvSpPr>
          <p:spPr>
            <a:xfrm>
              <a:off x="5310965" y="4948685"/>
              <a:ext cx="42562" cy="42562"/>
            </a:xfrm>
            <a:custGeom>
              <a:avLst/>
              <a:gdLst>
                <a:gd name="connsiteX0" fmla="*/ 9501 w 19050"/>
                <a:gd name="connsiteY0" fmla="*/ 5812 h 19050"/>
                <a:gd name="connsiteX1" fmla="*/ 9501 w 19050"/>
                <a:gd name="connsiteY1" fmla="*/ 9507 h 19050"/>
                <a:gd name="connsiteX2" fmla="*/ 13191 w 19050"/>
                <a:gd name="connsiteY2" fmla="*/ 13194 h 19050"/>
                <a:gd name="connsiteX3" fmla="*/ 13191 w 19050"/>
                <a:gd name="connsiteY3" fmla="*/ 13194 h 19050"/>
                <a:gd name="connsiteX4" fmla="*/ 13191 w 19050"/>
                <a:gd name="connsiteY4" fmla="*/ 9507 h 19050"/>
                <a:gd name="connsiteX5" fmla="*/ 13191 w 19050"/>
                <a:gd name="connsiteY5" fmla="*/ 5812 h 19050"/>
                <a:gd name="connsiteX6" fmla="*/ 16880 w 19050"/>
                <a:gd name="connsiteY6" fmla="*/ 9507 h 19050"/>
                <a:gd name="connsiteX7" fmla="*/ 16880 w 19050"/>
                <a:gd name="connsiteY7" fmla="*/ 9507 h 19050"/>
                <a:gd name="connsiteX8" fmla="*/ 13191 w 19050"/>
                <a:gd name="connsiteY8" fmla="*/ 9507 h 19050"/>
                <a:gd name="connsiteX9" fmla="*/ 13191 w 19050"/>
                <a:gd name="connsiteY9" fmla="*/ 9507 h 19050"/>
                <a:gd name="connsiteX10" fmla="*/ 13191 w 19050"/>
                <a:gd name="connsiteY10" fmla="*/ 13194 h 19050"/>
                <a:gd name="connsiteX11" fmla="*/ 13191 w 19050"/>
                <a:gd name="connsiteY11" fmla="*/ 13194 h 19050"/>
                <a:gd name="connsiteX12" fmla="*/ 16880 w 19050"/>
                <a:gd name="connsiteY12" fmla="*/ 13194 h 19050"/>
                <a:gd name="connsiteX13" fmla="*/ 16880 w 19050"/>
                <a:gd name="connsiteY13" fmla="*/ 16880 h 19050"/>
                <a:gd name="connsiteX14" fmla="*/ 16880 w 19050"/>
                <a:gd name="connsiteY14" fmla="*/ 16880 h 19050"/>
                <a:gd name="connsiteX15" fmla="*/ 16880 w 19050"/>
                <a:gd name="connsiteY15" fmla="*/ 20575 h 19050"/>
                <a:gd name="connsiteX16" fmla="*/ 16880 w 19050"/>
                <a:gd name="connsiteY16" fmla="*/ 20575 h 19050"/>
                <a:gd name="connsiteX17" fmla="*/ 13191 w 19050"/>
                <a:gd name="connsiteY17" fmla="*/ 20575 h 19050"/>
                <a:gd name="connsiteX18" fmla="*/ 9501 w 19050"/>
                <a:gd name="connsiteY18" fmla="*/ 16880 h 19050"/>
                <a:gd name="connsiteX19" fmla="*/ 5812 w 19050"/>
                <a:gd name="connsiteY19" fmla="*/ 16880 h 19050"/>
                <a:gd name="connsiteX20" fmla="*/ 9501 w 19050"/>
                <a:gd name="connsiteY20" fmla="*/ 13194 h 19050"/>
                <a:gd name="connsiteX21" fmla="*/ 5812 w 19050"/>
                <a:gd name="connsiteY21" fmla="*/ 9507 h 19050"/>
                <a:gd name="connsiteX22" fmla="*/ 5812 w 19050"/>
                <a:gd name="connsiteY22" fmla="*/ 5812 h 19050"/>
                <a:gd name="connsiteX23" fmla="*/ 9501 w 19050"/>
                <a:gd name="connsiteY23" fmla="*/ 5812 h 19050"/>
                <a:gd name="connsiteX24" fmla="*/ 9501 w 19050"/>
                <a:gd name="connsiteY24"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 h="19050">
                  <a:moveTo>
                    <a:pt x="9501" y="5812"/>
                  </a:moveTo>
                  <a:lnTo>
                    <a:pt x="9501" y="9507"/>
                  </a:lnTo>
                  <a:lnTo>
                    <a:pt x="13191" y="13194"/>
                  </a:lnTo>
                  <a:lnTo>
                    <a:pt x="13191" y="13194"/>
                  </a:lnTo>
                  <a:lnTo>
                    <a:pt x="13191" y="9507"/>
                  </a:lnTo>
                  <a:lnTo>
                    <a:pt x="13191" y="5812"/>
                  </a:lnTo>
                  <a:lnTo>
                    <a:pt x="16880" y="9507"/>
                  </a:lnTo>
                  <a:lnTo>
                    <a:pt x="16880" y="9507"/>
                  </a:lnTo>
                  <a:lnTo>
                    <a:pt x="13191" y="9507"/>
                  </a:lnTo>
                  <a:lnTo>
                    <a:pt x="13191" y="9507"/>
                  </a:lnTo>
                  <a:lnTo>
                    <a:pt x="13191" y="13194"/>
                  </a:lnTo>
                  <a:lnTo>
                    <a:pt x="13191" y="13194"/>
                  </a:lnTo>
                  <a:lnTo>
                    <a:pt x="16880" y="13194"/>
                  </a:lnTo>
                  <a:lnTo>
                    <a:pt x="16880" y="16880"/>
                  </a:lnTo>
                  <a:lnTo>
                    <a:pt x="16880" y="16880"/>
                  </a:lnTo>
                  <a:lnTo>
                    <a:pt x="16880" y="20575"/>
                  </a:lnTo>
                  <a:lnTo>
                    <a:pt x="16880" y="20575"/>
                  </a:lnTo>
                  <a:lnTo>
                    <a:pt x="13191" y="20575"/>
                  </a:lnTo>
                  <a:lnTo>
                    <a:pt x="9501" y="16880"/>
                  </a:lnTo>
                  <a:lnTo>
                    <a:pt x="5812" y="16880"/>
                  </a:lnTo>
                  <a:lnTo>
                    <a:pt x="9501" y="13194"/>
                  </a:lnTo>
                  <a:lnTo>
                    <a:pt x="5812" y="9507"/>
                  </a:lnTo>
                  <a:lnTo>
                    <a:pt x="5812" y="5812"/>
                  </a:lnTo>
                  <a:lnTo>
                    <a:pt x="9501" y="5812"/>
                  </a:lnTo>
                  <a:lnTo>
                    <a:pt x="9501" y="5812"/>
                  </a:lnTo>
                  <a:close/>
                </a:path>
              </a:pathLst>
            </a:custGeom>
            <a:solidFill>
              <a:srgbClr val="DFE3E5"/>
            </a:solid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grpSp>
      <p:sp>
        <p:nvSpPr>
          <p:cNvPr id="2" name="Rectangle 1">
            <a:extLst>
              <a:ext uri="{FF2B5EF4-FFF2-40B4-BE49-F238E27FC236}">
                <a16:creationId xmlns:a16="http://schemas.microsoft.com/office/drawing/2014/main" id="{8AB33811-4BDA-4D0A-837D-34887BB95050}"/>
              </a:ext>
            </a:extLst>
          </p:cNvPr>
          <p:cNvSpPr/>
          <p:nvPr/>
        </p:nvSpPr>
        <p:spPr>
          <a:xfrm>
            <a:off x="776117" y="4363416"/>
            <a:ext cx="936000" cy="625002"/>
          </a:xfrm>
          <a:prstGeom prst="rect">
            <a:avLst/>
          </a:prstGeom>
          <a:solidFill>
            <a:srgbClr val="408E94"/>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b="1" dirty="0">
                <a:solidFill>
                  <a:srgbClr val="FFFFFF"/>
                </a:solidFill>
              </a:rPr>
              <a:t>Exploitatie</a:t>
            </a:r>
            <a:endPar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82" name="Rectangle 81">
            <a:extLst>
              <a:ext uri="{FF2B5EF4-FFF2-40B4-BE49-F238E27FC236}">
                <a16:creationId xmlns:a16="http://schemas.microsoft.com/office/drawing/2014/main" id="{7F730EEF-60AC-463B-A40B-5EA6732F4548}"/>
              </a:ext>
            </a:extLst>
          </p:cNvPr>
          <p:cNvSpPr/>
          <p:nvPr/>
        </p:nvSpPr>
        <p:spPr>
          <a:xfrm>
            <a:off x="1703191" y="4363416"/>
            <a:ext cx="2385280" cy="792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000" dirty="0"/>
              <a:t>GVC is </a:t>
            </a:r>
            <a:r>
              <a:rPr lang="nl-NL" sz="1000" b="1" dirty="0"/>
              <a:t>publiek </a:t>
            </a:r>
            <a:r>
              <a:rPr lang="nl-NL" sz="1000" dirty="0"/>
              <a:t>geëxploiteerd in een BV waar een aantal van de deelnemende gemeenten, de provincie en regionale verbanden aandeelhouders zijn. </a:t>
            </a:r>
            <a:endParaRPr kumimoji="0" lang="nl-NL" sz="1000" i="0" u="none" strike="noStrike" kern="1200" cap="none" spc="0" normalizeH="0" baseline="0" noProof="0" dirty="0">
              <a:ln>
                <a:noFill/>
              </a:ln>
              <a:effectLst/>
              <a:uLnTx/>
              <a:uFillTx/>
            </a:endParaRPr>
          </a:p>
        </p:txBody>
      </p:sp>
      <p:sp>
        <p:nvSpPr>
          <p:cNvPr id="19" name="Rectangle 18">
            <a:extLst>
              <a:ext uri="{FF2B5EF4-FFF2-40B4-BE49-F238E27FC236}">
                <a16:creationId xmlns:a16="http://schemas.microsoft.com/office/drawing/2014/main" id="{78079C9A-4F7C-438A-BFCB-C7579F47C2C2}"/>
              </a:ext>
            </a:extLst>
          </p:cNvPr>
          <p:cNvSpPr/>
          <p:nvPr/>
        </p:nvSpPr>
        <p:spPr>
          <a:xfrm>
            <a:off x="771679" y="3212698"/>
            <a:ext cx="936864" cy="625002"/>
          </a:xfrm>
          <a:prstGeom prst="rect">
            <a:avLst/>
          </a:prstGeom>
          <a:solidFill>
            <a:srgbClr val="408E94"/>
          </a:solidFill>
          <a:ln w="9525">
            <a:noFill/>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indent="0" algn="ctr">
              <a:buClr>
                <a:schemeClr val="tx2"/>
              </a:buClr>
              <a:buNone/>
            </a:pPr>
            <a:r>
              <a:rPr lang="nl-NL" sz="1000" b="1" dirty="0">
                <a:solidFill>
                  <a:srgbClr val="FFFFFF"/>
                </a:solidFill>
              </a:rPr>
              <a:t>Voorzieningen</a:t>
            </a:r>
            <a:endPar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83" name="Rectangle 82">
            <a:extLst>
              <a:ext uri="{FF2B5EF4-FFF2-40B4-BE49-F238E27FC236}">
                <a16:creationId xmlns:a16="http://schemas.microsoft.com/office/drawing/2014/main" id="{DF634FD5-C368-4993-97CA-5677A5202D58}"/>
              </a:ext>
            </a:extLst>
          </p:cNvPr>
          <p:cNvSpPr/>
          <p:nvPr/>
        </p:nvSpPr>
        <p:spPr>
          <a:xfrm>
            <a:off x="1703191" y="3212698"/>
            <a:ext cx="2385280" cy="792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000" dirty="0"/>
              <a:t>GVC voert regie op </a:t>
            </a:r>
            <a:r>
              <a:rPr lang="nl-NL" sz="1000" b="1" dirty="0"/>
              <a:t>doelgroepenvervoer</a:t>
            </a:r>
            <a:r>
              <a:rPr lang="nl-NL" sz="1000" dirty="0"/>
              <a:t> en </a:t>
            </a:r>
            <a:r>
              <a:rPr lang="nl-NL" sz="1000" b="1" dirty="0"/>
              <a:t>haltetaxi,</a:t>
            </a:r>
            <a:r>
              <a:rPr lang="nl-NL" sz="1000" b="1" baseline="30000" dirty="0"/>
              <a:t>1</a:t>
            </a:r>
            <a:r>
              <a:rPr lang="nl-NL" sz="1000" dirty="0"/>
              <a:t> uitgevoerd door meerdere vervoerders.</a:t>
            </a:r>
            <a:endParaRPr kumimoji="0" lang="nl-NL" sz="1000" i="0" u="none" strike="noStrike" kern="1200" cap="none" spc="0" normalizeH="0" baseline="0" noProof="0" dirty="0">
              <a:ln>
                <a:noFill/>
              </a:ln>
              <a:effectLst/>
              <a:uLnTx/>
              <a:uFillTx/>
            </a:endParaRPr>
          </a:p>
        </p:txBody>
      </p:sp>
      <p:sp>
        <p:nvSpPr>
          <p:cNvPr id="20" name="Rectangle 19">
            <a:extLst>
              <a:ext uri="{FF2B5EF4-FFF2-40B4-BE49-F238E27FC236}">
                <a16:creationId xmlns:a16="http://schemas.microsoft.com/office/drawing/2014/main" id="{A74E2103-7EE7-4D0C-9E8E-A260384E1135}"/>
              </a:ext>
            </a:extLst>
          </p:cNvPr>
          <p:cNvSpPr/>
          <p:nvPr/>
        </p:nvSpPr>
        <p:spPr>
          <a:xfrm>
            <a:off x="771681" y="2061980"/>
            <a:ext cx="936000" cy="625002"/>
          </a:xfrm>
          <a:prstGeom prst="rect">
            <a:avLst/>
          </a:prstGeom>
          <a:solidFill>
            <a:srgbClr val="408E94"/>
          </a:solidFill>
          <a:ln w="9525">
            <a:noFill/>
          </a:ln>
          <a:extLst>
            <a:ext uri="{91240B29-F687-4F45-9708-019B960494DF}">
              <a14:hiddenLine xmlns:a14="http://schemas.microsoft.com/office/drawing/2010/main" w="9525">
                <a:solidFill>
                  <a:srgbClr val="22777B"/>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Taken</a:t>
            </a:r>
          </a:p>
        </p:txBody>
      </p:sp>
      <p:sp>
        <p:nvSpPr>
          <p:cNvPr id="86" name="Rectangle 85">
            <a:extLst>
              <a:ext uri="{FF2B5EF4-FFF2-40B4-BE49-F238E27FC236}">
                <a16:creationId xmlns:a16="http://schemas.microsoft.com/office/drawing/2014/main" id="{5E9A1FA5-50C8-4122-9EDE-7A2839FEA50C}"/>
              </a:ext>
            </a:extLst>
          </p:cNvPr>
          <p:cNvSpPr/>
          <p:nvPr/>
        </p:nvSpPr>
        <p:spPr>
          <a:xfrm>
            <a:off x="1703191" y="2061980"/>
            <a:ext cx="2385280" cy="792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000" dirty="0"/>
              <a:t>GVC is verantwoordelijk voor </a:t>
            </a:r>
            <a:r>
              <a:rPr lang="nl-NL" sz="1000" b="1" dirty="0"/>
              <a:t>aannemen van calls </a:t>
            </a:r>
            <a:r>
              <a:rPr lang="nl-NL" sz="1000" dirty="0"/>
              <a:t>en de </a:t>
            </a:r>
            <a:r>
              <a:rPr lang="nl-NL" sz="1000" b="1" dirty="0"/>
              <a:t>ritplanning</a:t>
            </a:r>
            <a:r>
              <a:rPr lang="nl-NL" sz="1000" dirty="0"/>
              <a:t>. Dit gebeurt nu nog handmatig. GVC is bezig met dit te digitaliseren.</a:t>
            </a:r>
            <a:endParaRPr kumimoji="0" lang="nl-NL" sz="1000" i="0" u="none" strike="noStrike" kern="1200" cap="none" spc="0" normalizeH="0" baseline="0" noProof="0" dirty="0">
              <a:ln>
                <a:noFill/>
              </a:ln>
              <a:effectLst/>
              <a:uLnTx/>
              <a:uFillTx/>
            </a:endParaRPr>
          </a:p>
        </p:txBody>
      </p:sp>
      <p:sp>
        <p:nvSpPr>
          <p:cNvPr id="87" name="Speech Bubble: Rectangle 86">
            <a:extLst>
              <a:ext uri="{FF2B5EF4-FFF2-40B4-BE49-F238E27FC236}">
                <a16:creationId xmlns:a16="http://schemas.microsoft.com/office/drawing/2014/main" id="{9B108B08-DA9D-48C7-85A5-47F8C886F3C5}"/>
              </a:ext>
            </a:extLst>
          </p:cNvPr>
          <p:cNvSpPr/>
          <p:nvPr/>
        </p:nvSpPr>
        <p:spPr>
          <a:xfrm rot="216482">
            <a:off x="6920738" y="3471720"/>
            <a:ext cx="1386426" cy="610848"/>
          </a:xfrm>
          <a:prstGeom prst="wedgeRectCallout">
            <a:avLst>
              <a:gd name="adj1" fmla="val -40361"/>
              <a:gd name="adj2" fmla="val 87175"/>
            </a:avLst>
          </a:prstGeom>
          <a:solidFill>
            <a:srgbClr val="FFFFFF"/>
          </a:solidFill>
          <a:ln w="9525">
            <a:solidFill>
              <a:schemeClr val="accent6">
                <a:lumMod val="65000"/>
              </a:schemeClr>
            </a:solidFill>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Clr>
                <a:schemeClr val="tx2"/>
              </a:buClr>
              <a:buNone/>
            </a:pPr>
            <a:r>
              <a:rPr kumimoji="0" lang="nl-NL" sz="1000" b="1" i="0" u="none" strike="noStrike" kern="1200" cap="none" spc="0" normalizeH="0" baseline="0" noProof="0" dirty="0">
                <a:ln>
                  <a:noFill/>
                </a:ln>
                <a:effectLst/>
                <a:uLnTx/>
                <a:uFillTx/>
                <a:latin typeface="Corbel" panose="020B0503020204020204" pitchFamily="34" charset="0"/>
                <a:ea typeface="+mn-ea"/>
                <a:cs typeface="+mn-cs"/>
              </a:rPr>
              <a:t>13 Zeeuwse gemeenten </a:t>
            </a:r>
            <a:r>
              <a:rPr kumimoji="0" lang="nl-NL" sz="1000" i="0" u="none" strike="noStrike" kern="1200" cap="none" spc="0" normalizeH="0" baseline="0" noProof="0" dirty="0">
                <a:ln>
                  <a:noFill/>
                </a:ln>
                <a:effectLst/>
                <a:uLnTx/>
                <a:uFillTx/>
                <a:latin typeface="Corbel" panose="020B0503020204020204" pitchFamily="34" charset="0"/>
                <a:ea typeface="+mn-ea"/>
                <a:cs typeface="+mn-cs"/>
              </a:rPr>
              <a:t>en de provincie </a:t>
            </a:r>
            <a:r>
              <a:rPr lang="nl-NL" sz="1000" dirty="0"/>
              <a:t>zijn aangesloten bij GVC sinds 2015</a:t>
            </a:r>
            <a:endParaRPr kumimoji="0" lang="nl-NL" sz="10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7" name="Rectangle 96">
            <a:extLst>
              <a:ext uri="{FF2B5EF4-FFF2-40B4-BE49-F238E27FC236}">
                <a16:creationId xmlns:a16="http://schemas.microsoft.com/office/drawing/2014/main" id="{B6DEFD6B-3ED3-4F89-8FBD-876F554E1373}"/>
              </a:ext>
            </a:extLst>
          </p:cNvPr>
          <p:cNvSpPr/>
          <p:nvPr/>
        </p:nvSpPr>
        <p:spPr>
          <a:xfrm>
            <a:off x="767408" y="5514134"/>
            <a:ext cx="936000" cy="625002"/>
          </a:xfrm>
          <a:prstGeom prst="rect">
            <a:avLst/>
          </a:prstGeom>
          <a:solidFill>
            <a:srgbClr val="408E94"/>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Ervaringen</a:t>
            </a:r>
          </a:p>
        </p:txBody>
      </p:sp>
      <p:sp>
        <p:nvSpPr>
          <p:cNvPr id="98" name="Rectangle 97">
            <a:extLst>
              <a:ext uri="{FF2B5EF4-FFF2-40B4-BE49-F238E27FC236}">
                <a16:creationId xmlns:a16="http://schemas.microsoft.com/office/drawing/2014/main" id="{CEAB6B79-31C3-4929-9C2F-0DD1B0B72D90}"/>
              </a:ext>
            </a:extLst>
          </p:cNvPr>
          <p:cNvSpPr/>
          <p:nvPr/>
        </p:nvSpPr>
        <p:spPr>
          <a:xfrm>
            <a:off x="1703191" y="5514134"/>
            <a:ext cx="2385280" cy="792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000" dirty="0"/>
              <a:t>Met de centrale zijn</a:t>
            </a:r>
            <a:r>
              <a:rPr kumimoji="0" lang="nl-NL" sz="1000" i="0" u="none" strike="noStrike" kern="1200" cap="none" spc="0" normalizeH="0" baseline="0" noProof="0" dirty="0">
                <a:ln>
                  <a:noFill/>
                </a:ln>
                <a:effectLst/>
                <a:uLnTx/>
                <a:uFillTx/>
              </a:rPr>
              <a:t> planning en klanten-service verbeterd. Zeeland hoopt in de toekomst ook aanbestedingen en beleid voor flexibele mobiliteitsdiensten </a:t>
            </a:r>
            <a:r>
              <a:rPr lang="nl-NL" sz="1000" dirty="0"/>
              <a:t>(en evt. OV)</a:t>
            </a:r>
            <a:r>
              <a:rPr kumimoji="0" lang="nl-NL" sz="1000" i="0" u="none" strike="noStrike" kern="1200" cap="none" spc="0" normalizeH="0" baseline="0" noProof="0" dirty="0">
                <a:ln>
                  <a:noFill/>
                </a:ln>
                <a:effectLst/>
                <a:uLnTx/>
                <a:uFillTx/>
              </a:rPr>
              <a:t> in de regiecentrale onder te brengen.</a:t>
            </a:r>
          </a:p>
        </p:txBody>
      </p:sp>
      <p:sp>
        <p:nvSpPr>
          <p:cNvPr id="102" name="Rectangle 101">
            <a:extLst>
              <a:ext uri="{FF2B5EF4-FFF2-40B4-BE49-F238E27FC236}">
                <a16:creationId xmlns:a16="http://schemas.microsoft.com/office/drawing/2014/main" id="{ED03BA2B-65A1-458A-8532-177298DBCA90}"/>
              </a:ext>
            </a:extLst>
          </p:cNvPr>
          <p:cNvSpPr/>
          <p:nvPr/>
        </p:nvSpPr>
        <p:spPr>
          <a:xfrm>
            <a:off x="4354373" y="4363416"/>
            <a:ext cx="2386800" cy="792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000" dirty="0"/>
              <a:t>De regiecentrale in Brabant is in </a:t>
            </a:r>
            <a:r>
              <a:rPr lang="nl-NL" sz="1000" b="1" dirty="0"/>
              <a:t>een openbare aanbesteding </a:t>
            </a:r>
            <a:r>
              <a:rPr lang="nl-NL" sz="1000" dirty="0"/>
              <a:t>gegund aan Personen- en Zorgvervoer Nederland (PZN). </a:t>
            </a:r>
            <a:endParaRPr kumimoji="0" lang="nl-NL" sz="1000" i="0" u="none" strike="noStrike" kern="1200" cap="none" spc="0" normalizeH="0" baseline="0" noProof="0" dirty="0">
              <a:ln>
                <a:noFill/>
              </a:ln>
              <a:effectLst/>
              <a:uLnTx/>
              <a:uFillTx/>
            </a:endParaRPr>
          </a:p>
        </p:txBody>
      </p:sp>
      <p:sp>
        <p:nvSpPr>
          <p:cNvPr id="104" name="Rectangle 103">
            <a:extLst>
              <a:ext uri="{FF2B5EF4-FFF2-40B4-BE49-F238E27FC236}">
                <a16:creationId xmlns:a16="http://schemas.microsoft.com/office/drawing/2014/main" id="{444765A4-F52E-48BA-B786-7ECD58CD888E}"/>
              </a:ext>
            </a:extLst>
          </p:cNvPr>
          <p:cNvSpPr/>
          <p:nvPr/>
        </p:nvSpPr>
        <p:spPr>
          <a:xfrm>
            <a:off x="4354373" y="3212698"/>
            <a:ext cx="2386800" cy="792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000" dirty="0"/>
              <a:t>PZN is de regiecentrale voor </a:t>
            </a:r>
            <a:r>
              <a:rPr lang="nl-NL" sz="1000" b="1" dirty="0"/>
              <a:t>Wmo-vervoer, vervoer volgens Jeugdwet </a:t>
            </a:r>
            <a:r>
              <a:rPr lang="nl-NL" sz="1000" dirty="0"/>
              <a:t>en </a:t>
            </a:r>
            <a:r>
              <a:rPr lang="nl-NL" sz="1000" b="1" dirty="0"/>
              <a:t>leerlingenvervoer </a:t>
            </a:r>
            <a:r>
              <a:rPr lang="nl-NL" sz="1000" dirty="0"/>
              <a:t>van alle vijf regio’s waarin de gemeenten verenigd zijn. Daarnaast verzorgt PZN planning voor </a:t>
            </a:r>
            <a:r>
              <a:rPr lang="nl-NL" sz="1000" b="1" dirty="0"/>
              <a:t>Zittend Ziekenvervoer.</a:t>
            </a:r>
            <a:endParaRPr kumimoji="0" lang="nl-NL" sz="1000" i="0" u="none" strike="noStrike" kern="1200" cap="none" spc="0" normalizeH="0" baseline="0" noProof="0" dirty="0">
              <a:ln>
                <a:noFill/>
              </a:ln>
              <a:effectLst/>
              <a:uLnTx/>
              <a:uFillTx/>
            </a:endParaRPr>
          </a:p>
        </p:txBody>
      </p:sp>
      <p:sp>
        <p:nvSpPr>
          <p:cNvPr id="105" name="Content Placeholder 2">
            <a:extLst>
              <a:ext uri="{FF2B5EF4-FFF2-40B4-BE49-F238E27FC236}">
                <a16:creationId xmlns:a16="http://schemas.microsoft.com/office/drawing/2014/main" id="{8AB1CE69-C852-4855-8934-B0310070A5A2}"/>
              </a:ext>
            </a:extLst>
          </p:cNvPr>
          <p:cNvSpPr txBox="1">
            <a:spLocks/>
          </p:cNvSpPr>
          <p:nvPr/>
        </p:nvSpPr>
        <p:spPr>
          <a:xfrm>
            <a:off x="4296125" y="1870859"/>
            <a:ext cx="36000" cy="4446000"/>
          </a:xfrm>
          <a:prstGeom prst="rect">
            <a:avLst/>
          </a:prstGeom>
          <a:solidFill>
            <a:srgbClr val="408E94"/>
          </a:solidFill>
          <a:ln w="9525">
            <a:noFill/>
          </a:ln>
        </p:spPr>
        <p:txBody>
          <a:bodyPr vert="horz" lIns="72000" tIns="72000" rIns="72000" bIns="72000" rtlCol="0">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endParaRPr lang="nl-NL" sz="1000" b="1" dirty="0">
              <a:solidFill>
                <a:srgbClr val="68ABB0"/>
              </a:solidFill>
            </a:endParaRPr>
          </a:p>
        </p:txBody>
      </p:sp>
      <p:sp>
        <p:nvSpPr>
          <p:cNvPr id="161" name="Rectangle 160">
            <a:extLst>
              <a:ext uri="{FF2B5EF4-FFF2-40B4-BE49-F238E27FC236}">
                <a16:creationId xmlns:a16="http://schemas.microsoft.com/office/drawing/2014/main" id="{7B767ECD-D535-4E81-A1F6-DC29F18F5222}"/>
              </a:ext>
            </a:extLst>
          </p:cNvPr>
          <p:cNvSpPr/>
          <p:nvPr/>
        </p:nvSpPr>
        <p:spPr>
          <a:xfrm>
            <a:off x="4354373" y="2061980"/>
            <a:ext cx="2386800" cy="792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lang="nl-NL" sz="1000" dirty="0"/>
              <a:t>PZN is verantwoordelijk voor </a:t>
            </a:r>
            <a:r>
              <a:rPr lang="nl-NL" sz="1000" b="1" dirty="0"/>
              <a:t>aannemen van calls, ritplanning </a:t>
            </a:r>
            <a:r>
              <a:rPr lang="nl-NL" sz="1000" dirty="0"/>
              <a:t>en </a:t>
            </a:r>
            <a:r>
              <a:rPr lang="nl-NL" sz="1000" b="1" dirty="0"/>
              <a:t>aansturing</a:t>
            </a:r>
            <a:r>
              <a:rPr lang="nl-NL" sz="1000" dirty="0"/>
              <a:t> van 6 taxibedrijven. De centrale maakt optimaal gebruik van auto’s: een busje dat wordt ingezet voor leerlingenvervoer, wordt na schooltijd ingezet voor Wmo</a:t>
            </a:r>
            <a:endParaRPr kumimoji="0" lang="nl-NL" sz="1000" i="0" u="none" strike="noStrike" kern="1200" cap="none" spc="0" normalizeH="0" baseline="0" noProof="0" dirty="0">
              <a:ln>
                <a:noFill/>
              </a:ln>
              <a:effectLst/>
              <a:uLnTx/>
              <a:uFillTx/>
            </a:endParaRPr>
          </a:p>
        </p:txBody>
      </p:sp>
      <p:sp>
        <p:nvSpPr>
          <p:cNvPr id="162" name="Rectangle 161">
            <a:extLst>
              <a:ext uri="{FF2B5EF4-FFF2-40B4-BE49-F238E27FC236}">
                <a16:creationId xmlns:a16="http://schemas.microsoft.com/office/drawing/2014/main" id="{3CEDE630-C72D-46B6-8C32-787F8B847B2D}"/>
              </a:ext>
            </a:extLst>
          </p:cNvPr>
          <p:cNvSpPr/>
          <p:nvPr/>
        </p:nvSpPr>
        <p:spPr>
          <a:xfrm>
            <a:off x="4354373" y="5514134"/>
            <a:ext cx="2386800" cy="792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000" dirty="0"/>
              <a:t>Er is volledig zicht op de capaciteit en deze kan flexibeler aangepast worden. Momenteel wordt onderzocht hoe Wmo-reizigers via regiecentrale meer naar OV gestimuleerd kunnen worden.</a:t>
            </a:r>
            <a:endParaRPr kumimoji="0" lang="nl-NL" sz="1000" i="0" u="none" strike="noStrike" kern="1200" cap="none" spc="0" normalizeH="0" baseline="0" noProof="0" dirty="0">
              <a:ln>
                <a:noFill/>
              </a:ln>
              <a:effectLst/>
              <a:uLnTx/>
              <a:uFillTx/>
            </a:endParaRPr>
          </a:p>
        </p:txBody>
      </p:sp>
      <p:sp>
        <p:nvSpPr>
          <p:cNvPr id="163" name="Speech Bubble: Rectangle 162">
            <a:extLst>
              <a:ext uri="{FF2B5EF4-FFF2-40B4-BE49-F238E27FC236}">
                <a16:creationId xmlns:a16="http://schemas.microsoft.com/office/drawing/2014/main" id="{1DE94EE1-898B-45DE-B16F-AB6D707FFF32}"/>
              </a:ext>
            </a:extLst>
          </p:cNvPr>
          <p:cNvSpPr/>
          <p:nvPr/>
        </p:nvSpPr>
        <p:spPr>
          <a:xfrm rot="216482">
            <a:off x="7506093" y="4776237"/>
            <a:ext cx="1355725" cy="727075"/>
          </a:xfrm>
          <a:prstGeom prst="wedgeRectCallout">
            <a:avLst>
              <a:gd name="adj1" fmla="val -32070"/>
              <a:gd name="adj2" fmla="val -91935"/>
            </a:avLst>
          </a:prstGeom>
          <a:solidFill>
            <a:srgbClr val="FFFFFF"/>
          </a:solidFill>
          <a:ln w="9525">
            <a:solidFill>
              <a:schemeClr val="accent6">
                <a:lumMod val="65000"/>
              </a:schemeClr>
            </a:solidFill>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Clr>
                <a:schemeClr val="tx2"/>
              </a:buClr>
              <a:buNone/>
            </a:pPr>
            <a:r>
              <a:rPr kumimoji="0" lang="nl-NL" sz="1000" i="0" u="none" strike="noStrike" kern="1200" cap="none" spc="0" normalizeH="0" baseline="0" noProof="0" dirty="0">
                <a:ln>
                  <a:noFill/>
                </a:ln>
                <a:effectLst/>
                <a:uLnTx/>
                <a:uFillTx/>
                <a:latin typeface="Corbel" panose="020B0503020204020204" pitchFamily="34" charset="0"/>
                <a:ea typeface="+mn-ea"/>
                <a:cs typeface="+mn-cs"/>
              </a:rPr>
              <a:t>Alle Brabantse gemeenten organiseren Wmo-vervoer in </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vijf regio’s </a:t>
            </a:r>
            <a:r>
              <a:rPr kumimoji="0" lang="nl-NL" sz="1000" i="0" u="none" strike="noStrike" kern="1200" cap="none" spc="0" normalizeH="0" baseline="0" noProof="0" dirty="0">
                <a:ln>
                  <a:noFill/>
                </a:ln>
                <a:effectLst/>
                <a:uLnTx/>
                <a:uFillTx/>
                <a:latin typeface="Corbel" panose="020B0503020204020204" pitchFamily="34" charset="0"/>
                <a:ea typeface="+mn-ea"/>
                <a:cs typeface="+mn-cs"/>
              </a:rPr>
              <a:t>die allen aangesloten zijn bij PZN</a:t>
            </a:r>
            <a:endParaRPr kumimoji="0" lang="nl-NL" sz="1000" b="1" i="0" u="none" strike="noStrike" kern="1200" cap="none" spc="0" normalizeH="0" baseline="0" noProof="0" dirty="0">
              <a:ln>
                <a:noFill/>
              </a:ln>
              <a:effectLst/>
              <a:uLnTx/>
              <a:uFillTx/>
              <a:latin typeface="Corbel" panose="020B0503020204020204" pitchFamily="34" charset="0"/>
              <a:ea typeface="+mn-ea"/>
              <a:cs typeface="+mn-cs"/>
            </a:endParaRPr>
          </a:p>
        </p:txBody>
      </p:sp>
      <p:grpSp>
        <p:nvGrpSpPr>
          <p:cNvPr id="165" name="Group 164">
            <a:extLst>
              <a:ext uri="{FF2B5EF4-FFF2-40B4-BE49-F238E27FC236}">
                <a16:creationId xmlns:a16="http://schemas.microsoft.com/office/drawing/2014/main" id="{3181B3C1-D446-4DC8-A0CE-C9DD386FE56E}"/>
              </a:ext>
            </a:extLst>
          </p:cNvPr>
          <p:cNvGrpSpPr/>
          <p:nvPr/>
        </p:nvGrpSpPr>
        <p:grpSpPr>
          <a:xfrm>
            <a:off x="701659" y="55733"/>
            <a:ext cx="2040807" cy="176387"/>
            <a:chOff x="701659" y="55733"/>
            <a:chExt cx="2040807" cy="176387"/>
          </a:xfrm>
        </p:grpSpPr>
        <p:sp>
          <p:nvSpPr>
            <p:cNvPr id="166" name="Rectangle: Rounded Corners 165">
              <a:extLst>
                <a:ext uri="{FF2B5EF4-FFF2-40B4-BE49-F238E27FC236}">
                  <a16:creationId xmlns:a16="http://schemas.microsoft.com/office/drawing/2014/main" id="{F172F9C7-22EA-4C1A-A344-74A9D09BCF1F}"/>
                </a:ext>
              </a:extLst>
            </p:cNvPr>
            <p:cNvSpPr/>
            <p:nvPr/>
          </p:nvSpPr>
          <p:spPr>
            <a:xfrm>
              <a:off x="93125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a:t>
              </a:r>
            </a:p>
          </p:txBody>
        </p:sp>
        <p:sp>
          <p:nvSpPr>
            <p:cNvPr id="167" name="Rectangle: Rounded Corners 166">
              <a:extLst>
                <a:ext uri="{FF2B5EF4-FFF2-40B4-BE49-F238E27FC236}">
                  <a16:creationId xmlns:a16="http://schemas.microsoft.com/office/drawing/2014/main" id="{BDBAEEC6-BAD1-4C3C-AC6A-0E17A9FAB803}"/>
                </a:ext>
              </a:extLst>
            </p:cNvPr>
            <p:cNvSpPr/>
            <p:nvPr/>
          </p:nvSpPr>
          <p:spPr>
            <a:xfrm>
              <a:off x="116084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2</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68" name="Rectangle: Rounded Corners 167">
              <a:extLst>
                <a:ext uri="{FF2B5EF4-FFF2-40B4-BE49-F238E27FC236}">
                  <a16:creationId xmlns:a16="http://schemas.microsoft.com/office/drawing/2014/main" id="{3A3792F1-0708-400F-A027-26EB8B4D9826}"/>
                </a:ext>
              </a:extLst>
            </p:cNvPr>
            <p:cNvSpPr/>
            <p:nvPr/>
          </p:nvSpPr>
          <p:spPr>
            <a:xfrm>
              <a:off x="1390441"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3</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69" name="Rectangle: Rounded Corners 168">
              <a:extLst>
                <a:ext uri="{FF2B5EF4-FFF2-40B4-BE49-F238E27FC236}">
                  <a16:creationId xmlns:a16="http://schemas.microsoft.com/office/drawing/2014/main" id="{4551F029-2C69-414E-A3FC-D92A7AD69C0E}"/>
                </a:ext>
              </a:extLst>
            </p:cNvPr>
            <p:cNvSpPr/>
            <p:nvPr/>
          </p:nvSpPr>
          <p:spPr>
            <a:xfrm>
              <a:off x="1620035"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4</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70" name="Rectangle: Rounded Corners 169">
              <a:extLst>
                <a:ext uri="{FF2B5EF4-FFF2-40B4-BE49-F238E27FC236}">
                  <a16:creationId xmlns:a16="http://schemas.microsoft.com/office/drawing/2014/main" id="{678A2B40-6DF9-449C-8AD7-06A2DB8293B8}"/>
                </a:ext>
              </a:extLst>
            </p:cNvPr>
            <p:cNvSpPr/>
            <p:nvPr/>
          </p:nvSpPr>
          <p:spPr>
            <a:xfrm>
              <a:off x="184962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5</a:t>
              </a:r>
            </a:p>
          </p:txBody>
        </p:sp>
        <p:sp>
          <p:nvSpPr>
            <p:cNvPr id="171" name="Rectangle: Rounded Corners 170">
              <a:extLst>
                <a:ext uri="{FF2B5EF4-FFF2-40B4-BE49-F238E27FC236}">
                  <a16:creationId xmlns:a16="http://schemas.microsoft.com/office/drawing/2014/main" id="{25144E2E-71BD-4409-B2B7-E6A61FE72FB3}"/>
                </a:ext>
              </a:extLst>
            </p:cNvPr>
            <p:cNvSpPr/>
            <p:nvPr/>
          </p:nvSpPr>
          <p:spPr>
            <a:xfrm>
              <a:off x="2079223" y="55733"/>
              <a:ext cx="204053" cy="176387"/>
            </a:xfrm>
            <a:prstGeom prst="roundRect">
              <a:avLst/>
            </a:prstGeom>
            <a:solidFill>
              <a:srgbClr val="EC6224"/>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6</a:t>
              </a:r>
            </a:p>
          </p:txBody>
        </p:sp>
        <p:sp>
          <p:nvSpPr>
            <p:cNvPr id="172" name="Rectangle: Rounded Corners 171">
              <a:extLst>
                <a:ext uri="{FF2B5EF4-FFF2-40B4-BE49-F238E27FC236}">
                  <a16:creationId xmlns:a16="http://schemas.microsoft.com/office/drawing/2014/main" id="{9B260A59-C152-44BD-AF0F-E48D2F3D9B46}"/>
                </a:ext>
              </a:extLst>
            </p:cNvPr>
            <p:cNvSpPr/>
            <p:nvPr/>
          </p:nvSpPr>
          <p:spPr>
            <a:xfrm>
              <a:off x="230881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7</a:t>
              </a:r>
            </a:p>
          </p:txBody>
        </p:sp>
        <p:sp>
          <p:nvSpPr>
            <p:cNvPr id="173" name="Rectangle: Rounded Corners 172">
              <a:extLst>
                <a:ext uri="{FF2B5EF4-FFF2-40B4-BE49-F238E27FC236}">
                  <a16:creationId xmlns:a16="http://schemas.microsoft.com/office/drawing/2014/main" id="{1C163FE3-F05D-4406-AF06-276A4BF9791C}"/>
                </a:ext>
              </a:extLst>
            </p:cNvPr>
            <p:cNvSpPr/>
            <p:nvPr/>
          </p:nvSpPr>
          <p:spPr>
            <a:xfrm>
              <a:off x="253841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8</a:t>
              </a:r>
            </a:p>
          </p:txBody>
        </p:sp>
        <p:grpSp>
          <p:nvGrpSpPr>
            <p:cNvPr id="174" name="Group 173">
              <a:extLst>
                <a:ext uri="{FF2B5EF4-FFF2-40B4-BE49-F238E27FC236}">
                  <a16:creationId xmlns:a16="http://schemas.microsoft.com/office/drawing/2014/main" id="{70CB5968-F4E8-4B03-A55F-F178BE2E980B}"/>
                </a:ext>
              </a:extLst>
            </p:cNvPr>
            <p:cNvGrpSpPr/>
            <p:nvPr/>
          </p:nvGrpSpPr>
          <p:grpSpPr>
            <a:xfrm>
              <a:off x="701659" y="55733"/>
              <a:ext cx="204053" cy="176387"/>
              <a:chOff x="701659" y="55733"/>
              <a:chExt cx="204053" cy="176387"/>
            </a:xfrm>
          </p:grpSpPr>
          <p:sp>
            <p:nvSpPr>
              <p:cNvPr id="175" name="Rectangle: Rounded Corners 174">
                <a:extLst>
                  <a:ext uri="{FF2B5EF4-FFF2-40B4-BE49-F238E27FC236}">
                    <a16:creationId xmlns:a16="http://schemas.microsoft.com/office/drawing/2014/main" id="{C9BAD93F-CD0A-493C-9422-5971BA2CD272}"/>
                  </a:ext>
                </a:extLst>
              </p:cNvPr>
              <p:cNvSpPr/>
              <p:nvPr/>
            </p:nvSpPr>
            <p:spPr>
              <a:xfrm>
                <a:off x="70165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176" name="Graphic 175" descr="Home with solid fill">
                <a:hlinkClick r:id="rId7" action="ppaction://hlinksldjump"/>
                <a:extLst>
                  <a:ext uri="{FF2B5EF4-FFF2-40B4-BE49-F238E27FC236}">
                    <a16:creationId xmlns:a16="http://schemas.microsoft.com/office/drawing/2014/main" id="{6C56ADBF-BBC0-47F6-AFD5-93A7FBBD84EB}"/>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34263" y="63707"/>
                <a:ext cx="136149" cy="136149"/>
              </a:xfrm>
              <a:prstGeom prst="rect">
                <a:avLst/>
              </a:prstGeom>
            </p:spPr>
          </p:pic>
        </p:grpSp>
      </p:grpSp>
      <p:sp>
        <p:nvSpPr>
          <p:cNvPr id="177" name="Rectangle 176">
            <a:extLst>
              <a:ext uri="{FF2B5EF4-FFF2-40B4-BE49-F238E27FC236}">
                <a16:creationId xmlns:a16="http://schemas.microsoft.com/office/drawing/2014/main" id="{2FC07748-0D46-4696-AF67-F0B8881E6E1B}"/>
              </a:ext>
            </a:extLst>
          </p:cNvPr>
          <p:cNvSpPr/>
          <p:nvPr/>
        </p:nvSpPr>
        <p:spPr>
          <a:xfrm>
            <a:off x="9015593" y="1606211"/>
            <a:ext cx="2520909" cy="4697641"/>
          </a:xfrm>
          <a:prstGeom prst="rect">
            <a:avLst/>
          </a:prstGeom>
          <a:solidFill>
            <a:schemeClr val="accent6">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endParaRPr lang="en-NL" sz="1000" dirty="0"/>
          </a:p>
          <a:p>
            <a:pPr marL="0" indent="0">
              <a:buClr>
                <a:schemeClr val="tx2"/>
              </a:buClr>
              <a:buNone/>
            </a:pPr>
            <a:endParaRPr lang="en-NL" sz="1000" dirty="0"/>
          </a:p>
          <a:p>
            <a:pPr marL="0" indent="0">
              <a:buClr>
                <a:schemeClr val="tx2"/>
              </a:buClr>
              <a:buNone/>
            </a:pPr>
            <a:endParaRPr lang="en-NL" sz="100" dirty="0"/>
          </a:p>
          <a:p>
            <a:pPr marL="0" indent="0">
              <a:buClr>
                <a:schemeClr val="tx2"/>
              </a:buClr>
              <a:buNone/>
            </a:pPr>
            <a:r>
              <a:rPr lang="nl-NL" sz="1000" dirty="0"/>
              <a:t>Kennisplatform Verkeer en Vervoer heeft zes kernvragen opgesteld voor gemeenten om na te gaan of een regiecentrale wel of niet haalbaar en voordelig is:</a:t>
            </a:r>
          </a:p>
          <a:p>
            <a:pPr>
              <a:buClr>
                <a:schemeClr val="tx2"/>
              </a:buClr>
            </a:pPr>
            <a:r>
              <a:rPr lang="nl-NL" sz="1000" dirty="0"/>
              <a:t>Is er een bestaande samenwerkingsstructuur op het gebied van doelgroepenvervoer?</a:t>
            </a:r>
          </a:p>
          <a:p>
            <a:pPr>
              <a:buClr>
                <a:schemeClr val="tx2"/>
              </a:buClr>
            </a:pPr>
            <a:r>
              <a:rPr lang="nl-NL" sz="1000" dirty="0"/>
              <a:t>Heeft u als gemeente zelfstandig voldoende vervoervolume om de voordelen van een regiecentrale te kunnen bereiken?</a:t>
            </a:r>
          </a:p>
          <a:p>
            <a:pPr>
              <a:buClr>
                <a:schemeClr val="tx2"/>
              </a:buClr>
            </a:pPr>
            <a:r>
              <a:rPr lang="nl-NL" sz="1000" dirty="0"/>
              <a:t>Is er een noodzaak tot verandering (budget, kwaliteit)?</a:t>
            </a:r>
          </a:p>
          <a:p>
            <a:pPr>
              <a:buClr>
                <a:schemeClr val="tx2"/>
              </a:buClr>
            </a:pPr>
            <a:r>
              <a:rPr lang="nl-NL" sz="1000" dirty="0"/>
              <a:t>Is er winst te behalen t.o.v. de huidige situatie?</a:t>
            </a:r>
          </a:p>
          <a:p>
            <a:pPr>
              <a:buClr>
                <a:schemeClr val="tx2"/>
              </a:buClr>
            </a:pPr>
            <a:r>
              <a:rPr lang="nl-NL" sz="1000" dirty="0"/>
              <a:t>Is er voldoende tijd en capaciteit beschikbaar om het concept uit te werken en op te zetten?</a:t>
            </a:r>
          </a:p>
          <a:p>
            <a:pPr>
              <a:buClr>
                <a:schemeClr val="tx2"/>
              </a:buClr>
            </a:pPr>
            <a:r>
              <a:rPr lang="nl-NL" sz="1000" dirty="0"/>
              <a:t>Is er bestuurlijk draagvlak voor innovatie? </a:t>
            </a:r>
          </a:p>
          <a:p>
            <a:pPr>
              <a:buClr>
                <a:schemeClr val="tx2"/>
              </a:buClr>
            </a:pPr>
            <a:r>
              <a:rPr lang="nl-NL" sz="1000" dirty="0"/>
              <a:t>Is er een ambtelijke of bestuurlijke aanjager die het proces kan trekken?</a:t>
            </a:r>
          </a:p>
          <a:p>
            <a:pPr marL="0" indent="0">
              <a:buClr>
                <a:schemeClr val="tx2"/>
              </a:buClr>
              <a:buNone/>
            </a:pPr>
            <a:endParaRPr kumimoji="0" lang="nl-NL" sz="10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0" name="Google Shape;1563;p12">
            <a:extLst>
              <a:ext uri="{FF2B5EF4-FFF2-40B4-BE49-F238E27FC236}">
                <a16:creationId xmlns:a16="http://schemas.microsoft.com/office/drawing/2014/main" id="{C234D3CC-B4EE-4E1F-AA1F-09F5F5E7CCA0}"/>
              </a:ext>
            </a:extLst>
          </p:cNvPr>
          <p:cNvSpPr/>
          <p:nvPr/>
        </p:nvSpPr>
        <p:spPr>
          <a:xfrm>
            <a:off x="9010481" y="1592263"/>
            <a:ext cx="2512178" cy="553215"/>
          </a:xfrm>
          <a:prstGeom prst="rect">
            <a:avLst/>
          </a:prstGeom>
          <a:noFill/>
          <a:ln w="19050">
            <a:noFill/>
          </a:ln>
        </p:spPr>
        <p:txBody>
          <a:bodyPr vert="horz" lIns="72000" tIns="72000" rIns="72000" bIns="72000" rtlCol="0">
            <a:normAutofit/>
          </a:bodyPr>
          <a:lstStyle/>
          <a:p>
            <a:pPr marL="0" indent="0">
              <a:buNone/>
            </a:pPr>
            <a:r>
              <a:rPr lang="en-NL" b="1" i="1" dirty="0">
                <a:solidFill>
                  <a:srgbClr val="22777B"/>
                </a:solidFill>
                <a:sym typeface="Corbel"/>
              </a:rPr>
              <a:t>Is </a:t>
            </a:r>
            <a:r>
              <a:rPr lang="en-NL" b="1" i="1" dirty="0" err="1">
                <a:solidFill>
                  <a:srgbClr val="22777B"/>
                </a:solidFill>
                <a:sym typeface="Corbel"/>
              </a:rPr>
              <a:t>een</a:t>
            </a:r>
            <a:r>
              <a:rPr lang="en-NL" b="1" i="1" dirty="0">
                <a:solidFill>
                  <a:srgbClr val="22777B"/>
                </a:solidFill>
                <a:sym typeface="Corbel"/>
              </a:rPr>
              <a:t> </a:t>
            </a:r>
            <a:r>
              <a:rPr lang="en-NL" b="1" i="1" dirty="0" err="1">
                <a:solidFill>
                  <a:srgbClr val="22777B"/>
                </a:solidFill>
                <a:sym typeface="Corbel"/>
              </a:rPr>
              <a:t>regiecentrale</a:t>
            </a:r>
            <a:r>
              <a:rPr lang="en-NL" b="1" i="1" dirty="0">
                <a:solidFill>
                  <a:srgbClr val="22777B"/>
                </a:solidFill>
                <a:sym typeface="Corbel"/>
              </a:rPr>
              <a:t> </a:t>
            </a:r>
            <a:r>
              <a:rPr lang="en-NL" b="1" i="1" dirty="0" err="1">
                <a:solidFill>
                  <a:srgbClr val="22777B"/>
                </a:solidFill>
                <a:sym typeface="Corbel"/>
              </a:rPr>
              <a:t>voordelig</a:t>
            </a:r>
            <a:r>
              <a:rPr lang="en-NL" b="1" i="1" dirty="0">
                <a:solidFill>
                  <a:srgbClr val="22777B"/>
                </a:solidFill>
                <a:sym typeface="Corbel"/>
              </a:rPr>
              <a:t> </a:t>
            </a:r>
            <a:r>
              <a:rPr lang="en-NL" b="1" i="1" dirty="0" err="1">
                <a:solidFill>
                  <a:srgbClr val="22777B"/>
                </a:solidFill>
                <a:sym typeface="Corbel"/>
              </a:rPr>
              <a:t>en</a:t>
            </a:r>
            <a:r>
              <a:rPr lang="en-NL" b="1" i="1" dirty="0">
                <a:solidFill>
                  <a:srgbClr val="22777B"/>
                </a:solidFill>
                <a:sym typeface="Corbel"/>
              </a:rPr>
              <a:t> </a:t>
            </a:r>
            <a:r>
              <a:rPr lang="en-NL" b="1" i="1" dirty="0" err="1">
                <a:solidFill>
                  <a:srgbClr val="22777B"/>
                </a:solidFill>
                <a:sym typeface="Corbel"/>
              </a:rPr>
              <a:t>haalbaar</a:t>
            </a:r>
            <a:r>
              <a:rPr lang="en-NL" b="1" i="1" dirty="0">
                <a:solidFill>
                  <a:srgbClr val="22777B"/>
                </a:solidFill>
                <a:sym typeface="Corbel"/>
              </a:rPr>
              <a:t> in </a:t>
            </a:r>
            <a:r>
              <a:rPr lang="en-NL" b="1" i="1" dirty="0" err="1">
                <a:solidFill>
                  <a:srgbClr val="22777B"/>
                </a:solidFill>
                <a:sym typeface="Corbel"/>
              </a:rPr>
              <a:t>mijn</a:t>
            </a:r>
            <a:r>
              <a:rPr lang="en-NL" b="1" i="1" dirty="0">
                <a:solidFill>
                  <a:srgbClr val="22777B"/>
                </a:solidFill>
                <a:sym typeface="Corbel"/>
              </a:rPr>
              <a:t> </a:t>
            </a:r>
            <a:r>
              <a:rPr lang="en-NL" b="1" i="1" dirty="0" err="1">
                <a:solidFill>
                  <a:srgbClr val="22777B"/>
                </a:solidFill>
                <a:sym typeface="Corbel"/>
              </a:rPr>
              <a:t>gemeente</a:t>
            </a:r>
            <a:r>
              <a:rPr lang="en-NL" b="1" i="1" dirty="0">
                <a:solidFill>
                  <a:srgbClr val="22777B"/>
                </a:solidFill>
                <a:sym typeface="Corbel"/>
              </a:rPr>
              <a:t>?</a:t>
            </a:r>
            <a:endParaRPr lang="nl-NL" b="1" i="1" dirty="0">
              <a:solidFill>
                <a:srgbClr val="22777B"/>
              </a:solidFill>
              <a:sym typeface="Corbel"/>
            </a:endParaRPr>
          </a:p>
        </p:txBody>
      </p:sp>
      <p:sp>
        <p:nvSpPr>
          <p:cNvPr id="99" name="Text Placeholder 7">
            <a:extLst>
              <a:ext uri="{FF2B5EF4-FFF2-40B4-BE49-F238E27FC236}">
                <a16:creationId xmlns:a16="http://schemas.microsoft.com/office/drawing/2014/main" id="{C8380826-21D7-46BC-828E-43316284E52F}"/>
              </a:ext>
            </a:extLst>
          </p:cNvPr>
          <p:cNvSpPr txBox="1">
            <a:spLocks/>
          </p:cNvSpPr>
          <p:nvPr/>
        </p:nvSpPr>
        <p:spPr>
          <a:xfrm>
            <a:off x="662780" y="6487298"/>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1   Haltetaxi biedt taxivervoer van bushalte naar bushalte. De taxi rijdt op trajecten waar de bus niet meer rijdt en sluit aan op de dienstregeling van de bus.   </a:t>
            </a:r>
          </a:p>
        </p:txBody>
      </p:sp>
    </p:spTree>
    <p:extLst>
      <p:ext uri="{BB962C8B-B14F-4D97-AF65-F5344CB8AC3E}">
        <p14:creationId xmlns:p14="http://schemas.microsoft.com/office/powerpoint/2010/main" val="22266557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877DCFC-B5F7-4D85-9BB9-AC1D82DAEF74}"/>
              </a:ext>
            </a:extLst>
          </p:cNvPr>
          <p:cNvGraphicFramePr>
            <a:graphicFrameLocks noChangeAspect="1"/>
          </p:cNvGraphicFramePr>
          <p:nvPr>
            <p:custDataLst>
              <p:tags r:id="rId2"/>
            </p:custDataLst>
            <p:extLst>
              <p:ext uri="{D42A27DB-BD31-4B8C-83A1-F6EECF244321}">
                <p14:modId xmlns:p14="http://schemas.microsoft.com/office/powerpoint/2010/main" val="4073823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8"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id="{6877DCFC-B5F7-4D85-9BB9-AC1D82DAEF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6" name="Table 35">
            <a:extLst>
              <a:ext uri="{FF2B5EF4-FFF2-40B4-BE49-F238E27FC236}">
                <a16:creationId xmlns:a16="http://schemas.microsoft.com/office/drawing/2014/main" id="{F3B7B63B-3576-45B0-99EE-98C288233498}"/>
              </a:ext>
            </a:extLst>
          </p:cNvPr>
          <p:cNvGraphicFramePr>
            <a:graphicFrameLocks noGrp="1"/>
          </p:cNvGraphicFramePr>
          <p:nvPr>
            <p:extLst>
              <p:ext uri="{D42A27DB-BD31-4B8C-83A1-F6EECF244321}">
                <p14:modId xmlns:p14="http://schemas.microsoft.com/office/powerpoint/2010/main" val="4048262095"/>
              </p:ext>
            </p:extLst>
          </p:nvPr>
        </p:nvGraphicFramePr>
        <p:xfrm>
          <a:off x="658813" y="2120545"/>
          <a:ext cx="10872000" cy="4191348"/>
        </p:xfrm>
        <a:graphic>
          <a:graphicData uri="http://schemas.openxmlformats.org/drawingml/2006/table">
            <a:tbl>
              <a:tblPr firstRow="1" bandRow="1">
                <a:tableStyleId>{5C22544A-7EE6-4342-B048-85BDC9FD1C3A}</a:tableStyleId>
              </a:tblPr>
              <a:tblGrid>
                <a:gridCol w="1224000">
                  <a:extLst>
                    <a:ext uri="{9D8B030D-6E8A-4147-A177-3AD203B41FA5}">
                      <a16:colId xmlns:a16="http://schemas.microsoft.com/office/drawing/2014/main" val="2603831262"/>
                    </a:ext>
                  </a:extLst>
                </a:gridCol>
                <a:gridCol w="2412000">
                  <a:extLst>
                    <a:ext uri="{9D8B030D-6E8A-4147-A177-3AD203B41FA5}">
                      <a16:colId xmlns:a16="http://schemas.microsoft.com/office/drawing/2014/main" val="370197980"/>
                    </a:ext>
                  </a:extLst>
                </a:gridCol>
                <a:gridCol w="2412000">
                  <a:extLst>
                    <a:ext uri="{9D8B030D-6E8A-4147-A177-3AD203B41FA5}">
                      <a16:colId xmlns:a16="http://schemas.microsoft.com/office/drawing/2014/main" val="3835934041"/>
                    </a:ext>
                  </a:extLst>
                </a:gridCol>
                <a:gridCol w="2412000">
                  <a:extLst>
                    <a:ext uri="{9D8B030D-6E8A-4147-A177-3AD203B41FA5}">
                      <a16:colId xmlns:a16="http://schemas.microsoft.com/office/drawing/2014/main" val="186661011"/>
                    </a:ext>
                  </a:extLst>
                </a:gridCol>
                <a:gridCol w="2412000">
                  <a:extLst>
                    <a:ext uri="{9D8B030D-6E8A-4147-A177-3AD203B41FA5}">
                      <a16:colId xmlns:a16="http://schemas.microsoft.com/office/drawing/2014/main" val="2748633623"/>
                    </a:ext>
                  </a:extLst>
                </a:gridCol>
              </a:tblGrid>
              <a:tr h="303348">
                <a:tc>
                  <a:txBody>
                    <a:bodyPr/>
                    <a:lstStyle/>
                    <a:p>
                      <a:pPr algn="ctr" rtl="0"/>
                      <a:endParaRPr lang="nl-NL" sz="1200" b="1" kern="1200" dirty="0">
                        <a:solidFill>
                          <a:srgbClr val="FFFFFF"/>
                        </a:solidFill>
                        <a:latin typeface="+mn-lt"/>
                        <a:ea typeface="+mn-ea"/>
                        <a:cs typeface="+mn-cs"/>
                      </a:endParaRPr>
                    </a:p>
                  </a:txBody>
                  <a:tcPr anchor="ctr">
                    <a:lnL w="9525" cap="flat" cmpd="sng" algn="ctr">
                      <a:solidFill>
                        <a:schemeClr val="tx2"/>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rtl="0"/>
                      <a:r>
                        <a:rPr lang="en-GB" sz="1200" b="1" dirty="0">
                          <a:solidFill>
                            <a:srgbClr val="FFFFFF"/>
                          </a:solidFill>
                        </a:rPr>
                        <a:t>B</a:t>
                      </a:r>
                      <a:r>
                        <a:rPr lang="nl-NL" sz="1200" b="1" dirty="0">
                          <a:solidFill>
                            <a:srgbClr val="FFFFFF"/>
                          </a:solidFill>
                        </a:rPr>
                        <a:t>eschrijving</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tc>
                  <a:txBody>
                    <a:bodyPr/>
                    <a:lstStyle/>
                    <a:p>
                      <a:pPr algn="ctr" rtl="0"/>
                      <a:r>
                        <a:rPr lang="nl-NL" sz="1200" b="1" dirty="0">
                          <a:solidFill>
                            <a:srgbClr val="FFFFFF"/>
                          </a:solidFill>
                        </a:rPr>
                        <a:t>Opbrengste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tc>
                  <a:txBody>
                    <a:bodyPr/>
                    <a:lstStyle/>
                    <a:p>
                      <a:pPr algn="ctr" rtl="0"/>
                      <a:r>
                        <a:rPr lang="nl-NL" sz="1200" b="1" dirty="0">
                          <a:solidFill>
                            <a:srgbClr val="FFFFFF"/>
                          </a:solidFill>
                        </a:rPr>
                        <a:t>Koste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tc>
                  <a:txBody>
                    <a:bodyPr/>
                    <a:lstStyle/>
                    <a:p>
                      <a:pPr algn="ctr" rtl="0"/>
                      <a:r>
                        <a:rPr lang="nl-NL" sz="1200" b="1" dirty="0">
                          <a:solidFill>
                            <a:srgbClr val="FFFFFF"/>
                          </a:solidFill>
                        </a:rPr>
                        <a:t>Risico’s</a:t>
                      </a:r>
                    </a:p>
                  </a:txBody>
                  <a:tcPr anchor="ctr">
                    <a:lnL w="9525" cap="flat" cmpd="sng" algn="ctr">
                      <a:solidFill>
                        <a:schemeClr val="bg1"/>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extLst>
                  <a:ext uri="{0D108BD9-81ED-4DB2-BD59-A6C34878D82A}">
                    <a16:rowId xmlns:a16="http://schemas.microsoft.com/office/drawing/2014/main" val="2609853325"/>
                  </a:ext>
                </a:extLst>
              </a:tr>
              <a:tr h="1944000">
                <a:tc>
                  <a:txBody>
                    <a:bodyPr/>
                    <a:lstStyle/>
                    <a:p>
                      <a:pPr algn="ctr" rtl="0"/>
                      <a:r>
                        <a:rPr lang="nl-NL" sz="1200" b="1" dirty="0">
                          <a:solidFill>
                            <a:srgbClr val="000000"/>
                          </a:solidFill>
                        </a:rPr>
                        <a:t>Gemeente zonder regiecentrale</a:t>
                      </a: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chemeClr val="accent6"/>
                    </a:solidFill>
                  </a:tcPr>
                </a:tc>
                <a:tc>
                  <a:txBody>
                    <a:bodyPr/>
                    <a:lstStyle/>
                    <a:p>
                      <a:pPr rtl="0"/>
                      <a:r>
                        <a:rPr lang="nl-NL" sz="1200" b="0" dirty="0">
                          <a:solidFill>
                            <a:srgbClr val="000000"/>
                          </a:solidFill>
                        </a:rPr>
                        <a:t>Gemiddelde gemeente zonder regiecentrale neemt zelf de ritten aan, maar legt de planning en boekingsproces bij de verschillende gecontracteerde vervoerders neer. </a:t>
                      </a: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r>
                        <a:rPr lang="nl-NL" sz="1200" dirty="0">
                          <a:solidFill>
                            <a:srgbClr val="000000"/>
                          </a:solidFill>
                        </a:rPr>
                        <a:t>x% efficientieverhoging / jr.</a:t>
                      </a: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r>
                        <a:rPr lang="nl-NL" sz="1200" dirty="0">
                          <a:solidFill>
                            <a:srgbClr val="000000"/>
                          </a:solidFill>
                        </a:rPr>
                        <a:t>Contactcentrum binnen de gemeente kost gem. </a:t>
                      </a:r>
                      <a:r>
                        <a:rPr lang="nl-NL" sz="1200">
                          <a:solidFill>
                            <a:srgbClr val="000000"/>
                          </a:solidFill>
                        </a:rPr>
                        <a:t>x </a:t>
                      </a:r>
                      <a:r>
                        <a:rPr lang="en-NL" sz="1200">
                          <a:solidFill>
                            <a:srgbClr val="000000"/>
                          </a:solidFill>
                        </a:rPr>
                        <a:t>FTE</a:t>
                      </a:r>
                      <a:endParaRPr lang="nl-NL" sz="1200" dirty="0">
                        <a:solidFill>
                          <a:srgbClr val="000000"/>
                        </a:solidFill>
                      </a:endParaRPr>
                    </a:p>
                    <a:p>
                      <a:pPr marL="171450" indent="-171450" rtl="0">
                        <a:buClr>
                          <a:schemeClr val="bg1"/>
                        </a:buClr>
                        <a:buFont typeface="Wingdings" panose="05000000000000000000" pitchFamily="2" charset="2"/>
                        <a:buChar char="§"/>
                      </a:pPr>
                      <a:r>
                        <a:rPr lang="nl-NL" sz="1200" dirty="0">
                          <a:solidFill>
                            <a:srgbClr val="000000"/>
                          </a:solidFill>
                        </a:rPr>
                        <a:t>y%- z% overheadkosten bij elke gecontracteerde vervoerder</a:t>
                      </a: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r>
                        <a:rPr lang="nl-NL" sz="1200" dirty="0">
                          <a:solidFill>
                            <a:srgbClr val="000000"/>
                          </a:solidFill>
                        </a:rPr>
                        <a:t>Doelgroepenvervoer blijft verzuild, zowel in de aansturing vanuit de gemeente als in de uitvoering en service naar reizigers</a:t>
                      </a: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1800294847"/>
                  </a:ext>
                </a:extLst>
              </a:tr>
              <a:tr h="1944000">
                <a:tc>
                  <a:txBody>
                    <a:bodyPr/>
                    <a:lstStyle/>
                    <a:p>
                      <a:pPr algn="ctr" rtl="0"/>
                      <a:r>
                        <a:rPr lang="nl-NL" sz="1200" b="1" noProof="0" dirty="0">
                          <a:solidFill>
                            <a:srgbClr val="000000"/>
                          </a:solidFill>
                        </a:rPr>
                        <a:t>Gemeente met regiecentrale</a:t>
                      </a: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rtl="0"/>
                      <a:r>
                        <a:rPr lang="nl-NL" sz="1200" b="0" dirty="0">
                          <a:solidFill>
                            <a:srgbClr val="000000"/>
                          </a:solidFill>
                        </a:rPr>
                        <a:t>Gemeente neemt een regiecentrale in de arm die boekingsproces en planning verzorgt.</a:t>
                      </a: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r>
                        <a:rPr lang="nl-NL" sz="1200" dirty="0">
                          <a:solidFill>
                            <a:srgbClr val="000000"/>
                          </a:solidFill>
                        </a:rPr>
                        <a:t>x% efficiëntieverhoging/jr.</a:t>
                      </a:r>
                    </a:p>
                    <a:p>
                      <a:pPr marL="171450" indent="-171450" rtl="0">
                        <a:buClr>
                          <a:schemeClr val="bg1"/>
                        </a:buClr>
                        <a:buFont typeface="Wingdings" panose="05000000000000000000" pitchFamily="2" charset="2"/>
                        <a:buChar char="§"/>
                      </a:pPr>
                      <a:r>
                        <a:rPr lang="nl-NL" sz="1200" dirty="0">
                          <a:solidFill>
                            <a:srgbClr val="000000"/>
                          </a:solidFill>
                        </a:rPr>
                        <a:t>y% meer verschuiving naar OV</a:t>
                      </a:r>
                    </a:p>
                    <a:p>
                      <a:pPr marL="171450" indent="-171450" rtl="0">
                        <a:buClr>
                          <a:schemeClr val="bg1"/>
                        </a:buClr>
                        <a:buFont typeface="Wingdings" panose="05000000000000000000" pitchFamily="2" charset="2"/>
                        <a:buChar char="§"/>
                      </a:pPr>
                      <a:r>
                        <a:rPr lang="nl-NL" sz="1200" dirty="0">
                          <a:solidFill>
                            <a:srgbClr val="000000"/>
                          </a:solidFill>
                        </a:rPr>
                        <a:t>z% kostenbesparing</a:t>
                      </a: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r>
                        <a:rPr lang="nl-NL" sz="1200" dirty="0">
                          <a:solidFill>
                            <a:srgbClr val="000000"/>
                          </a:solidFill>
                        </a:rPr>
                        <a:t>Regiecentrale kost gem. x fte</a:t>
                      </a:r>
                    </a:p>
                    <a:p>
                      <a:pPr marL="171450" indent="-171450" rtl="0">
                        <a:buClr>
                          <a:schemeClr val="bg1"/>
                        </a:buClr>
                        <a:buFont typeface="Wingdings" panose="05000000000000000000" pitchFamily="2" charset="2"/>
                        <a:buChar char="§"/>
                      </a:pPr>
                      <a:r>
                        <a:rPr lang="nl-NL" sz="1200" dirty="0">
                          <a:solidFill>
                            <a:srgbClr val="000000"/>
                          </a:solidFill>
                        </a:rPr>
                        <a:t>y% - z% overheadkosten bij elke gecontracteerde vervoerder</a:t>
                      </a: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r>
                        <a:rPr lang="nl-NL" sz="1200" dirty="0">
                          <a:solidFill>
                            <a:srgbClr val="000000"/>
                          </a:solidFill>
                        </a:rPr>
                        <a:t>Financiële gevolgen zijn niet goed in te schatten; hogere overheadskosten zijn een risico</a:t>
                      </a:r>
                    </a:p>
                    <a:p>
                      <a:pPr marL="171450" indent="-171450" rtl="0">
                        <a:buClr>
                          <a:schemeClr val="bg1"/>
                        </a:buClr>
                        <a:buFont typeface="Wingdings" panose="05000000000000000000" pitchFamily="2" charset="2"/>
                        <a:buChar char="§"/>
                      </a:pPr>
                      <a:r>
                        <a:rPr lang="nl-NL" sz="1200" dirty="0">
                          <a:solidFill>
                            <a:srgbClr val="000000"/>
                          </a:solidFill>
                        </a:rPr>
                        <a:t>Beleggen van ritplanning en</a:t>
                      </a:r>
                      <a:br>
                        <a:rPr lang="nl-NL" sz="1200" dirty="0">
                          <a:solidFill>
                            <a:srgbClr val="000000"/>
                          </a:solidFill>
                        </a:rPr>
                      </a:br>
                      <a:r>
                        <a:rPr lang="nl-NL" sz="1200" dirty="0">
                          <a:solidFill>
                            <a:srgbClr val="000000"/>
                          </a:solidFill>
                        </a:rPr>
                        <a:t>-boeking bij een speler maakt gemeente sterk afhankelijk</a:t>
                      </a:r>
                    </a:p>
                    <a:p>
                      <a:pPr marL="171450" indent="-171450" rtl="0">
                        <a:buClr>
                          <a:schemeClr val="bg1"/>
                        </a:buClr>
                        <a:buFont typeface="Wingdings" panose="05000000000000000000" pitchFamily="2" charset="2"/>
                        <a:buChar char="§"/>
                      </a:pPr>
                      <a:r>
                        <a:rPr lang="nl-NL" sz="1200" dirty="0">
                          <a:solidFill>
                            <a:srgbClr val="000000"/>
                          </a:solidFill>
                        </a:rPr>
                        <a:t>Verhogen van efficiëntie hangt af van in hoeverre gemeente ritten kan bundelen. Dit is niet altijd mogelijk in de praktijk.</a:t>
                      </a: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1953406653"/>
                  </a:ext>
                </a:extLst>
              </a:tr>
            </a:tbl>
          </a:graphicData>
        </a:graphic>
      </p:graphicFrame>
      <p:sp>
        <p:nvSpPr>
          <p:cNvPr id="5" name="Footer Placeholder 4">
            <a:extLst>
              <a:ext uri="{FF2B5EF4-FFF2-40B4-BE49-F238E27FC236}">
                <a16:creationId xmlns:a16="http://schemas.microsoft.com/office/drawing/2014/main" id="{27935B89-953B-425D-BAFA-529FC617A425}"/>
              </a:ext>
            </a:extLst>
          </p:cNvPr>
          <p:cNvSpPr>
            <a:spLocks noGrp="1"/>
          </p:cNvSpPr>
          <p:nvPr>
            <p:ph type="ftr" sz="quarter" idx="3"/>
          </p:nvPr>
        </p:nvSpPr>
        <p:spPr/>
        <p:txBody>
          <a:bodyPr/>
          <a:lstStyle/>
          <a:p>
            <a:r>
              <a:rPr lang="nl-NL" dirty="0"/>
              <a:t>Bron: KpVV CROW,  ‘Regiecentrale: wat is het en hoe werkt het?’ (datum onbekend); Boersma Management en Advies, ‘Evaluatie Valleihopper’ (4 okt. 2018)</a:t>
            </a:r>
          </a:p>
        </p:txBody>
      </p:sp>
      <p:sp>
        <p:nvSpPr>
          <p:cNvPr id="6" name="Slide Number Placeholder 5">
            <a:extLst>
              <a:ext uri="{FF2B5EF4-FFF2-40B4-BE49-F238E27FC236}">
                <a16:creationId xmlns:a16="http://schemas.microsoft.com/office/drawing/2014/main" id="{A949A009-6191-4C42-B3A4-C7AF5E5C50B6}"/>
              </a:ext>
            </a:extLst>
          </p:cNvPr>
          <p:cNvSpPr>
            <a:spLocks noGrp="1"/>
          </p:cNvSpPr>
          <p:nvPr>
            <p:ph type="sldNum" sz="quarter" idx="12"/>
          </p:nvPr>
        </p:nvSpPr>
        <p:spPr/>
        <p:txBody>
          <a:bodyPr/>
          <a:lstStyle/>
          <a:p>
            <a:fld id="{992CD0B2-8AB2-4C6C-8876-E15753662C9B}" type="slidenum">
              <a:rPr lang="nl-NL" smtClean="0"/>
              <a:pPr/>
              <a:t>23</a:t>
            </a:fld>
            <a:endParaRPr lang="nl-NL" dirty="0"/>
          </a:p>
        </p:txBody>
      </p:sp>
      <p:sp>
        <p:nvSpPr>
          <p:cNvPr id="10" name="Title 7">
            <a:extLst>
              <a:ext uri="{FF2B5EF4-FFF2-40B4-BE49-F238E27FC236}">
                <a16:creationId xmlns:a16="http://schemas.microsoft.com/office/drawing/2014/main" id="{013A6E8F-0231-4D7C-A2D6-33A275D42F03}"/>
              </a:ext>
            </a:extLst>
          </p:cNvPr>
          <p:cNvSpPr>
            <a:spLocks noGrp="1"/>
          </p:cNvSpPr>
          <p:nvPr>
            <p:ph type="title"/>
          </p:nvPr>
        </p:nvSpPr>
        <p:spPr>
          <a:xfrm>
            <a:off x="-1" y="265387"/>
            <a:ext cx="12192001" cy="942979"/>
          </a:xfrm>
          <a:solidFill>
            <a:srgbClr val="22777B"/>
          </a:solidFill>
        </p:spPr>
        <p:txBody>
          <a:bodyPr vert="horz" anchor="ctr"/>
          <a:lstStyle/>
          <a:p>
            <a:r>
              <a:rPr lang="nl-NL" dirty="0">
                <a:solidFill>
                  <a:srgbClr val="FFFFFF"/>
                </a:solidFill>
              </a:rPr>
              <a:t>	</a:t>
            </a:r>
          </a:p>
        </p:txBody>
      </p:sp>
      <p:sp>
        <p:nvSpPr>
          <p:cNvPr id="11" name="TextBox 10">
            <a:extLst>
              <a:ext uri="{FF2B5EF4-FFF2-40B4-BE49-F238E27FC236}">
                <a16:creationId xmlns:a16="http://schemas.microsoft.com/office/drawing/2014/main" id="{2EECFA09-3D80-4939-95AF-A5F573A36AE8}"/>
              </a:ext>
            </a:extLst>
          </p:cNvPr>
          <p:cNvSpPr txBox="1"/>
          <p:nvPr/>
        </p:nvSpPr>
        <p:spPr>
          <a:xfrm>
            <a:off x="658813" y="274425"/>
            <a:ext cx="6724448" cy="230832"/>
          </a:xfrm>
          <a:prstGeom prst="rect">
            <a:avLst/>
          </a:prstGeom>
          <a:noFill/>
        </p:spPr>
        <p:txBody>
          <a:bodyPr wrap="square">
            <a:spAutoFit/>
          </a:bodyPr>
          <a:lstStyle/>
          <a:p>
            <a:pPr marL="0" indent="0">
              <a:buNone/>
            </a:pPr>
            <a:r>
              <a:rPr lang="nl-NL" sz="1000" b="1" dirty="0">
                <a:solidFill>
                  <a:srgbClr val="FFFFFF"/>
                </a:solidFill>
              </a:rPr>
              <a:t>Inrichten regiecentrale</a:t>
            </a:r>
          </a:p>
        </p:txBody>
      </p:sp>
      <p:sp>
        <p:nvSpPr>
          <p:cNvPr id="12" name="TextBox 11">
            <a:extLst>
              <a:ext uri="{FF2B5EF4-FFF2-40B4-BE49-F238E27FC236}">
                <a16:creationId xmlns:a16="http://schemas.microsoft.com/office/drawing/2014/main" id="{51D62F37-8103-498E-87A3-E7901C31CF1E}"/>
              </a:ext>
            </a:extLst>
          </p:cNvPr>
          <p:cNvSpPr txBox="1"/>
          <p:nvPr/>
        </p:nvSpPr>
        <p:spPr>
          <a:xfrm>
            <a:off x="658813" y="451367"/>
            <a:ext cx="10921582" cy="757130"/>
          </a:xfrm>
          <a:prstGeom prst="rect">
            <a:avLst/>
          </a:prstGeom>
          <a:noFill/>
        </p:spPr>
        <p:txBody>
          <a:bodyPr wrap="square" anchor="ctr">
            <a:spAutoFit/>
          </a:bodyPr>
          <a:lstStyle/>
          <a:p>
            <a:pPr marL="0" indent="0">
              <a:buNone/>
            </a:pPr>
            <a:r>
              <a:rPr lang="en-NL" sz="2400" b="1">
                <a:solidFill>
                  <a:srgbClr val="FFFFFF"/>
                </a:solidFill>
              </a:rPr>
              <a:t>Door</a:t>
            </a:r>
            <a:r>
              <a:rPr lang="nl-NL" sz="2400" b="1">
                <a:solidFill>
                  <a:srgbClr val="FFFFFF"/>
                </a:solidFill>
              </a:rPr>
              <a:t> </a:t>
            </a:r>
            <a:r>
              <a:rPr lang="nl-NL" sz="2400" b="1" dirty="0">
                <a:solidFill>
                  <a:srgbClr val="FFFFFF"/>
                </a:solidFill>
              </a:rPr>
              <a:t>een business </a:t>
            </a:r>
            <a:r>
              <a:rPr lang="nl-NL" sz="2400" b="1">
                <a:solidFill>
                  <a:srgbClr val="FFFFFF"/>
                </a:solidFill>
              </a:rPr>
              <a:t>case </a:t>
            </a:r>
            <a:r>
              <a:rPr lang="en-NL" sz="2400" b="1">
                <a:solidFill>
                  <a:srgbClr val="FFFFFF"/>
                </a:solidFill>
              </a:rPr>
              <a:t>op te stellen worden</a:t>
            </a:r>
            <a:r>
              <a:rPr lang="nl-NL" sz="2400" b="1">
                <a:solidFill>
                  <a:srgbClr val="FFFFFF"/>
                </a:solidFill>
              </a:rPr>
              <a:t> </a:t>
            </a:r>
            <a:r>
              <a:rPr lang="nl-NL" sz="2400" b="1" dirty="0">
                <a:solidFill>
                  <a:srgbClr val="FFFFFF"/>
                </a:solidFill>
              </a:rPr>
              <a:t>de voor- en nadelen van een </a:t>
            </a:r>
            <a:r>
              <a:rPr lang="nl-NL" sz="2400" b="1">
                <a:solidFill>
                  <a:srgbClr val="FFFFFF"/>
                </a:solidFill>
              </a:rPr>
              <a:t>regiecentrale gekwantificeer</a:t>
            </a:r>
            <a:r>
              <a:rPr lang="en-NL" sz="2400" b="1">
                <a:solidFill>
                  <a:srgbClr val="FFFFFF"/>
                </a:solidFill>
              </a:rPr>
              <a:t>d om tot een onderbouwd besluit te komen</a:t>
            </a:r>
            <a:endParaRPr lang="nl-NL" sz="2400" b="1" dirty="0"/>
          </a:p>
        </p:txBody>
      </p:sp>
      <p:grpSp>
        <p:nvGrpSpPr>
          <p:cNvPr id="13" name="Group 12">
            <a:extLst>
              <a:ext uri="{FF2B5EF4-FFF2-40B4-BE49-F238E27FC236}">
                <a16:creationId xmlns:a16="http://schemas.microsoft.com/office/drawing/2014/main" id="{71A36812-F4AC-49CC-A31B-378794FE6921}"/>
              </a:ext>
            </a:extLst>
          </p:cNvPr>
          <p:cNvGrpSpPr/>
          <p:nvPr/>
        </p:nvGrpSpPr>
        <p:grpSpPr>
          <a:xfrm>
            <a:off x="701659" y="55733"/>
            <a:ext cx="2040807" cy="176387"/>
            <a:chOff x="701659" y="55733"/>
            <a:chExt cx="2040807" cy="176387"/>
          </a:xfrm>
        </p:grpSpPr>
        <p:sp>
          <p:nvSpPr>
            <p:cNvPr id="14" name="Rectangle: Rounded Corners 13">
              <a:extLst>
                <a:ext uri="{FF2B5EF4-FFF2-40B4-BE49-F238E27FC236}">
                  <a16:creationId xmlns:a16="http://schemas.microsoft.com/office/drawing/2014/main" id="{36F75B3C-9C06-4554-8142-C5D89C3D0699}"/>
                </a:ext>
              </a:extLst>
            </p:cNvPr>
            <p:cNvSpPr/>
            <p:nvPr/>
          </p:nvSpPr>
          <p:spPr>
            <a:xfrm>
              <a:off x="93125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a:t>
              </a:r>
            </a:p>
          </p:txBody>
        </p:sp>
        <p:sp>
          <p:nvSpPr>
            <p:cNvPr id="15" name="Rectangle: Rounded Corners 14">
              <a:extLst>
                <a:ext uri="{FF2B5EF4-FFF2-40B4-BE49-F238E27FC236}">
                  <a16:creationId xmlns:a16="http://schemas.microsoft.com/office/drawing/2014/main" id="{804B00A9-55F5-4EEF-B500-744C87942D1E}"/>
                </a:ext>
              </a:extLst>
            </p:cNvPr>
            <p:cNvSpPr/>
            <p:nvPr/>
          </p:nvSpPr>
          <p:spPr>
            <a:xfrm>
              <a:off x="116084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2</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6" name="Rectangle: Rounded Corners 15">
              <a:extLst>
                <a:ext uri="{FF2B5EF4-FFF2-40B4-BE49-F238E27FC236}">
                  <a16:creationId xmlns:a16="http://schemas.microsoft.com/office/drawing/2014/main" id="{543F8926-C572-4510-B4AF-ABD5177D3D8E}"/>
                </a:ext>
              </a:extLst>
            </p:cNvPr>
            <p:cNvSpPr/>
            <p:nvPr/>
          </p:nvSpPr>
          <p:spPr>
            <a:xfrm>
              <a:off x="1390441"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3</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7" name="Rectangle: Rounded Corners 16">
              <a:extLst>
                <a:ext uri="{FF2B5EF4-FFF2-40B4-BE49-F238E27FC236}">
                  <a16:creationId xmlns:a16="http://schemas.microsoft.com/office/drawing/2014/main" id="{2E14CE7A-AE3F-42BA-9FD1-F29A3858D9BF}"/>
                </a:ext>
              </a:extLst>
            </p:cNvPr>
            <p:cNvSpPr/>
            <p:nvPr/>
          </p:nvSpPr>
          <p:spPr>
            <a:xfrm>
              <a:off x="1620035"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4</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8" name="Rectangle: Rounded Corners 17">
              <a:extLst>
                <a:ext uri="{FF2B5EF4-FFF2-40B4-BE49-F238E27FC236}">
                  <a16:creationId xmlns:a16="http://schemas.microsoft.com/office/drawing/2014/main" id="{B92733D2-8728-48DC-9D8F-D4F8EE5E6DE2}"/>
                </a:ext>
              </a:extLst>
            </p:cNvPr>
            <p:cNvSpPr/>
            <p:nvPr/>
          </p:nvSpPr>
          <p:spPr>
            <a:xfrm>
              <a:off x="184962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5</a:t>
              </a:r>
            </a:p>
          </p:txBody>
        </p:sp>
        <p:sp>
          <p:nvSpPr>
            <p:cNvPr id="19" name="Rectangle: Rounded Corners 18">
              <a:extLst>
                <a:ext uri="{FF2B5EF4-FFF2-40B4-BE49-F238E27FC236}">
                  <a16:creationId xmlns:a16="http://schemas.microsoft.com/office/drawing/2014/main" id="{4D97D5C6-6570-49B4-BDCC-A53A2240417C}"/>
                </a:ext>
              </a:extLst>
            </p:cNvPr>
            <p:cNvSpPr/>
            <p:nvPr/>
          </p:nvSpPr>
          <p:spPr>
            <a:xfrm>
              <a:off x="2079223" y="55733"/>
              <a:ext cx="204053" cy="176387"/>
            </a:xfrm>
            <a:prstGeom prst="roundRect">
              <a:avLst/>
            </a:prstGeom>
            <a:solidFill>
              <a:srgbClr val="EC6224"/>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6</a:t>
              </a:r>
            </a:p>
          </p:txBody>
        </p:sp>
        <p:sp>
          <p:nvSpPr>
            <p:cNvPr id="20" name="Rectangle: Rounded Corners 19">
              <a:extLst>
                <a:ext uri="{FF2B5EF4-FFF2-40B4-BE49-F238E27FC236}">
                  <a16:creationId xmlns:a16="http://schemas.microsoft.com/office/drawing/2014/main" id="{5D65654E-7EBE-4125-9733-2542E71BFFC0}"/>
                </a:ext>
              </a:extLst>
            </p:cNvPr>
            <p:cNvSpPr/>
            <p:nvPr/>
          </p:nvSpPr>
          <p:spPr>
            <a:xfrm>
              <a:off x="230881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7</a:t>
              </a:r>
            </a:p>
          </p:txBody>
        </p:sp>
        <p:sp>
          <p:nvSpPr>
            <p:cNvPr id="21" name="Rectangle: Rounded Corners 20">
              <a:extLst>
                <a:ext uri="{FF2B5EF4-FFF2-40B4-BE49-F238E27FC236}">
                  <a16:creationId xmlns:a16="http://schemas.microsoft.com/office/drawing/2014/main" id="{1181A9C7-E3D6-42FF-A389-00936BF1DDED}"/>
                </a:ext>
              </a:extLst>
            </p:cNvPr>
            <p:cNvSpPr/>
            <p:nvPr/>
          </p:nvSpPr>
          <p:spPr>
            <a:xfrm>
              <a:off x="253841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8</a:t>
              </a:r>
            </a:p>
          </p:txBody>
        </p:sp>
        <p:grpSp>
          <p:nvGrpSpPr>
            <p:cNvPr id="22" name="Group 21">
              <a:extLst>
                <a:ext uri="{FF2B5EF4-FFF2-40B4-BE49-F238E27FC236}">
                  <a16:creationId xmlns:a16="http://schemas.microsoft.com/office/drawing/2014/main" id="{CD3869F0-623D-40E4-9E5E-876E3420AEA9}"/>
                </a:ext>
              </a:extLst>
            </p:cNvPr>
            <p:cNvGrpSpPr/>
            <p:nvPr/>
          </p:nvGrpSpPr>
          <p:grpSpPr>
            <a:xfrm>
              <a:off x="701659" y="55733"/>
              <a:ext cx="204053" cy="176387"/>
              <a:chOff x="701659" y="55733"/>
              <a:chExt cx="204053" cy="176387"/>
            </a:xfrm>
          </p:grpSpPr>
          <p:sp>
            <p:nvSpPr>
              <p:cNvPr id="23" name="Rectangle: Rounded Corners 22">
                <a:extLst>
                  <a:ext uri="{FF2B5EF4-FFF2-40B4-BE49-F238E27FC236}">
                    <a16:creationId xmlns:a16="http://schemas.microsoft.com/office/drawing/2014/main" id="{75CBF581-1F0D-4C24-A9CD-FB723829C7C3}"/>
                  </a:ext>
                </a:extLst>
              </p:cNvPr>
              <p:cNvSpPr/>
              <p:nvPr/>
            </p:nvSpPr>
            <p:spPr>
              <a:xfrm>
                <a:off x="70165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24" name="Graphic 23" descr="Home with solid fill">
                <a:hlinkClick r:id="rId7" action="ppaction://hlinksldjump"/>
                <a:extLst>
                  <a:ext uri="{FF2B5EF4-FFF2-40B4-BE49-F238E27FC236}">
                    <a16:creationId xmlns:a16="http://schemas.microsoft.com/office/drawing/2014/main" id="{742882C5-033A-4BAC-A39C-B5F02781D1F1}"/>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34263" y="63707"/>
                <a:ext cx="136149" cy="136149"/>
              </a:xfrm>
              <a:prstGeom prst="rect">
                <a:avLst/>
              </a:prstGeom>
            </p:spPr>
          </p:pic>
        </p:grpSp>
      </p:grpSp>
      <p:pic>
        <p:nvPicPr>
          <p:cNvPr id="3" name="Graphic 2" descr="Badge Unfollow with solid fill">
            <a:extLst>
              <a:ext uri="{FF2B5EF4-FFF2-40B4-BE49-F238E27FC236}">
                <a16:creationId xmlns:a16="http://schemas.microsoft.com/office/drawing/2014/main" id="{7B1415C1-8E0F-4A95-97D5-0AB93DC2213E}"/>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742309" y="3034606"/>
            <a:ext cx="194400" cy="194400"/>
          </a:xfrm>
          <a:prstGeom prst="rect">
            <a:avLst/>
          </a:prstGeom>
        </p:spPr>
      </p:pic>
      <p:pic>
        <p:nvPicPr>
          <p:cNvPr id="8" name="Graphic 7" descr="Badge Follow with solid fill">
            <a:extLst>
              <a:ext uri="{FF2B5EF4-FFF2-40B4-BE49-F238E27FC236}">
                <a16:creationId xmlns:a16="http://schemas.microsoft.com/office/drawing/2014/main" id="{EE134556-BBD4-45B9-BCAF-075DAAF7A69F}"/>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313674" y="3304762"/>
            <a:ext cx="193442" cy="193442"/>
          </a:xfrm>
          <a:prstGeom prst="rect">
            <a:avLst/>
          </a:prstGeom>
        </p:spPr>
      </p:pic>
      <p:pic>
        <p:nvPicPr>
          <p:cNvPr id="48" name="Graphic 47" descr="Badge Unfollow with solid fill">
            <a:extLst>
              <a:ext uri="{FF2B5EF4-FFF2-40B4-BE49-F238E27FC236}">
                <a16:creationId xmlns:a16="http://schemas.microsoft.com/office/drawing/2014/main" id="{EFD5FBAB-EC74-40FE-BA5A-5F94CD6626C0}"/>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742309" y="3385467"/>
            <a:ext cx="194400" cy="194400"/>
          </a:xfrm>
          <a:prstGeom prst="rect">
            <a:avLst/>
          </a:prstGeom>
        </p:spPr>
      </p:pic>
      <p:pic>
        <p:nvPicPr>
          <p:cNvPr id="49" name="Graphic 48" descr="Badge Follow with solid fill">
            <a:extLst>
              <a:ext uri="{FF2B5EF4-FFF2-40B4-BE49-F238E27FC236}">
                <a16:creationId xmlns:a16="http://schemas.microsoft.com/office/drawing/2014/main" id="{4A9702C9-D43D-43B7-8336-D0F1EFBC8667}"/>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313674" y="5237228"/>
            <a:ext cx="193442" cy="193442"/>
          </a:xfrm>
          <a:prstGeom prst="rect">
            <a:avLst/>
          </a:prstGeom>
        </p:spPr>
      </p:pic>
      <p:pic>
        <p:nvPicPr>
          <p:cNvPr id="50" name="Graphic 49" descr="Badge Follow with solid fill">
            <a:extLst>
              <a:ext uri="{FF2B5EF4-FFF2-40B4-BE49-F238E27FC236}">
                <a16:creationId xmlns:a16="http://schemas.microsoft.com/office/drawing/2014/main" id="{4CF7FE2A-906E-4FE4-92CD-DEF421DD1D26}"/>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313674" y="5430670"/>
            <a:ext cx="193442" cy="193442"/>
          </a:xfrm>
          <a:prstGeom prst="rect">
            <a:avLst/>
          </a:prstGeom>
        </p:spPr>
      </p:pic>
      <p:pic>
        <p:nvPicPr>
          <p:cNvPr id="51" name="Graphic 50" descr="Badge Unfollow with solid fill">
            <a:extLst>
              <a:ext uri="{FF2B5EF4-FFF2-40B4-BE49-F238E27FC236}">
                <a16:creationId xmlns:a16="http://schemas.microsoft.com/office/drawing/2014/main" id="{6BBCA34C-9934-4FFB-B841-561DA432CC9D}"/>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742309" y="5051260"/>
            <a:ext cx="194400" cy="194400"/>
          </a:xfrm>
          <a:prstGeom prst="rect">
            <a:avLst/>
          </a:prstGeom>
        </p:spPr>
      </p:pic>
      <p:pic>
        <p:nvPicPr>
          <p:cNvPr id="52" name="Graphic 51" descr="Badge Unfollow with solid fill">
            <a:extLst>
              <a:ext uri="{FF2B5EF4-FFF2-40B4-BE49-F238E27FC236}">
                <a16:creationId xmlns:a16="http://schemas.microsoft.com/office/drawing/2014/main" id="{5AD16156-359C-4F3A-B87F-972E013D55A3}"/>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742309" y="5245660"/>
            <a:ext cx="194400" cy="194400"/>
          </a:xfrm>
          <a:prstGeom prst="rect">
            <a:avLst/>
          </a:prstGeom>
        </p:spPr>
      </p:pic>
      <p:pic>
        <p:nvPicPr>
          <p:cNvPr id="34" name="Graphic 33" descr="Badge Follow with solid fill">
            <a:extLst>
              <a:ext uri="{FF2B5EF4-FFF2-40B4-BE49-F238E27FC236}">
                <a16:creationId xmlns:a16="http://schemas.microsoft.com/office/drawing/2014/main" id="{1B6FCCEB-A2A5-4B3F-AA85-3A7C8F207FB7}"/>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313674" y="5036317"/>
            <a:ext cx="193442" cy="193442"/>
          </a:xfrm>
          <a:prstGeom prst="rect">
            <a:avLst/>
          </a:prstGeom>
        </p:spPr>
      </p:pic>
      <p:pic>
        <p:nvPicPr>
          <p:cNvPr id="7" name="Graphic 6" descr="Warning with solid fill">
            <a:extLst>
              <a:ext uri="{FF2B5EF4-FFF2-40B4-BE49-F238E27FC236}">
                <a16:creationId xmlns:a16="http://schemas.microsoft.com/office/drawing/2014/main" id="{D2AAD9A6-0542-4EF7-BE4A-8F16803DAC4B}"/>
              </a:ext>
            </a:extLst>
          </p:cNvPr>
          <p:cNvPicPr>
            <a:picLocks noChangeAspect="1"/>
          </p:cNvPicPr>
          <p:nvPr/>
        </p:nvPicPr>
        <p:blipFill>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9138138" y="4380900"/>
            <a:ext cx="194400" cy="194400"/>
          </a:xfrm>
          <a:prstGeom prst="rect">
            <a:avLst/>
          </a:prstGeom>
        </p:spPr>
      </p:pic>
      <p:pic>
        <p:nvPicPr>
          <p:cNvPr id="37" name="Graphic 36" descr="Warning with solid fill">
            <a:extLst>
              <a:ext uri="{FF2B5EF4-FFF2-40B4-BE49-F238E27FC236}">
                <a16:creationId xmlns:a16="http://schemas.microsoft.com/office/drawing/2014/main" id="{8C5A3E43-8A63-4067-A1E0-87081D753F4C}"/>
              </a:ext>
            </a:extLst>
          </p:cNvPr>
          <p:cNvPicPr>
            <a:picLocks noChangeAspect="1"/>
          </p:cNvPicPr>
          <p:nvPr/>
        </p:nvPicPr>
        <p:blipFill>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9138138" y="4944269"/>
            <a:ext cx="194400" cy="194400"/>
          </a:xfrm>
          <a:prstGeom prst="rect">
            <a:avLst/>
          </a:prstGeom>
        </p:spPr>
      </p:pic>
      <p:pic>
        <p:nvPicPr>
          <p:cNvPr id="39" name="Graphic 38" descr="Warning with solid fill">
            <a:extLst>
              <a:ext uri="{FF2B5EF4-FFF2-40B4-BE49-F238E27FC236}">
                <a16:creationId xmlns:a16="http://schemas.microsoft.com/office/drawing/2014/main" id="{1A36117C-544A-49A6-B7E7-96EEC7B667EF}"/>
              </a:ext>
            </a:extLst>
          </p:cNvPr>
          <p:cNvPicPr>
            <a:picLocks noChangeAspect="1"/>
          </p:cNvPicPr>
          <p:nvPr/>
        </p:nvPicPr>
        <p:blipFill>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9138138" y="5496205"/>
            <a:ext cx="194400" cy="194400"/>
          </a:xfrm>
          <a:prstGeom prst="rect">
            <a:avLst/>
          </a:prstGeom>
        </p:spPr>
      </p:pic>
      <p:pic>
        <p:nvPicPr>
          <p:cNvPr id="38" name="Graphic 37" descr="Warning with solid fill">
            <a:extLst>
              <a:ext uri="{FF2B5EF4-FFF2-40B4-BE49-F238E27FC236}">
                <a16:creationId xmlns:a16="http://schemas.microsoft.com/office/drawing/2014/main" id="{AFDF02E1-D31D-4D91-8D90-B63AA7B817F6}"/>
              </a:ext>
            </a:extLst>
          </p:cNvPr>
          <p:cNvPicPr>
            <a:picLocks noChangeAspect="1"/>
          </p:cNvPicPr>
          <p:nvPr/>
        </p:nvPicPr>
        <p:blipFill>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9138138" y="2937406"/>
            <a:ext cx="194400" cy="194400"/>
          </a:xfrm>
          <a:prstGeom prst="rect">
            <a:avLst/>
          </a:prstGeom>
        </p:spPr>
      </p:pic>
      <p:sp>
        <p:nvSpPr>
          <p:cNvPr id="41" name="Rectangle 40">
            <a:extLst>
              <a:ext uri="{FF2B5EF4-FFF2-40B4-BE49-F238E27FC236}">
                <a16:creationId xmlns:a16="http://schemas.microsoft.com/office/drawing/2014/main" id="{C967444A-C4E5-4B83-9C25-4BAB245B85D1}"/>
              </a:ext>
            </a:extLst>
          </p:cNvPr>
          <p:cNvSpPr/>
          <p:nvPr/>
        </p:nvSpPr>
        <p:spPr>
          <a:xfrm>
            <a:off x="658813" y="1599838"/>
            <a:ext cx="10862621" cy="443531"/>
          </a:xfrm>
          <a:prstGeom prst="rect">
            <a:avLst/>
          </a:prstGeom>
          <a:solidFill>
            <a:srgbClr val="CFE3E6"/>
          </a:solidFill>
          <a:ln w="9525">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kumimoji="0" lang="nl-NL" sz="1200" i="0" u="none" strike="noStrike" kern="1200" cap="none" spc="0" normalizeH="0" baseline="0" noProof="0" dirty="0">
                <a:ln>
                  <a:noFill/>
                </a:ln>
                <a:effectLst/>
                <a:uLnTx/>
                <a:uFillTx/>
                <a:latin typeface="Corbel" panose="020B0503020204020204" pitchFamily="34" charset="0"/>
                <a:ea typeface="+mn-ea"/>
                <a:cs typeface="+mn-cs"/>
              </a:rPr>
              <a:t>Of met een regiecentrale winst valt te behalen t.o.v. de huidige situatie, kan berekend worden. Een business case kwantificeert de mogelijke opbrengsten en kosten in verschillende scenario’s en brengt daarbij de risico’s in kaart, zie het voorbeeld hieronder.</a:t>
            </a:r>
          </a:p>
        </p:txBody>
      </p:sp>
    </p:spTree>
    <p:extLst>
      <p:ext uri="{BB962C8B-B14F-4D97-AF65-F5344CB8AC3E}">
        <p14:creationId xmlns:p14="http://schemas.microsoft.com/office/powerpoint/2010/main" val="17383082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A7E2A55-853B-47A9-A999-76B509545684}"/>
              </a:ext>
            </a:extLst>
          </p:cNvPr>
          <p:cNvGraphicFramePr>
            <a:graphicFrameLocks noChangeAspect="1"/>
          </p:cNvGraphicFramePr>
          <p:nvPr>
            <p:custDataLst>
              <p:tags r:id="rId2"/>
            </p:custDataLst>
            <p:extLst>
              <p:ext uri="{D42A27DB-BD31-4B8C-83A1-F6EECF244321}">
                <p14:modId xmlns:p14="http://schemas.microsoft.com/office/powerpoint/2010/main" val="1253479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2"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DA7E2A55-853B-47A9-A999-76B5095456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6" name="Content Placeholder 2">
            <a:extLst>
              <a:ext uri="{FF2B5EF4-FFF2-40B4-BE49-F238E27FC236}">
                <a16:creationId xmlns:a16="http://schemas.microsoft.com/office/drawing/2014/main" id="{E7D0C5A2-CDB8-436D-9A5C-EEE5B7EC3FF6}"/>
              </a:ext>
            </a:extLst>
          </p:cNvPr>
          <p:cNvSpPr txBox="1">
            <a:spLocks/>
          </p:cNvSpPr>
          <p:nvPr/>
        </p:nvSpPr>
        <p:spPr>
          <a:xfrm>
            <a:off x="663649" y="3351634"/>
            <a:ext cx="4127157" cy="2952000"/>
          </a:xfrm>
          <a:prstGeom prst="rect">
            <a:avLst/>
          </a:prstGeom>
          <a:noFill/>
          <a:ln w="19050">
            <a:noFill/>
          </a:ln>
          <a:extLst>
            <a:ext uri="{909E8E84-426E-40DD-AFC4-6F175D3DCCD1}">
              <a14:hiddenFill xmlns:a14="http://schemas.microsoft.com/office/drawing/2010/main">
                <a:solidFill>
                  <a:srgbClr val="22777B"/>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b="1" dirty="0">
                <a:solidFill>
                  <a:srgbClr val="22777B"/>
                </a:solidFill>
              </a:rPr>
              <a:t>Randvoorwaarden</a:t>
            </a:r>
          </a:p>
        </p:txBody>
      </p:sp>
      <p:sp>
        <p:nvSpPr>
          <p:cNvPr id="84" name="Rectangle 83">
            <a:extLst>
              <a:ext uri="{FF2B5EF4-FFF2-40B4-BE49-F238E27FC236}">
                <a16:creationId xmlns:a16="http://schemas.microsoft.com/office/drawing/2014/main" id="{A1BD0942-A641-4B94-B25F-C3CA16A90D70}"/>
              </a:ext>
            </a:extLst>
          </p:cNvPr>
          <p:cNvSpPr/>
          <p:nvPr/>
        </p:nvSpPr>
        <p:spPr>
          <a:xfrm>
            <a:off x="651593" y="1898011"/>
            <a:ext cx="5433219" cy="1483317"/>
          </a:xfrm>
          <a:prstGeom prst="rect">
            <a:avLst/>
          </a:prstGeom>
          <a:noFill/>
          <a:ln>
            <a:noFill/>
          </a:ln>
          <a:extLst>
            <a:ext uri="{909E8E84-426E-40DD-AFC4-6F175D3DCCD1}">
              <a14:hiddenFill xmlns:a14="http://schemas.microsoft.com/office/drawing/2010/main">
                <a:solidFill>
                  <a:srgbClr val="95C5C9"/>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27" name="Content Placeholder 2">
            <a:extLst>
              <a:ext uri="{FF2B5EF4-FFF2-40B4-BE49-F238E27FC236}">
                <a16:creationId xmlns:a16="http://schemas.microsoft.com/office/drawing/2014/main" id="{72A4A50E-A278-4263-8BF5-D2A490288840}"/>
              </a:ext>
            </a:extLst>
          </p:cNvPr>
          <p:cNvSpPr txBox="1">
            <a:spLocks/>
          </p:cNvSpPr>
          <p:nvPr/>
        </p:nvSpPr>
        <p:spPr>
          <a:xfrm>
            <a:off x="663649" y="1594628"/>
            <a:ext cx="4130574" cy="1740284"/>
          </a:xfrm>
          <a:prstGeom prst="rect">
            <a:avLst/>
          </a:prstGeom>
          <a:noFill/>
          <a:ln w="19050">
            <a:noFill/>
          </a:ln>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b="1" dirty="0">
                <a:solidFill>
                  <a:srgbClr val="22777B"/>
                </a:solidFill>
              </a:rPr>
              <a:t>In het kort</a:t>
            </a:r>
          </a:p>
        </p:txBody>
      </p:sp>
      <p:sp>
        <p:nvSpPr>
          <p:cNvPr id="2" name="Content Placeholder 1">
            <a:extLst>
              <a:ext uri="{FF2B5EF4-FFF2-40B4-BE49-F238E27FC236}">
                <a16:creationId xmlns:a16="http://schemas.microsoft.com/office/drawing/2014/main" id="{FC150659-F1B9-4FC0-9D76-F25AC1C0CCF1}"/>
              </a:ext>
            </a:extLst>
          </p:cNvPr>
          <p:cNvSpPr>
            <a:spLocks noGrp="1"/>
          </p:cNvSpPr>
          <p:nvPr>
            <p:ph sz="quarter" idx="35"/>
          </p:nvPr>
        </p:nvSpPr>
        <p:spPr>
          <a:xfrm>
            <a:off x="6084811" y="1594628"/>
            <a:ext cx="5450808" cy="4644000"/>
          </a:xfrm>
          <a:noFill/>
          <a:extLst>
            <a:ext uri="{909E8E84-426E-40DD-AFC4-6F175D3DCCD1}">
              <a14:hiddenFill xmlns:a14="http://schemas.microsoft.com/office/drawing/2010/main">
                <a:solidFill>
                  <a:schemeClr val="bg1">
                    <a:lumMod val="95000"/>
                  </a:schemeClr>
                </a:solidFill>
              </a14:hiddenFill>
            </a:ext>
          </a:extLst>
        </p:spPr>
        <p:txBody>
          <a:bodyPr/>
          <a:lstStyle/>
          <a:p>
            <a:pPr marL="0" indent="0">
              <a:buNone/>
            </a:pPr>
            <a:r>
              <a:rPr lang="nl-NL" b="1" dirty="0">
                <a:solidFill>
                  <a:srgbClr val="22777B"/>
                </a:solidFill>
              </a:rPr>
              <a:t>Voordelen van MaaS</a:t>
            </a:r>
          </a:p>
        </p:txBody>
      </p:sp>
      <p:sp>
        <p:nvSpPr>
          <p:cNvPr id="3" name="Content Placeholder 2">
            <a:extLst>
              <a:ext uri="{FF2B5EF4-FFF2-40B4-BE49-F238E27FC236}">
                <a16:creationId xmlns:a16="http://schemas.microsoft.com/office/drawing/2014/main" id="{7B117B2E-14BE-46A5-806A-1345A264A3BC}"/>
              </a:ext>
            </a:extLst>
          </p:cNvPr>
          <p:cNvSpPr>
            <a:spLocks noGrp="1"/>
          </p:cNvSpPr>
          <p:nvPr>
            <p:ph sz="quarter" idx="31"/>
          </p:nvPr>
        </p:nvSpPr>
        <p:spPr>
          <a:xfrm>
            <a:off x="691813" y="1870860"/>
            <a:ext cx="4082358" cy="1417581"/>
          </a:xfrm>
          <a:prstGeom prst="rect">
            <a:avLst/>
          </a:prstGeom>
          <a:noFill/>
          <a:ln w="9525">
            <a:noFill/>
          </a:ln>
          <a:extLst>
            <a:ext uri="{909E8E84-426E-40DD-AFC4-6F175D3DCCD1}">
              <a14:hiddenFill xmlns:a14="http://schemas.microsoft.com/office/drawing/2010/main">
                <a:solidFill>
                  <a:srgbClr val="95C5C9">
                    <a:alpha val="10000"/>
                  </a:srgbClr>
                </a:solidFill>
              </a14:hiddenFill>
            </a:ext>
          </a:extLst>
        </p:spPr>
        <p:txBody>
          <a:bodyPr tIns="36000" bIns="36000">
            <a:noAutofit/>
          </a:bodyPr>
          <a:lstStyle/>
          <a:p>
            <a:pPr marL="0" indent="0">
              <a:buNone/>
            </a:pPr>
            <a:r>
              <a:rPr lang="nl-NL" sz="1000" dirty="0"/>
              <a:t>MaaS is de benoeming voor verschillende digitale platforms met geïntegreerde reisinformatie. Belangrijkste innovatie is dat MaaS ritplanning en –betaling vereenvoudigt voor reizigers: </a:t>
            </a:r>
          </a:p>
          <a:p>
            <a:r>
              <a:rPr lang="nl-NL" sz="1000" dirty="0"/>
              <a:t>Het platform bundelt verschillende vervoerwijzen (OV, deelfietsen/-auto’s, taxi, Uber) in één digitaal platform en biedt met realtime informatie een overzicht van de reismogelijkheden. </a:t>
            </a:r>
          </a:p>
          <a:p>
            <a:r>
              <a:rPr lang="nl-NL" sz="1000" dirty="0"/>
              <a:t>Met MaaS kan vervoer (evt.) gepland, geboekt en betaald worden.</a:t>
            </a:r>
          </a:p>
          <a:p>
            <a:pPr marL="0" indent="0">
              <a:buNone/>
            </a:pPr>
            <a:r>
              <a:rPr lang="nl-NL" sz="1000" dirty="0"/>
              <a:t>De mate van integratie van mobiliteitsdiensten en betaalsystemen verschilt per aanbieder.</a:t>
            </a:r>
          </a:p>
        </p:txBody>
      </p:sp>
      <p:sp>
        <p:nvSpPr>
          <p:cNvPr id="5" name="Footer Placeholder 4">
            <a:extLst>
              <a:ext uri="{FF2B5EF4-FFF2-40B4-BE49-F238E27FC236}">
                <a16:creationId xmlns:a16="http://schemas.microsoft.com/office/drawing/2014/main" id="{6450BDB4-A43E-402D-996C-55C79B926CE4}"/>
              </a:ext>
            </a:extLst>
          </p:cNvPr>
          <p:cNvSpPr>
            <a:spLocks noGrp="1"/>
          </p:cNvSpPr>
          <p:nvPr>
            <p:ph type="ftr" sz="quarter" idx="3"/>
          </p:nvPr>
        </p:nvSpPr>
        <p:spPr/>
        <p:txBody>
          <a:bodyPr/>
          <a:lstStyle/>
          <a:p>
            <a:r>
              <a:rPr lang="nl-NL" dirty="0"/>
              <a:t>Bron: Min. IenW, ‘MaaS-pilots: optimaliseren van het mobiliteitssysteem’ (mei 2019); Min. IenW,  ‘Meer zicht op Mobility-as-a-Service’ (sept. 2018); MuConsult,  ‘Mobility as a Service: Bouwstenen voor keuzen I&amp;M’ (10 april 2017); Decisio, ‘Schetsmatige business case en value case MaaS’ (2 aug. 2017)</a:t>
            </a:r>
          </a:p>
        </p:txBody>
      </p:sp>
      <p:sp>
        <p:nvSpPr>
          <p:cNvPr id="6" name="Slide Number Placeholder 5">
            <a:extLst>
              <a:ext uri="{FF2B5EF4-FFF2-40B4-BE49-F238E27FC236}">
                <a16:creationId xmlns:a16="http://schemas.microsoft.com/office/drawing/2014/main" id="{EA5B4AF5-72CF-4819-8135-F522810EB50A}"/>
              </a:ext>
            </a:extLst>
          </p:cNvPr>
          <p:cNvSpPr>
            <a:spLocks noGrp="1"/>
          </p:cNvSpPr>
          <p:nvPr>
            <p:ph type="sldNum" sz="quarter" idx="12"/>
          </p:nvPr>
        </p:nvSpPr>
        <p:spPr/>
        <p:txBody>
          <a:bodyPr/>
          <a:lstStyle/>
          <a:p>
            <a:fld id="{992CD0B2-8AB2-4C6C-8876-E15753662C9B}" type="slidenum">
              <a:rPr lang="nl-NL" smtClean="0"/>
              <a:pPr/>
              <a:t>24</a:t>
            </a:fld>
            <a:endParaRPr lang="nl-NL" dirty="0"/>
          </a:p>
        </p:txBody>
      </p:sp>
      <p:sp>
        <p:nvSpPr>
          <p:cNvPr id="8" name="Title 7">
            <a:extLst>
              <a:ext uri="{FF2B5EF4-FFF2-40B4-BE49-F238E27FC236}">
                <a16:creationId xmlns:a16="http://schemas.microsoft.com/office/drawing/2014/main" id="{4CF772DC-DC31-4B79-9450-0687029A3727}"/>
              </a:ext>
            </a:extLst>
          </p:cNvPr>
          <p:cNvSpPr>
            <a:spLocks noGrp="1"/>
          </p:cNvSpPr>
          <p:nvPr>
            <p:ph type="title"/>
          </p:nvPr>
        </p:nvSpPr>
        <p:spPr>
          <a:xfrm>
            <a:off x="-1" y="265387"/>
            <a:ext cx="12192001" cy="942979"/>
          </a:xfrm>
          <a:solidFill>
            <a:srgbClr val="22777B"/>
          </a:solidFill>
        </p:spPr>
        <p:txBody>
          <a:bodyPr vert="horz" anchor="ctr"/>
          <a:lstStyle/>
          <a:p>
            <a:r>
              <a:rPr lang="nl-NL" dirty="0">
                <a:solidFill>
                  <a:srgbClr val="FFFFFF"/>
                </a:solidFill>
              </a:rPr>
              <a:t>	</a:t>
            </a:r>
          </a:p>
        </p:txBody>
      </p:sp>
      <p:sp>
        <p:nvSpPr>
          <p:cNvPr id="47" name="TextBox 46">
            <a:extLst>
              <a:ext uri="{FF2B5EF4-FFF2-40B4-BE49-F238E27FC236}">
                <a16:creationId xmlns:a16="http://schemas.microsoft.com/office/drawing/2014/main" id="{4716077D-F49C-442C-BDB1-5D321EBE6829}"/>
              </a:ext>
            </a:extLst>
          </p:cNvPr>
          <p:cNvSpPr txBox="1"/>
          <p:nvPr/>
        </p:nvSpPr>
        <p:spPr>
          <a:xfrm>
            <a:off x="658813" y="274425"/>
            <a:ext cx="6724448" cy="230832"/>
          </a:xfrm>
          <a:prstGeom prst="rect">
            <a:avLst/>
          </a:prstGeom>
          <a:noFill/>
        </p:spPr>
        <p:txBody>
          <a:bodyPr wrap="square">
            <a:spAutoFit/>
          </a:bodyPr>
          <a:lstStyle/>
          <a:p>
            <a:pPr marL="0" indent="0">
              <a:buNone/>
            </a:pPr>
            <a:r>
              <a:rPr lang="nl-NL" sz="1000" b="1" dirty="0">
                <a:solidFill>
                  <a:srgbClr val="FFFFFF"/>
                </a:solidFill>
              </a:rPr>
              <a:t>Mobility as a Service (MaaS): integeren boeking en planning</a:t>
            </a:r>
          </a:p>
        </p:txBody>
      </p:sp>
      <p:sp>
        <p:nvSpPr>
          <p:cNvPr id="48" name="TextBox 47">
            <a:extLst>
              <a:ext uri="{FF2B5EF4-FFF2-40B4-BE49-F238E27FC236}">
                <a16:creationId xmlns:a16="http://schemas.microsoft.com/office/drawing/2014/main" id="{4B8BE3FC-F351-4532-B8C6-69DA96834DD2}"/>
              </a:ext>
            </a:extLst>
          </p:cNvPr>
          <p:cNvSpPr txBox="1"/>
          <p:nvPr/>
        </p:nvSpPr>
        <p:spPr>
          <a:xfrm>
            <a:off x="658813" y="617566"/>
            <a:ext cx="10921582" cy="424732"/>
          </a:xfrm>
          <a:prstGeom prst="rect">
            <a:avLst/>
          </a:prstGeom>
          <a:noFill/>
        </p:spPr>
        <p:txBody>
          <a:bodyPr wrap="square" anchor="ctr">
            <a:spAutoFit/>
          </a:bodyPr>
          <a:lstStyle/>
          <a:p>
            <a:pPr marL="0" indent="0">
              <a:buNone/>
            </a:pPr>
            <a:r>
              <a:rPr lang="en-GB" sz="2400" b="1" dirty="0">
                <a:solidFill>
                  <a:srgbClr val="FFFFFF"/>
                </a:solidFill>
              </a:rPr>
              <a:t>M</a:t>
            </a:r>
            <a:r>
              <a:rPr lang="nl-NL" sz="2400" b="1" dirty="0">
                <a:solidFill>
                  <a:srgbClr val="FFFFFF"/>
                </a:solidFill>
              </a:rPr>
              <a:t>aaS biedt gemak en keuzevrijheid voor de gebruiker</a:t>
            </a:r>
          </a:p>
        </p:txBody>
      </p:sp>
      <p:sp>
        <p:nvSpPr>
          <p:cNvPr id="63" name="Rectangle: Rounded Corners 62">
            <a:extLst>
              <a:ext uri="{FF2B5EF4-FFF2-40B4-BE49-F238E27FC236}">
                <a16:creationId xmlns:a16="http://schemas.microsoft.com/office/drawing/2014/main" id="{38249A2D-A415-434A-87DD-F297E80B89E6}"/>
              </a:ext>
            </a:extLst>
          </p:cNvPr>
          <p:cNvSpPr/>
          <p:nvPr/>
        </p:nvSpPr>
        <p:spPr>
          <a:xfrm>
            <a:off x="6096000" y="1870861"/>
            <a:ext cx="5439620" cy="532154"/>
          </a:xfrm>
          <a:prstGeom prst="roundRect">
            <a:avLst/>
          </a:prstGeom>
          <a:noFill/>
          <a:ln w="9525">
            <a:noFill/>
          </a:ln>
          <a:extLst>
            <a:ext uri="{909E8E84-426E-40DD-AFC4-6F175D3DCCD1}">
              <a14:hiddenFill xmlns:a14="http://schemas.microsoft.com/office/drawing/2010/main">
                <a:solidFill>
                  <a:schemeClr val="accent6">
                    <a:lumMod val="95000"/>
                  </a:schemeClr>
                </a:solidFill>
              </a14:hiddenFill>
            </a:ext>
            <a:ext uri="{91240B29-F687-4F45-9708-019B960494DF}">
              <a14:hiddenLine xmlns:a14="http://schemas.microsoft.com/office/drawing/2010/main" w="9525">
                <a:solidFill>
                  <a:schemeClr val="bg1"/>
                </a:solidFill>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00" dirty="0"/>
              <a:t>Een deel van de effecten van MaaS op de gebruikers en de leefomgeving is al gekwantificeerd. De toepassing van MaaS voor reizigers met een beperking is echter nog niet in detail onderzocht. Men verwacht wel dat MaaS in potentie ook voor deze doelgroep veel voordelen kan opleveren.</a:t>
            </a:r>
            <a:endParaRPr kumimoji="0" lang="nl-NL" sz="1000" i="0" u="none" strike="noStrike" kern="1200" cap="none" spc="0" normalizeH="0" baseline="0" noProof="0" dirty="0">
              <a:ln>
                <a:noFill/>
              </a:ln>
              <a:effectLst/>
              <a:uLnTx/>
              <a:uFillTx/>
            </a:endParaRPr>
          </a:p>
        </p:txBody>
      </p:sp>
      <p:sp>
        <p:nvSpPr>
          <p:cNvPr id="62" name="Rectangle 61">
            <a:extLst>
              <a:ext uri="{FF2B5EF4-FFF2-40B4-BE49-F238E27FC236}">
                <a16:creationId xmlns:a16="http://schemas.microsoft.com/office/drawing/2014/main" id="{F50499C1-3035-474B-9524-854373113B51}"/>
              </a:ext>
            </a:extLst>
          </p:cNvPr>
          <p:cNvSpPr/>
          <p:nvPr/>
        </p:nvSpPr>
        <p:spPr>
          <a:xfrm>
            <a:off x="5848208" y="5345839"/>
            <a:ext cx="535461" cy="612000"/>
          </a:xfrm>
          <a:prstGeom prst="rect">
            <a:avLst/>
          </a:prstGeom>
          <a:noFill/>
          <a:ln w="9525">
            <a:noFill/>
          </a:ln>
          <a:extLst>
            <a:ext uri="{909E8E84-426E-40DD-AFC4-6F175D3DCCD1}">
              <a14:hiddenFill xmlns:a14="http://schemas.microsoft.com/office/drawing/2010/main">
                <a:solidFill>
                  <a:srgbClr val="22777B">
                    <a:alpha val="10000"/>
                  </a:srgbClr>
                </a:solidFill>
              </a14:hiddenFill>
            </a:ext>
          </a:extLst>
        </p:spPr>
        <p:txBody>
          <a:bodyPr vert="horz" lIns="72000" tIns="72000" rIns="72000" bIns="72000" rtlCol="0">
            <a:noAutofit/>
          </a:bodyPr>
          <a:lstStyle/>
          <a:p>
            <a:pPr marL="0" indent="0">
              <a:buNone/>
            </a:pPr>
            <a:endParaRPr lang="nl-NL" sz="1000" dirty="0"/>
          </a:p>
        </p:txBody>
      </p:sp>
      <p:sp>
        <p:nvSpPr>
          <p:cNvPr id="68" name="Rectangle 67">
            <a:extLst>
              <a:ext uri="{FF2B5EF4-FFF2-40B4-BE49-F238E27FC236}">
                <a16:creationId xmlns:a16="http://schemas.microsoft.com/office/drawing/2014/main" id="{ABAC5301-186C-4350-9387-40DE0563F20B}"/>
              </a:ext>
            </a:extLst>
          </p:cNvPr>
          <p:cNvSpPr/>
          <p:nvPr/>
        </p:nvSpPr>
        <p:spPr>
          <a:xfrm>
            <a:off x="10978453" y="4391270"/>
            <a:ext cx="535461" cy="612000"/>
          </a:xfrm>
          <a:prstGeom prst="rect">
            <a:avLst/>
          </a:prstGeom>
          <a:noFill/>
          <a:ln w="9525">
            <a:noFill/>
          </a:ln>
          <a:extLst>
            <a:ext uri="{909E8E84-426E-40DD-AFC4-6F175D3DCCD1}">
              <a14:hiddenFill xmlns:a14="http://schemas.microsoft.com/office/drawing/2010/main">
                <a:solidFill>
                  <a:srgbClr val="22777B">
                    <a:alpha val="10000"/>
                  </a:srgbClr>
                </a:solidFill>
              </a14:hiddenFill>
            </a:ext>
          </a:extLst>
        </p:spPr>
        <p:txBody>
          <a:bodyPr vert="horz" lIns="72000" tIns="72000" rIns="72000" bIns="72000" rtlCol="0">
            <a:noAutofit/>
          </a:bodyPr>
          <a:lstStyle/>
          <a:p>
            <a:pPr marL="0" indent="0">
              <a:buNone/>
            </a:pPr>
            <a:endParaRPr lang="nl-NL" sz="1000" dirty="0"/>
          </a:p>
        </p:txBody>
      </p:sp>
      <p:cxnSp>
        <p:nvCxnSpPr>
          <p:cNvPr id="83" name="Straight Arrow Connector 82">
            <a:extLst>
              <a:ext uri="{FF2B5EF4-FFF2-40B4-BE49-F238E27FC236}">
                <a16:creationId xmlns:a16="http://schemas.microsoft.com/office/drawing/2014/main" id="{8B739B49-B4CA-4744-B0C9-BCC4DE958F2C}"/>
              </a:ext>
            </a:extLst>
          </p:cNvPr>
          <p:cNvCxnSpPr>
            <a:cxnSpLocks/>
          </p:cNvCxnSpPr>
          <p:nvPr/>
        </p:nvCxnSpPr>
        <p:spPr>
          <a:xfrm flipH="1" flipV="1">
            <a:off x="5537206" y="4476668"/>
            <a:ext cx="573395" cy="1557706"/>
          </a:xfrm>
          <a:prstGeom prst="straightConnector1">
            <a:avLst/>
          </a:prstGeom>
          <a:ln w="6350">
            <a:solidFill>
              <a:srgbClr val="22777B"/>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9" name="Content Placeholder 2">
            <a:extLst>
              <a:ext uri="{FF2B5EF4-FFF2-40B4-BE49-F238E27FC236}">
                <a16:creationId xmlns:a16="http://schemas.microsoft.com/office/drawing/2014/main" id="{B204717F-9441-47C7-98B2-39555E0A9422}"/>
              </a:ext>
            </a:extLst>
          </p:cNvPr>
          <p:cNvSpPr txBox="1">
            <a:spLocks/>
          </p:cNvSpPr>
          <p:nvPr/>
        </p:nvSpPr>
        <p:spPr>
          <a:xfrm>
            <a:off x="659108" y="3617127"/>
            <a:ext cx="4115062" cy="2700000"/>
          </a:xfrm>
          <a:prstGeom prst="rect">
            <a:avLst/>
          </a:prstGeom>
          <a:noFill/>
          <a:ln w="9525">
            <a:noFill/>
          </a:ln>
          <a:extLst>
            <a:ext uri="{909E8E84-426E-40DD-AFC4-6F175D3DCCD1}">
              <a14:hiddenFill xmlns:a14="http://schemas.microsoft.com/office/drawing/2010/main">
                <a:solidFill>
                  <a:srgbClr val="95C5C9">
                    <a:alpha val="10000"/>
                  </a:srgbClr>
                </a:solidFill>
              </a14:hiddenFill>
            </a:ext>
          </a:extLst>
        </p:spPr>
        <p:txBody>
          <a:bodyPr vert="horz" lIns="72000" tIns="72000" rIns="72000" bIns="72000" rtlCol="0">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sz="1000" dirty="0"/>
              <a:t>Randvoorwaarden voor succesvolle toepassing van MaaS zijn:</a:t>
            </a:r>
          </a:p>
          <a:p>
            <a:r>
              <a:rPr lang="nl-NL" sz="1000" b="1" dirty="0"/>
              <a:t>Samenwerking tussen vervoerders: </a:t>
            </a:r>
            <a:r>
              <a:rPr lang="nl-NL" sz="1000" dirty="0"/>
              <a:t>vervoerders moeten data met elkaar delen en elkaars producten kunnen verkopen.</a:t>
            </a:r>
          </a:p>
          <a:p>
            <a:r>
              <a:rPr lang="nl-NL" sz="1000" b="1" dirty="0"/>
              <a:t>Evenwicht tussen regie en markt</a:t>
            </a:r>
            <a:r>
              <a:rPr lang="nl-NL" sz="1000" dirty="0"/>
              <a:t>: marktpartijen moeten in de gelegenheid gesteld worden om service te ontwikkelen, tegelijkertijd moet ervoor gewaakt worden dat er een te grote hoeveelheid (concurrerende) apps ontstaat.</a:t>
            </a:r>
          </a:p>
          <a:p>
            <a:r>
              <a:rPr lang="nl-NL" sz="1000" dirty="0"/>
              <a:t>Voor gebruikers is van belang dat het </a:t>
            </a:r>
            <a:r>
              <a:rPr lang="nl-NL" sz="1000" b="1" dirty="0"/>
              <a:t>toegevoegde waarde biedt wat betreft de kosten, comfort, keuzevrijheid en maatwerk. </a:t>
            </a:r>
            <a:r>
              <a:rPr lang="nl-NL" sz="1000" dirty="0"/>
              <a:t>Uit studies en focusgroepen blijkt dat MaaS nog niet altijd succesvol concurreert met het gemak van het bezit van een eigen auto. </a:t>
            </a:r>
            <a:endParaRPr lang="nl-NL" sz="1000" b="1" dirty="0"/>
          </a:p>
        </p:txBody>
      </p:sp>
      <p:sp>
        <p:nvSpPr>
          <p:cNvPr id="117" name="Content Placeholder 2">
            <a:extLst>
              <a:ext uri="{FF2B5EF4-FFF2-40B4-BE49-F238E27FC236}">
                <a16:creationId xmlns:a16="http://schemas.microsoft.com/office/drawing/2014/main" id="{45579669-9996-4452-A774-8462589532A3}"/>
              </a:ext>
            </a:extLst>
          </p:cNvPr>
          <p:cNvSpPr txBox="1">
            <a:spLocks/>
          </p:cNvSpPr>
          <p:nvPr/>
        </p:nvSpPr>
        <p:spPr>
          <a:xfrm>
            <a:off x="664829" y="1870860"/>
            <a:ext cx="36000" cy="1418400"/>
          </a:xfrm>
          <a:prstGeom prst="rect">
            <a:avLst/>
          </a:prstGeom>
          <a:solidFill>
            <a:srgbClr val="22777B"/>
          </a:solidFill>
          <a:ln w="9525">
            <a:noFill/>
          </a:ln>
        </p:spPr>
        <p:txBody>
          <a:bodyPr vert="horz" lIns="72000" tIns="72000" rIns="72000" bIns="72000" rtlCol="0">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endParaRPr lang="nl-NL" sz="1000" b="1" dirty="0">
              <a:solidFill>
                <a:srgbClr val="68ABB0"/>
              </a:solidFill>
            </a:endParaRPr>
          </a:p>
        </p:txBody>
      </p:sp>
      <p:sp>
        <p:nvSpPr>
          <p:cNvPr id="118" name="Content Placeholder 2">
            <a:extLst>
              <a:ext uri="{FF2B5EF4-FFF2-40B4-BE49-F238E27FC236}">
                <a16:creationId xmlns:a16="http://schemas.microsoft.com/office/drawing/2014/main" id="{35A71A41-61C8-40F7-8208-D7124E0C9EC5}"/>
              </a:ext>
            </a:extLst>
          </p:cNvPr>
          <p:cNvSpPr txBox="1">
            <a:spLocks/>
          </p:cNvSpPr>
          <p:nvPr/>
        </p:nvSpPr>
        <p:spPr>
          <a:xfrm>
            <a:off x="664829" y="3617127"/>
            <a:ext cx="36000" cy="2700000"/>
          </a:xfrm>
          <a:prstGeom prst="rect">
            <a:avLst/>
          </a:prstGeom>
          <a:solidFill>
            <a:srgbClr val="22777B"/>
          </a:solidFill>
          <a:ln w="9525">
            <a:noFill/>
          </a:ln>
          <a:extLst>
            <a:ext uri="{91240B29-F687-4F45-9708-019B960494DF}">
              <a14:hiddenLine xmlns:a14="http://schemas.microsoft.com/office/drawing/2010/main" w="9525">
                <a:solidFill>
                  <a:srgbClr val="68ABB0"/>
                </a:solidFill>
              </a14:hiddenLine>
            </a:ext>
          </a:extLst>
        </p:spPr>
        <p:txBody>
          <a:bodyPr vert="horz" lIns="72000" tIns="72000" rIns="72000" bIns="72000" rtlCol="0">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endParaRPr lang="nl-NL" sz="1000" b="1" dirty="0"/>
          </a:p>
        </p:txBody>
      </p:sp>
      <p:cxnSp>
        <p:nvCxnSpPr>
          <p:cNvPr id="121" name="Straight Arrow Connector 120">
            <a:extLst>
              <a:ext uri="{FF2B5EF4-FFF2-40B4-BE49-F238E27FC236}">
                <a16:creationId xmlns:a16="http://schemas.microsoft.com/office/drawing/2014/main" id="{3BE29687-6FE8-40ED-9585-A63A247F35E7}"/>
              </a:ext>
            </a:extLst>
          </p:cNvPr>
          <p:cNvCxnSpPr>
            <a:cxnSpLocks/>
          </p:cNvCxnSpPr>
          <p:nvPr/>
        </p:nvCxnSpPr>
        <p:spPr>
          <a:xfrm flipV="1">
            <a:off x="5561510" y="2640296"/>
            <a:ext cx="573395" cy="1557706"/>
          </a:xfrm>
          <a:prstGeom prst="straightConnector1">
            <a:avLst/>
          </a:prstGeom>
          <a:ln w="6350">
            <a:solidFill>
              <a:srgbClr val="22777B"/>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0BDC0953-F512-43F8-9D18-07F83A955D08}"/>
              </a:ext>
            </a:extLst>
          </p:cNvPr>
          <p:cNvCxnSpPr>
            <a:cxnSpLocks/>
            <a:endCxn id="52" idx="1"/>
          </p:cNvCxnSpPr>
          <p:nvPr/>
        </p:nvCxnSpPr>
        <p:spPr>
          <a:xfrm flipV="1">
            <a:off x="5589460" y="3336806"/>
            <a:ext cx="524454" cy="965933"/>
          </a:xfrm>
          <a:prstGeom prst="straightConnector1">
            <a:avLst/>
          </a:prstGeom>
          <a:ln w="6350">
            <a:solidFill>
              <a:srgbClr val="22777B"/>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7EB61D74-34CB-49B0-8C28-F943D9B1D08E}"/>
              </a:ext>
            </a:extLst>
          </p:cNvPr>
          <p:cNvCxnSpPr>
            <a:cxnSpLocks/>
          </p:cNvCxnSpPr>
          <p:nvPr/>
        </p:nvCxnSpPr>
        <p:spPr>
          <a:xfrm flipH="1" flipV="1">
            <a:off x="5589216" y="4413720"/>
            <a:ext cx="524454" cy="965933"/>
          </a:xfrm>
          <a:prstGeom prst="straightConnector1">
            <a:avLst/>
          </a:prstGeom>
          <a:ln w="6350">
            <a:solidFill>
              <a:srgbClr val="22777B"/>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72537010-2E68-4182-8325-F347185A972E}"/>
              </a:ext>
            </a:extLst>
          </p:cNvPr>
          <p:cNvCxnSpPr>
            <a:cxnSpLocks/>
            <a:endCxn id="69" idx="1"/>
          </p:cNvCxnSpPr>
          <p:nvPr/>
        </p:nvCxnSpPr>
        <p:spPr>
          <a:xfrm flipV="1">
            <a:off x="5576830" y="4000398"/>
            <a:ext cx="568269" cy="353656"/>
          </a:xfrm>
          <a:prstGeom prst="straightConnector1">
            <a:avLst/>
          </a:prstGeom>
          <a:ln w="6350">
            <a:solidFill>
              <a:srgbClr val="22777B"/>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DF8731D-63E3-427B-B043-6008737BF1A7}"/>
              </a:ext>
            </a:extLst>
          </p:cNvPr>
          <p:cNvSpPr/>
          <p:nvPr/>
        </p:nvSpPr>
        <p:spPr>
          <a:xfrm>
            <a:off x="6113914" y="3742998"/>
            <a:ext cx="5400000" cy="536400"/>
          </a:xfrm>
          <a:prstGeom prst="rect">
            <a:avLst/>
          </a:prstGeom>
          <a:solidFill>
            <a:schemeClr val="accent6">
              <a:lumMod val="95000"/>
            </a:schemeClr>
          </a:solidFill>
          <a:ln>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7" name="Rectangle 66">
            <a:extLst>
              <a:ext uri="{FF2B5EF4-FFF2-40B4-BE49-F238E27FC236}">
                <a16:creationId xmlns:a16="http://schemas.microsoft.com/office/drawing/2014/main" id="{67150165-3E65-4CE0-8CB6-A2325505EEA4}"/>
              </a:ext>
            </a:extLst>
          </p:cNvPr>
          <p:cNvSpPr/>
          <p:nvPr/>
        </p:nvSpPr>
        <p:spPr>
          <a:xfrm>
            <a:off x="6365914" y="3742998"/>
            <a:ext cx="5148000" cy="536400"/>
          </a:xfrm>
          <a:prstGeom prst="rect">
            <a:avLst/>
          </a:prstGeom>
          <a:noFill/>
          <a:ln w="9525">
            <a:noFill/>
          </a:ln>
          <a:extLst>
            <a:ext uri="{909E8E84-426E-40DD-AFC4-6F175D3DCCD1}">
              <a14:hiddenFill xmlns:a14="http://schemas.microsoft.com/office/drawing/2010/main">
                <a:solidFill>
                  <a:srgbClr val="22777B">
                    <a:alpha val="10000"/>
                  </a:srgb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1000" b="1" dirty="0"/>
              <a:t>Openbare ruimte: </a:t>
            </a:r>
            <a:r>
              <a:rPr lang="nl-NL" sz="1000" dirty="0"/>
              <a:t>mogelijke ruimtebesparing bij MaaS kan oplopen tot meer dan € 100 mln.</a:t>
            </a:r>
          </a:p>
        </p:txBody>
      </p:sp>
      <p:pic>
        <p:nvPicPr>
          <p:cNvPr id="69" name="Graphic 68" descr="City with solid fill">
            <a:extLst>
              <a:ext uri="{FF2B5EF4-FFF2-40B4-BE49-F238E27FC236}">
                <a16:creationId xmlns:a16="http://schemas.microsoft.com/office/drawing/2014/main" id="{87596822-D361-4A16-9477-BB0E868A7BB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145099" y="3856398"/>
            <a:ext cx="288000" cy="288000"/>
          </a:xfrm>
          <a:prstGeom prst="rect">
            <a:avLst/>
          </a:prstGeom>
        </p:spPr>
      </p:pic>
      <p:sp>
        <p:nvSpPr>
          <p:cNvPr id="71" name="Rectangle 70">
            <a:extLst>
              <a:ext uri="{FF2B5EF4-FFF2-40B4-BE49-F238E27FC236}">
                <a16:creationId xmlns:a16="http://schemas.microsoft.com/office/drawing/2014/main" id="{4EA1409E-6FF7-4425-AF6F-AA8EB0590A64}"/>
              </a:ext>
            </a:extLst>
          </p:cNvPr>
          <p:cNvSpPr/>
          <p:nvPr/>
        </p:nvSpPr>
        <p:spPr>
          <a:xfrm>
            <a:off x="6113914" y="5091782"/>
            <a:ext cx="5400000" cy="536400"/>
          </a:xfrm>
          <a:prstGeom prst="rect">
            <a:avLst/>
          </a:prstGeom>
          <a:solidFill>
            <a:schemeClr val="accent6">
              <a:lumMod val="95000"/>
            </a:schemeClr>
          </a:solidFill>
          <a:ln>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2" name="Rectangle 71">
            <a:extLst>
              <a:ext uri="{FF2B5EF4-FFF2-40B4-BE49-F238E27FC236}">
                <a16:creationId xmlns:a16="http://schemas.microsoft.com/office/drawing/2014/main" id="{DA336576-46FF-401D-8F05-8CECF8F7FB4C}"/>
              </a:ext>
            </a:extLst>
          </p:cNvPr>
          <p:cNvSpPr/>
          <p:nvPr/>
        </p:nvSpPr>
        <p:spPr>
          <a:xfrm>
            <a:off x="6365914" y="5091782"/>
            <a:ext cx="5148000" cy="536400"/>
          </a:xfrm>
          <a:prstGeom prst="rect">
            <a:avLst/>
          </a:prstGeom>
          <a:noFill/>
          <a:ln w="9525">
            <a:noFill/>
          </a:ln>
          <a:extLst>
            <a:ext uri="{909E8E84-426E-40DD-AFC4-6F175D3DCCD1}">
              <a14:hiddenFill xmlns:a14="http://schemas.microsoft.com/office/drawing/2010/main">
                <a:solidFill>
                  <a:srgbClr val="22777B">
                    <a:alpha val="10000"/>
                  </a:srgb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1000" b="1" dirty="0"/>
              <a:t>Vervoersmarkt</a:t>
            </a:r>
            <a:r>
              <a:rPr lang="nl-NL" sz="1000" dirty="0"/>
              <a:t>: geschat wordt een afname van ruim € 600 mln/ jr. voor eigen auto’s, een toename van € 500 mln / jr. voor deelauto’s en taxi-achtige concepten, een toename van € 9 mln / jr. voor openbaar vervoer (in de metropoolregio).</a:t>
            </a:r>
          </a:p>
        </p:txBody>
      </p:sp>
      <p:pic>
        <p:nvPicPr>
          <p:cNvPr id="73" name="Graphic 72" descr="Coins with solid fill">
            <a:extLst>
              <a:ext uri="{FF2B5EF4-FFF2-40B4-BE49-F238E27FC236}">
                <a16:creationId xmlns:a16="http://schemas.microsoft.com/office/drawing/2014/main" id="{12CE6718-DC8C-4DE4-9BF0-A4CF1E029993}"/>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163099" y="5222828"/>
            <a:ext cx="252000" cy="252000"/>
          </a:xfrm>
          <a:prstGeom prst="rect">
            <a:avLst/>
          </a:prstGeom>
        </p:spPr>
      </p:pic>
      <p:sp>
        <p:nvSpPr>
          <p:cNvPr id="52" name="Rectangle 51">
            <a:extLst>
              <a:ext uri="{FF2B5EF4-FFF2-40B4-BE49-F238E27FC236}">
                <a16:creationId xmlns:a16="http://schemas.microsoft.com/office/drawing/2014/main" id="{DBEA64E8-DD65-4152-98EB-6A42424663E2}"/>
              </a:ext>
            </a:extLst>
          </p:cNvPr>
          <p:cNvSpPr/>
          <p:nvPr/>
        </p:nvSpPr>
        <p:spPr>
          <a:xfrm>
            <a:off x="6113914" y="3068606"/>
            <a:ext cx="5400000" cy="536400"/>
          </a:xfrm>
          <a:prstGeom prst="rect">
            <a:avLst/>
          </a:prstGeom>
          <a:solidFill>
            <a:schemeClr val="accent6">
              <a:lumMod val="95000"/>
            </a:schemeClr>
          </a:solidFill>
          <a:ln>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3" name="Rectangle 52">
            <a:extLst>
              <a:ext uri="{FF2B5EF4-FFF2-40B4-BE49-F238E27FC236}">
                <a16:creationId xmlns:a16="http://schemas.microsoft.com/office/drawing/2014/main" id="{E478A82F-E29A-4C3B-903C-5DEB03BE5D39}"/>
              </a:ext>
            </a:extLst>
          </p:cNvPr>
          <p:cNvSpPr/>
          <p:nvPr/>
        </p:nvSpPr>
        <p:spPr>
          <a:xfrm>
            <a:off x="6365914" y="3068606"/>
            <a:ext cx="5148000" cy="536400"/>
          </a:xfrm>
          <a:prstGeom prst="rect">
            <a:avLst/>
          </a:prstGeom>
          <a:noFill/>
          <a:ln w="9525">
            <a:noFill/>
          </a:ln>
          <a:extLst>
            <a:ext uri="{909E8E84-426E-40DD-AFC4-6F175D3DCCD1}">
              <a14:hiddenFill xmlns:a14="http://schemas.microsoft.com/office/drawing/2010/main">
                <a:solidFill>
                  <a:srgbClr val="22777B">
                    <a:alpha val="10000"/>
                  </a:srgb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1000" b="1" dirty="0"/>
              <a:t>Gebruiker:</a:t>
            </a:r>
            <a:r>
              <a:rPr lang="nl-NL" sz="1000" dirty="0"/>
              <a:t> Gemiddeld kunnen de mobiliteitsuitgaven van een huishouden met ~€ 30/jr. dalen in de metropoolregio. MaaS heeft naar verwachting ook voordelen m.b.t. reistijd en comfort.</a:t>
            </a:r>
          </a:p>
        </p:txBody>
      </p:sp>
      <p:pic>
        <p:nvPicPr>
          <p:cNvPr id="17" name="Graphic 16" descr="Woman with kid with solid fill">
            <a:extLst>
              <a:ext uri="{FF2B5EF4-FFF2-40B4-BE49-F238E27FC236}">
                <a16:creationId xmlns:a16="http://schemas.microsoft.com/office/drawing/2014/main" id="{D88D2191-91C0-4944-B443-3DCB0A6D748C}"/>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145099" y="3192806"/>
            <a:ext cx="288000" cy="288000"/>
          </a:xfrm>
          <a:prstGeom prst="rect">
            <a:avLst/>
          </a:prstGeom>
        </p:spPr>
      </p:pic>
      <p:sp>
        <p:nvSpPr>
          <p:cNvPr id="96" name="Rectangle 95">
            <a:extLst>
              <a:ext uri="{FF2B5EF4-FFF2-40B4-BE49-F238E27FC236}">
                <a16:creationId xmlns:a16="http://schemas.microsoft.com/office/drawing/2014/main" id="{264C7384-CA13-4079-9CD7-789965357B7A}"/>
              </a:ext>
            </a:extLst>
          </p:cNvPr>
          <p:cNvSpPr/>
          <p:nvPr/>
        </p:nvSpPr>
        <p:spPr>
          <a:xfrm>
            <a:off x="6113914" y="5766174"/>
            <a:ext cx="5400000" cy="536400"/>
          </a:xfrm>
          <a:prstGeom prst="rect">
            <a:avLst/>
          </a:prstGeom>
          <a:solidFill>
            <a:schemeClr val="accent6">
              <a:lumMod val="95000"/>
            </a:schemeClr>
          </a:solidFill>
          <a:ln>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7" name="Rectangle 96">
            <a:extLst>
              <a:ext uri="{FF2B5EF4-FFF2-40B4-BE49-F238E27FC236}">
                <a16:creationId xmlns:a16="http://schemas.microsoft.com/office/drawing/2014/main" id="{CFAD1A98-5950-4690-8A5A-6DADCA8B9341}"/>
              </a:ext>
            </a:extLst>
          </p:cNvPr>
          <p:cNvSpPr/>
          <p:nvPr/>
        </p:nvSpPr>
        <p:spPr>
          <a:xfrm>
            <a:off x="6365914" y="5766174"/>
            <a:ext cx="5148000" cy="536400"/>
          </a:xfrm>
          <a:prstGeom prst="rect">
            <a:avLst/>
          </a:prstGeom>
          <a:noFill/>
          <a:ln w="9525">
            <a:noFill/>
          </a:ln>
          <a:extLst>
            <a:ext uri="{909E8E84-426E-40DD-AFC4-6F175D3DCCD1}">
              <a14:hiddenFill xmlns:a14="http://schemas.microsoft.com/office/drawing/2010/main">
                <a:solidFill>
                  <a:srgbClr val="22777B">
                    <a:alpha val="10000"/>
                  </a:srgb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1000" b="1" dirty="0"/>
              <a:t>Efficiency: </a:t>
            </a:r>
            <a:r>
              <a:rPr lang="nl-NL" sz="1000" dirty="0"/>
              <a:t>via MaaS vergaart de overheid inzicht in vraag en aanbod van vervoer. Met deze kennis kan zij vervoersdiensten, waaronder het doelgroepenvervoer, optimaal organiseren.</a:t>
            </a:r>
          </a:p>
        </p:txBody>
      </p:sp>
      <p:pic>
        <p:nvPicPr>
          <p:cNvPr id="104" name="Graphic 103" descr="Stopwatch with solid fill">
            <a:extLst>
              <a:ext uri="{FF2B5EF4-FFF2-40B4-BE49-F238E27FC236}">
                <a16:creationId xmlns:a16="http://schemas.microsoft.com/office/drawing/2014/main" id="{195F4A8A-6499-4C89-872E-2C0BD180C59C}"/>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162855" y="5890374"/>
            <a:ext cx="288000" cy="288000"/>
          </a:xfrm>
          <a:prstGeom prst="rect">
            <a:avLst/>
          </a:prstGeom>
        </p:spPr>
      </p:pic>
      <p:sp>
        <p:nvSpPr>
          <p:cNvPr id="91" name="Rectangle 90">
            <a:extLst>
              <a:ext uri="{FF2B5EF4-FFF2-40B4-BE49-F238E27FC236}">
                <a16:creationId xmlns:a16="http://schemas.microsoft.com/office/drawing/2014/main" id="{EDB7F4E4-FDE8-4846-A6C6-EF1554533128}"/>
              </a:ext>
            </a:extLst>
          </p:cNvPr>
          <p:cNvSpPr/>
          <p:nvPr/>
        </p:nvSpPr>
        <p:spPr>
          <a:xfrm>
            <a:off x="6127171" y="2394214"/>
            <a:ext cx="5400000" cy="536400"/>
          </a:xfrm>
          <a:prstGeom prst="rect">
            <a:avLst/>
          </a:prstGeom>
          <a:solidFill>
            <a:schemeClr val="accent6">
              <a:lumMod val="95000"/>
            </a:schemeClr>
          </a:solidFill>
          <a:ln>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2" name="Rectangle 91">
            <a:extLst>
              <a:ext uri="{FF2B5EF4-FFF2-40B4-BE49-F238E27FC236}">
                <a16:creationId xmlns:a16="http://schemas.microsoft.com/office/drawing/2014/main" id="{66BC7D56-296F-49F7-A298-30A9C665919C}"/>
              </a:ext>
            </a:extLst>
          </p:cNvPr>
          <p:cNvSpPr/>
          <p:nvPr/>
        </p:nvSpPr>
        <p:spPr>
          <a:xfrm>
            <a:off x="6379171" y="2394214"/>
            <a:ext cx="5148000" cy="536400"/>
          </a:xfrm>
          <a:prstGeom prst="rect">
            <a:avLst/>
          </a:prstGeom>
          <a:noFill/>
          <a:ln w="9525">
            <a:noFill/>
          </a:ln>
          <a:extLst>
            <a:ext uri="{909E8E84-426E-40DD-AFC4-6F175D3DCCD1}">
              <a14:hiddenFill xmlns:a14="http://schemas.microsoft.com/office/drawing/2010/main">
                <a:solidFill>
                  <a:srgbClr val="22777B">
                    <a:alpha val="10000"/>
                  </a:srgb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1000" b="1" dirty="0"/>
              <a:t>Toegankelijkheid: </a:t>
            </a:r>
            <a:r>
              <a:rPr lang="nl-NL" sz="1000" dirty="0"/>
              <a:t>MaaS kan voor voor reizigers met een beperking reisadvies op maat geven en maakt inzichtelijk welke vervoersopties naast het Wmo-vervoer toegankelijk zijn op een specifiek tijdsstip en route. </a:t>
            </a:r>
          </a:p>
        </p:txBody>
      </p:sp>
      <p:cxnSp>
        <p:nvCxnSpPr>
          <p:cNvPr id="131" name="Straight Arrow Connector 130">
            <a:extLst>
              <a:ext uri="{FF2B5EF4-FFF2-40B4-BE49-F238E27FC236}">
                <a16:creationId xmlns:a16="http://schemas.microsoft.com/office/drawing/2014/main" id="{CDC6D635-4194-4630-9284-E382BFFEED6F}"/>
              </a:ext>
            </a:extLst>
          </p:cNvPr>
          <p:cNvCxnSpPr>
            <a:cxnSpLocks/>
          </p:cNvCxnSpPr>
          <p:nvPr/>
        </p:nvCxnSpPr>
        <p:spPr>
          <a:xfrm flipH="1" flipV="1">
            <a:off x="5558652" y="4344354"/>
            <a:ext cx="568269" cy="353656"/>
          </a:xfrm>
          <a:prstGeom prst="straightConnector1">
            <a:avLst/>
          </a:prstGeom>
          <a:ln w="6350">
            <a:solidFill>
              <a:srgbClr val="22777B"/>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7AA1238D-7116-4D17-B839-0B266D04C104}"/>
              </a:ext>
            </a:extLst>
          </p:cNvPr>
          <p:cNvGrpSpPr/>
          <p:nvPr/>
        </p:nvGrpSpPr>
        <p:grpSpPr>
          <a:xfrm rot="21424202">
            <a:off x="5092306" y="4154279"/>
            <a:ext cx="368351" cy="388231"/>
            <a:chOff x="4566605" y="2727123"/>
            <a:chExt cx="252832" cy="266477"/>
          </a:xfrm>
        </p:grpSpPr>
        <p:sp>
          <p:nvSpPr>
            <p:cNvPr id="35" name="Freeform: Shape 34">
              <a:extLst>
                <a:ext uri="{FF2B5EF4-FFF2-40B4-BE49-F238E27FC236}">
                  <a16:creationId xmlns:a16="http://schemas.microsoft.com/office/drawing/2014/main" id="{1D70FE23-7BFA-4DA8-861E-27ECC817A144}"/>
                </a:ext>
              </a:extLst>
            </p:cNvPr>
            <p:cNvSpPr/>
            <p:nvPr/>
          </p:nvSpPr>
          <p:spPr>
            <a:xfrm>
              <a:off x="4749536" y="2727123"/>
              <a:ext cx="69901" cy="114246"/>
            </a:xfrm>
            <a:custGeom>
              <a:avLst/>
              <a:gdLst>
                <a:gd name="connsiteX0" fmla="*/ 35122 w 69901"/>
                <a:gd name="connsiteY0" fmla="*/ 50562 h 114246"/>
                <a:gd name="connsiteX1" fmla="*/ 20090 w 69901"/>
                <a:gd name="connsiteY1" fmla="*/ 35530 h 114246"/>
                <a:gd name="connsiteX2" fmla="*/ 35122 w 69901"/>
                <a:gd name="connsiteY2" fmla="*/ 20498 h 114246"/>
                <a:gd name="connsiteX3" fmla="*/ 50154 w 69901"/>
                <a:gd name="connsiteY3" fmla="*/ 35530 h 114246"/>
                <a:gd name="connsiteX4" fmla="*/ 50154 w 69901"/>
                <a:gd name="connsiteY4" fmla="*/ 35530 h 114246"/>
                <a:gd name="connsiteX5" fmla="*/ 35122 w 69901"/>
                <a:gd name="connsiteY5" fmla="*/ 50562 h 114246"/>
                <a:gd name="connsiteX6" fmla="*/ 35122 w 69901"/>
                <a:gd name="connsiteY6" fmla="*/ 50562 h 114246"/>
                <a:gd name="connsiteX7" fmla="*/ 35122 w 69901"/>
                <a:gd name="connsiteY7" fmla="*/ 0 h 114246"/>
                <a:gd name="connsiteX8" fmla="*/ 6082 w 69901"/>
                <a:gd name="connsiteY8" fmla="*/ 15374 h 114246"/>
                <a:gd name="connsiteX9" fmla="*/ 2324 w 69901"/>
                <a:gd name="connsiteY9" fmla="*/ 48171 h 114246"/>
                <a:gd name="connsiteX10" fmla="*/ 18381 w 69901"/>
                <a:gd name="connsiteY10" fmla="*/ 83360 h 114246"/>
                <a:gd name="connsiteX11" fmla="*/ 32047 w 69901"/>
                <a:gd name="connsiteY11" fmla="*/ 112399 h 114246"/>
                <a:gd name="connsiteX12" fmla="*/ 36488 w 69901"/>
                <a:gd name="connsiteY12" fmla="*/ 113765 h 114246"/>
                <a:gd name="connsiteX13" fmla="*/ 37855 w 69901"/>
                <a:gd name="connsiteY13" fmla="*/ 112399 h 114246"/>
                <a:gd name="connsiteX14" fmla="*/ 51520 w 69901"/>
                <a:gd name="connsiteY14" fmla="*/ 83360 h 114246"/>
                <a:gd name="connsiteX15" fmla="*/ 67577 w 69901"/>
                <a:gd name="connsiteY15" fmla="*/ 48171 h 114246"/>
                <a:gd name="connsiteX16" fmla="*/ 63819 w 69901"/>
                <a:gd name="connsiteY16" fmla="*/ 15374 h 114246"/>
                <a:gd name="connsiteX17" fmla="*/ 35122 w 69901"/>
                <a:gd name="connsiteY17" fmla="*/ 0 h 114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901" h="114246">
                  <a:moveTo>
                    <a:pt x="35122" y="50562"/>
                  </a:moveTo>
                  <a:cubicBezTo>
                    <a:pt x="26922" y="50562"/>
                    <a:pt x="20090" y="43730"/>
                    <a:pt x="20090" y="35530"/>
                  </a:cubicBezTo>
                  <a:cubicBezTo>
                    <a:pt x="20090" y="27331"/>
                    <a:pt x="26922" y="20498"/>
                    <a:pt x="35122" y="20498"/>
                  </a:cubicBezTo>
                  <a:cubicBezTo>
                    <a:pt x="43321" y="20498"/>
                    <a:pt x="50154" y="27331"/>
                    <a:pt x="50154" y="35530"/>
                  </a:cubicBezTo>
                  <a:lnTo>
                    <a:pt x="50154" y="35530"/>
                  </a:lnTo>
                  <a:cubicBezTo>
                    <a:pt x="50154" y="43730"/>
                    <a:pt x="43321" y="50562"/>
                    <a:pt x="35122" y="50562"/>
                  </a:cubicBezTo>
                  <a:cubicBezTo>
                    <a:pt x="35122" y="50562"/>
                    <a:pt x="35122" y="50562"/>
                    <a:pt x="35122" y="50562"/>
                  </a:cubicBezTo>
                  <a:close/>
                  <a:moveTo>
                    <a:pt x="35122" y="0"/>
                  </a:moveTo>
                  <a:cubicBezTo>
                    <a:pt x="23506" y="0"/>
                    <a:pt x="12574" y="5808"/>
                    <a:pt x="6082" y="15374"/>
                  </a:cubicBezTo>
                  <a:cubicBezTo>
                    <a:pt x="-409" y="24940"/>
                    <a:pt x="-1775" y="37238"/>
                    <a:pt x="2324" y="48171"/>
                  </a:cubicBezTo>
                  <a:lnTo>
                    <a:pt x="18381" y="83360"/>
                  </a:lnTo>
                  <a:lnTo>
                    <a:pt x="32047" y="112399"/>
                  </a:lnTo>
                  <a:cubicBezTo>
                    <a:pt x="33072" y="114107"/>
                    <a:pt x="35122" y="114790"/>
                    <a:pt x="36488" y="113765"/>
                  </a:cubicBezTo>
                  <a:cubicBezTo>
                    <a:pt x="37171" y="113424"/>
                    <a:pt x="37513" y="113082"/>
                    <a:pt x="37855" y="112399"/>
                  </a:cubicBezTo>
                  <a:lnTo>
                    <a:pt x="51520" y="83360"/>
                  </a:lnTo>
                  <a:lnTo>
                    <a:pt x="67577" y="48171"/>
                  </a:lnTo>
                  <a:cubicBezTo>
                    <a:pt x="71677" y="37238"/>
                    <a:pt x="70310" y="24940"/>
                    <a:pt x="63819" y="15374"/>
                  </a:cubicBezTo>
                  <a:cubicBezTo>
                    <a:pt x="57670" y="5808"/>
                    <a:pt x="46737" y="0"/>
                    <a:pt x="35122" y="0"/>
                  </a:cubicBezTo>
                  <a:close/>
                </a:path>
              </a:pathLst>
            </a:custGeom>
            <a:solidFill>
              <a:srgbClr val="EC6224"/>
            </a:solidFill>
            <a:ln w="3373" cap="flat">
              <a:noFill/>
              <a:prstDash val="solid"/>
              <a:miter/>
            </a:ln>
          </p:spPr>
          <p:txBody>
            <a:bodyPr rtlCol="0" anchor="ctr"/>
            <a:lstStyle/>
            <a:p>
              <a:endParaRPr lang="nl-NL" dirty="0"/>
            </a:p>
          </p:txBody>
        </p:sp>
        <p:sp>
          <p:nvSpPr>
            <p:cNvPr id="36" name="Freeform: Shape 35">
              <a:extLst>
                <a:ext uri="{FF2B5EF4-FFF2-40B4-BE49-F238E27FC236}">
                  <a16:creationId xmlns:a16="http://schemas.microsoft.com/office/drawing/2014/main" id="{3626C84F-1302-4C18-AFA6-8A744EEF5419}"/>
                </a:ext>
              </a:extLst>
            </p:cNvPr>
            <p:cNvSpPr/>
            <p:nvPr/>
          </p:nvSpPr>
          <p:spPr>
            <a:xfrm>
              <a:off x="4566605" y="2851821"/>
              <a:ext cx="87391" cy="141567"/>
            </a:xfrm>
            <a:custGeom>
              <a:avLst/>
              <a:gdLst>
                <a:gd name="connsiteX0" fmla="*/ 43817 w 87391"/>
                <a:gd name="connsiteY0" fmla="*/ 62520 h 141567"/>
                <a:gd name="connsiteX1" fmla="*/ 25027 w 87391"/>
                <a:gd name="connsiteY1" fmla="*/ 43730 h 141567"/>
                <a:gd name="connsiteX2" fmla="*/ 43817 w 87391"/>
                <a:gd name="connsiteY2" fmla="*/ 24940 h 141567"/>
                <a:gd name="connsiteX3" fmla="*/ 62607 w 87391"/>
                <a:gd name="connsiteY3" fmla="*/ 43730 h 141567"/>
                <a:gd name="connsiteX4" fmla="*/ 62607 w 87391"/>
                <a:gd name="connsiteY4" fmla="*/ 43730 h 141567"/>
                <a:gd name="connsiteX5" fmla="*/ 43817 w 87391"/>
                <a:gd name="connsiteY5" fmla="*/ 62520 h 141567"/>
                <a:gd name="connsiteX6" fmla="*/ 43817 w 87391"/>
                <a:gd name="connsiteY6" fmla="*/ 62520 h 141567"/>
                <a:gd name="connsiteX7" fmla="*/ 43817 w 87391"/>
                <a:gd name="connsiteY7" fmla="*/ 62520 h 141567"/>
                <a:gd name="connsiteX8" fmla="*/ 43817 w 87391"/>
                <a:gd name="connsiteY8" fmla="*/ 0 h 141567"/>
                <a:gd name="connsiteX9" fmla="*/ 7604 w 87391"/>
                <a:gd name="connsiteY9" fmla="*/ 19132 h 141567"/>
                <a:gd name="connsiteX10" fmla="*/ 3162 w 87391"/>
                <a:gd name="connsiteY10" fmla="*/ 59787 h 141567"/>
                <a:gd name="connsiteX11" fmla="*/ 22977 w 87391"/>
                <a:gd name="connsiteY11" fmla="*/ 103516 h 141567"/>
                <a:gd name="connsiteX12" fmla="*/ 40059 w 87391"/>
                <a:gd name="connsiteY12" fmla="*/ 139388 h 141567"/>
                <a:gd name="connsiteX13" fmla="*/ 45867 w 87391"/>
                <a:gd name="connsiteY13" fmla="*/ 141096 h 141567"/>
                <a:gd name="connsiteX14" fmla="*/ 47575 w 87391"/>
                <a:gd name="connsiteY14" fmla="*/ 139388 h 141567"/>
                <a:gd name="connsiteX15" fmla="*/ 64657 w 87391"/>
                <a:gd name="connsiteY15" fmla="*/ 103516 h 141567"/>
                <a:gd name="connsiteX16" fmla="*/ 84472 w 87391"/>
                <a:gd name="connsiteY16" fmla="*/ 59787 h 141567"/>
                <a:gd name="connsiteX17" fmla="*/ 80031 w 87391"/>
                <a:gd name="connsiteY17" fmla="*/ 19132 h 141567"/>
                <a:gd name="connsiteX18" fmla="*/ 43817 w 87391"/>
                <a:gd name="connsiteY18" fmla="*/ 0 h 141567"/>
                <a:gd name="connsiteX19" fmla="*/ 43817 w 87391"/>
                <a:gd name="connsiteY19" fmla="*/ 0 h 14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7391" h="141567">
                  <a:moveTo>
                    <a:pt x="43817" y="62520"/>
                  </a:moveTo>
                  <a:cubicBezTo>
                    <a:pt x="33568" y="62520"/>
                    <a:pt x="25027" y="53979"/>
                    <a:pt x="25027" y="43730"/>
                  </a:cubicBezTo>
                  <a:cubicBezTo>
                    <a:pt x="25027" y="33480"/>
                    <a:pt x="33568" y="24940"/>
                    <a:pt x="43817" y="24940"/>
                  </a:cubicBezTo>
                  <a:cubicBezTo>
                    <a:pt x="54066" y="24940"/>
                    <a:pt x="62607" y="33480"/>
                    <a:pt x="62607" y="43730"/>
                  </a:cubicBezTo>
                  <a:cubicBezTo>
                    <a:pt x="62607" y="43730"/>
                    <a:pt x="62607" y="43730"/>
                    <a:pt x="62607" y="43730"/>
                  </a:cubicBezTo>
                  <a:cubicBezTo>
                    <a:pt x="62607" y="53979"/>
                    <a:pt x="54066" y="62520"/>
                    <a:pt x="43817" y="62520"/>
                  </a:cubicBezTo>
                  <a:cubicBezTo>
                    <a:pt x="43817" y="62520"/>
                    <a:pt x="43817" y="62520"/>
                    <a:pt x="43817" y="62520"/>
                  </a:cubicBezTo>
                  <a:lnTo>
                    <a:pt x="43817" y="62520"/>
                  </a:lnTo>
                  <a:close/>
                  <a:moveTo>
                    <a:pt x="43817" y="0"/>
                  </a:moveTo>
                  <a:cubicBezTo>
                    <a:pt x="29468" y="0"/>
                    <a:pt x="15803" y="7174"/>
                    <a:pt x="7604" y="19132"/>
                  </a:cubicBezTo>
                  <a:cubicBezTo>
                    <a:pt x="-596" y="31089"/>
                    <a:pt x="-2304" y="46463"/>
                    <a:pt x="3162" y="59787"/>
                  </a:cubicBezTo>
                  <a:lnTo>
                    <a:pt x="22977" y="103516"/>
                  </a:lnTo>
                  <a:lnTo>
                    <a:pt x="40059" y="139388"/>
                  </a:lnTo>
                  <a:cubicBezTo>
                    <a:pt x="41084" y="141438"/>
                    <a:pt x="43817" y="142121"/>
                    <a:pt x="45867" y="141096"/>
                  </a:cubicBezTo>
                  <a:cubicBezTo>
                    <a:pt x="46550" y="140755"/>
                    <a:pt x="47234" y="140071"/>
                    <a:pt x="47575" y="139388"/>
                  </a:cubicBezTo>
                  <a:lnTo>
                    <a:pt x="64657" y="103516"/>
                  </a:lnTo>
                  <a:lnTo>
                    <a:pt x="84472" y="59787"/>
                  </a:lnTo>
                  <a:cubicBezTo>
                    <a:pt x="89597" y="46463"/>
                    <a:pt x="87888" y="31089"/>
                    <a:pt x="80031" y="19132"/>
                  </a:cubicBezTo>
                  <a:cubicBezTo>
                    <a:pt x="71832" y="7174"/>
                    <a:pt x="58166" y="0"/>
                    <a:pt x="43817" y="0"/>
                  </a:cubicBezTo>
                  <a:lnTo>
                    <a:pt x="43817" y="0"/>
                  </a:lnTo>
                  <a:close/>
                </a:path>
              </a:pathLst>
            </a:custGeom>
            <a:solidFill>
              <a:srgbClr val="EC6224"/>
            </a:solidFill>
            <a:ln w="3373" cap="flat">
              <a:noFill/>
              <a:prstDash val="solid"/>
              <a:miter/>
            </a:ln>
          </p:spPr>
          <p:txBody>
            <a:bodyPr rtlCol="0" anchor="ctr"/>
            <a:lstStyle/>
            <a:p>
              <a:endParaRPr lang="nl-NL" dirty="0"/>
            </a:p>
          </p:txBody>
        </p:sp>
        <p:sp>
          <p:nvSpPr>
            <p:cNvPr id="37" name="Freeform: Shape 36">
              <a:extLst>
                <a:ext uri="{FF2B5EF4-FFF2-40B4-BE49-F238E27FC236}">
                  <a16:creationId xmlns:a16="http://schemas.microsoft.com/office/drawing/2014/main" id="{A159A787-C7E4-4F6A-BFDF-948EF6505FB7}"/>
                </a:ext>
              </a:extLst>
            </p:cNvPr>
            <p:cNvSpPr/>
            <p:nvPr/>
          </p:nvSpPr>
          <p:spPr>
            <a:xfrm>
              <a:off x="4637753" y="2973102"/>
              <a:ext cx="20498" cy="20498"/>
            </a:xfrm>
            <a:custGeom>
              <a:avLst/>
              <a:gdLst>
                <a:gd name="connsiteX0" fmla="*/ 20498 w 20498"/>
                <a:gd name="connsiteY0" fmla="*/ 20498 h 20498"/>
                <a:gd name="connsiteX1" fmla="*/ 11616 w 20498"/>
                <a:gd name="connsiteY1" fmla="*/ 20498 h 20498"/>
                <a:gd name="connsiteX2" fmla="*/ 0 w 20498"/>
                <a:gd name="connsiteY2" fmla="*/ 20498 h 20498"/>
                <a:gd name="connsiteX3" fmla="*/ 0 w 20498"/>
                <a:gd name="connsiteY3" fmla="*/ 0 h 20498"/>
                <a:gd name="connsiteX4" fmla="*/ 11616 w 20498"/>
                <a:gd name="connsiteY4" fmla="*/ 0 h 20498"/>
                <a:gd name="connsiteX5" fmla="*/ 20498 w 20498"/>
                <a:gd name="connsiteY5" fmla="*/ 0 h 20498"/>
                <a:gd name="connsiteX6" fmla="*/ 20498 w 20498"/>
                <a:gd name="connsiteY6" fmla="*/ 20498 h 2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98" h="20498">
                  <a:moveTo>
                    <a:pt x="20498" y="20498"/>
                  </a:moveTo>
                  <a:lnTo>
                    <a:pt x="11616" y="20498"/>
                  </a:lnTo>
                  <a:cubicBezTo>
                    <a:pt x="7516" y="20498"/>
                    <a:pt x="3758" y="20498"/>
                    <a:pt x="0" y="20498"/>
                  </a:cubicBezTo>
                  <a:lnTo>
                    <a:pt x="0" y="0"/>
                  </a:lnTo>
                  <a:cubicBezTo>
                    <a:pt x="3416" y="0"/>
                    <a:pt x="7516" y="0"/>
                    <a:pt x="11616" y="0"/>
                  </a:cubicBezTo>
                  <a:lnTo>
                    <a:pt x="20498" y="0"/>
                  </a:lnTo>
                  <a:lnTo>
                    <a:pt x="20498" y="20498"/>
                  </a:lnTo>
                  <a:close/>
                </a:path>
              </a:pathLst>
            </a:custGeom>
            <a:solidFill>
              <a:srgbClr val="000000"/>
            </a:solidFill>
            <a:ln w="3373" cap="flat">
              <a:noFill/>
              <a:prstDash val="solid"/>
              <a:miter/>
            </a:ln>
          </p:spPr>
          <p:txBody>
            <a:bodyPr rtlCol="0" anchor="ctr"/>
            <a:lstStyle/>
            <a:p>
              <a:endParaRPr lang="nl-NL" dirty="0"/>
            </a:p>
          </p:txBody>
        </p:sp>
        <p:sp>
          <p:nvSpPr>
            <p:cNvPr id="38" name="Freeform: Shape 37">
              <a:extLst>
                <a:ext uri="{FF2B5EF4-FFF2-40B4-BE49-F238E27FC236}">
                  <a16:creationId xmlns:a16="http://schemas.microsoft.com/office/drawing/2014/main" id="{B239F4F8-B1CA-455E-B097-397B269B73EA}"/>
                </a:ext>
              </a:extLst>
            </p:cNvPr>
            <p:cNvSpPr/>
            <p:nvPr/>
          </p:nvSpPr>
          <p:spPr>
            <a:xfrm>
              <a:off x="4672259" y="2972760"/>
              <a:ext cx="20839" cy="20839"/>
            </a:xfrm>
            <a:custGeom>
              <a:avLst/>
              <a:gdLst>
                <a:gd name="connsiteX0" fmla="*/ 0 w 20839"/>
                <a:gd name="connsiteY0" fmla="*/ 20840 h 20839"/>
                <a:gd name="connsiteX1" fmla="*/ 0 w 20839"/>
                <a:gd name="connsiteY1" fmla="*/ 342 h 20839"/>
                <a:gd name="connsiteX2" fmla="*/ 20157 w 20839"/>
                <a:gd name="connsiteY2" fmla="*/ 0 h 20839"/>
                <a:gd name="connsiteX3" fmla="*/ 20840 w 20839"/>
                <a:gd name="connsiteY3" fmla="*/ 20498 h 20839"/>
                <a:gd name="connsiteX4" fmla="*/ 0 w 20839"/>
                <a:gd name="connsiteY4" fmla="*/ 20840 h 20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39" h="20839">
                  <a:moveTo>
                    <a:pt x="0" y="20840"/>
                  </a:moveTo>
                  <a:lnTo>
                    <a:pt x="0" y="342"/>
                  </a:lnTo>
                  <a:cubicBezTo>
                    <a:pt x="7516" y="342"/>
                    <a:pt x="14007" y="342"/>
                    <a:pt x="20157" y="0"/>
                  </a:cubicBezTo>
                  <a:lnTo>
                    <a:pt x="20840" y="20498"/>
                  </a:lnTo>
                  <a:cubicBezTo>
                    <a:pt x="14349" y="20840"/>
                    <a:pt x="7516" y="20840"/>
                    <a:pt x="0" y="20840"/>
                  </a:cubicBezTo>
                  <a:close/>
                </a:path>
              </a:pathLst>
            </a:custGeom>
            <a:solidFill>
              <a:srgbClr val="000000"/>
            </a:solidFill>
            <a:ln w="3373" cap="flat">
              <a:noFill/>
              <a:prstDash val="solid"/>
              <a:miter/>
            </a:ln>
          </p:spPr>
          <p:txBody>
            <a:bodyPr rtlCol="0" anchor="ctr"/>
            <a:lstStyle/>
            <a:p>
              <a:endParaRPr lang="nl-NL" dirty="0"/>
            </a:p>
          </p:txBody>
        </p:sp>
        <p:sp>
          <p:nvSpPr>
            <p:cNvPr id="39" name="Freeform: Shape 38">
              <a:extLst>
                <a:ext uri="{FF2B5EF4-FFF2-40B4-BE49-F238E27FC236}">
                  <a16:creationId xmlns:a16="http://schemas.microsoft.com/office/drawing/2014/main" id="{2DAA6AF9-B48F-42B5-B37D-DD4FF4256ABA}"/>
                </a:ext>
              </a:extLst>
            </p:cNvPr>
            <p:cNvSpPr/>
            <p:nvPr/>
          </p:nvSpPr>
          <p:spPr>
            <a:xfrm>
              <a:off x="4705739" y="2970711"/>
              <a:ext cx="21864" cy="21864"/>
            </a:xfrm>
            <a:custGeom>
              <a:avLst/>
              <a:gdLst>
                <a:gd name="connsiteX0" fmla="*/ 1025 w 21864"/>
                <a:gd name="connsiteY0" fmla="*/ 21865 h 21864"/>
                <a:gd name="connsiteX1" fmla="*/ 0 w 21864"/>
                <a:gd name="connsiteY1" fmla="*/ 1367 h 21864"/>
                <a:gd name="connsiteX2" fmla="*/ 19815 w 21864"/>
                <a:gd name="connsiteY2" fmla="*/ 0 h 21864"/>
                <a:gd name="connsiteX3" fmla="*/ 21865 w 21864"/>
                <a:gd name="connsiteY3" fmla="*/ 20498 h 21864"/>
                <a:gd name="connsiteX4" fmla="*/ 1025 w 21864"/>
                <a:gd name="connsiteY4" fmla="*/ 21865 h 21864"/>
                <a:gd name="connsiteX5" fmla="*/ 1025 w 21864"/>
                <a:gd name="connsiteY5" fmla="*/ 21865 h 2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864" h="21864">
                  <a:moveTo>
                    <a:pt x="1025" y="21865"/>
                  </a:moveTo>
                  <a:lnTo>
                    <a:pt x="0" y="1367"/>
                  </a:lnTo>
                  <a:cubicBezTo>
                    <a:pt x="7174" y="1025"/>
                    <a:pt x="14007" y="683"/>
                    <a:pt x="19815" y="0"/>
                  </a:cubicBezTo>
                  <a:lnTo>
                    <a:pt x="21865" y="20498"/>
                  </a:lnTo>
                  <a:cubicBezTo>
                    <a:pt x="15715" y="21182"/>
                    <a:pt x="8541" y="21523"/>
                    <a:pt x="1025" y="21865"/>
                  </a:cubicBezTo>
                  <a:lnTo>
                    <a:pt x="1025" y="21865"/>
                  </a:lnTo>
                  <a:close/>
                </a:path>
              </a:pathLst>
            </a:custGeom>
            <a:solidFill>
              <a:srgbClr val="000000"/>
            </a:solidFill>
            <a:ln w="3373" cap="flat">
              <a:noFill/>
              <a:prstDash val="solid"/>
              <a:miter/>
            </a:ln>
          </p:spPr>
          <p:txBody>
            <a:bodyPr rtlCol="0" anchor="ctr"/>
            <a:lstStyle/>
            <a:p>
              <a:endParaRPr lang="nl-NL" dirty="0"/>
            </a:p>
          </p:txBody>
        </p:sp>
        <p:sp>
          <p:nvSpPr>
            <p:cNvPr id="40" name="Freeform: Shape 39">
              <a:extLst>
                <a:ext uri="{FF2B5EF4-FFF2-40B4-BE49-F238E27FC236}">
                  <a16:creationId xmlns:a16="http://schemas.microsoft.com/office/drawing/2014/main" id="{B4473DFA-1361-4CF2-8670-FBB85EEED5C4}"/>
                </a:ext>
              </a:extLst>
            </p:cNvPr>
            <p:cNvSpPr/>
            <p:nvPr/>
          </p:nvSpPr>
          <p:spPr>
            <a:xfrm>
              <a:off x="4738878" y="2965586"/>
              <a:ext cx="24256" cy="23914"/>
            </a:xfrm>
            <a:custGeom>
              <a:avLst/>
              <a:gdLst>
                <a:gd name="connsiteX0" fmla="*/ 3075 w 24256"/>
                <a:gd name="connsiteY0" fmla="*/ 23915 h 23914"/>
                <a:gd name="connsiteX1" fmla="*/ 0 w 24256"/>
                <a:gd name="connsiteY1" fmla="*/ 3758 h 23914"/>
                <a:gd name="connsiteX2" fmla="*/ 18790 w 24256"/>
                <a:gd name="connsiteY2" fmla="*/ 0 h 23914"/>
                <a:gd name="connsiteX3" fmla="*/ 24256 w 24256"/>
                <a:gd name="connsiteY3" fmla="*/ 19815 h 23914"/>
                <a:gd name="connsiteX4" fmla="*/ 3075 w 24256"/>
                <a:gd name="connsiteY4" fmla="*/ 23915 h 23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6" h="23914">
                  <a:moveTo>
                    <a:pt x="3075" y="23915"/>
                  </a:moveTo>
                  <a:lnTo>
                    <a:pt x="0" y="3758"/>
                  </a:lnTo>
                  <a:cubicBezTo>
                    <a:pt x="6491" y="2733"/>
                    <a:pt x="12641" y="1708"/>
                    <a:pt x="18790" y="0"/>
                  </a:cubicBezTo>
                  <a:lnTo>
                    <a:pt x="24256" y="19815"/>
                  </a:lnTo>
                  <a:cubicBezTo>
                    <a:pt x="17082" y="21523"/>
                    <a:pt x="10249" y="22890"/>
                    <a:pt x="3075" y="23915"/>
                  </a:cubicBezTo>
                  <a:close/>
                </a:path>
              </a:pathLst>
            </a:custGeom>
            <a:solidFill>
              <a:srgbClr val="000000"/>
            </a:solidFill>
            <a:ln w="3373" cap="flat">
              <a:noFill/>
              <a:prstDash val="solid"/>
              <a:miter/>
            </a:ln>
          </p:spPr>
          <p:txBody>
            <a:bodyPr rtlCol="0" anchor="ctr"/>
            <a:lstStyle/>
            <a:p>
              <a:endParaRPr lang="nl-NL" dirty="0"/>
            </a:p>
          </p:txBody>
        </p:sp>
        <p:sp>
          <p:nvSpPr>
            <p:cNvPr id="41" name="Freeform: Shape 40">
              <a:extLst>
                <a:ext uri="{FF2B5EF4-FFF2-40B4-BE49-F238E27FC236}">
                  <a16:creationId xmlns:a16="http://schemas.microsoft.com/office/drawing/2014/main" id="{999A0416-CBF4-416D-A101-7D25788CB7DC}"/>
                </a:ext>
              </a:extLst>
            </p:cNvPr>
            <p:cNvSpPr/>
            <p:nvPr/>
          </p:nvSpPr>
          <p:spPr>
            <a:xfrm>
              <a:off x="4769284" y="2953287"/>
              <a:ext cx="29039" cy="26989"/>
            </a:xfrm>
            <a:custGeom>
              <a:avLst/>
              <a:gdLst>
                <a:gd name="connsiteX0" fmla="*/ 8199 w 29039"/>
                <a:gd name="connsiteY0" fmla="*/ 26989 h 26989"/>
                <a:gd name="connsiteX1" fmla="*/ 0 w 29039"/>
                <a:gd name="connsiteY1" fmla="*/ 8199 h 26989"/>
                <a:gd name="connsiteX2" fmla="*/ 10932 w 29039"/>
                <a:gd name="connsiteY2" fmla="*/ 0 h 26989"/>
                <a:gd name="connsiteX3" fmla="*/ 29039 w 29039"/>
                <a:gd name="connsiteY3" fmla="*/ 9907 h 26989"/>
                <a:gd name="connsiteX4" fmla="*/ 8199 w 29039"/>
                <a:gd name="connsiteY4" fmla="*/ 26989 h 26989"/>
                <a:gd name="connsiteX5" fmla="*/ 8199 w 29039"/>
                <a:gd name="connsiteY5" fmla="*/ 26989 h 2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39" h="26989">
                  <a:moveTo>
                    <a:pt x="8199" y="26989"/>
                  </a:moveTo>
                  <a:lnTo>
                    <a:pt x="0" y="8199"/>
                  </a:lnTo>
                  <a:cubicBezTo>
                    <a:pt x="4441" y="6833"/>
                    <a:pt x="8199" y="3758"/>
                    <a:pt x="10932" y="0"/>
                  </a:cubicBezTo>
                  <a:lnTo>
                    <a:pt x="29039" y="9907"/>
                  </a:lnTo>
                  <a:cubicBezTo>
                    <a:pt x="23915" y="17765"/>
                    <a:pt x="16740" y="23573"/>
                    <a:pt x="8199" y="26989"/>
                  </a:cubicBezTo>
                  <a:lnTo>
                    <a:pt x="8199" y="26989"/>
                  </a:lnTo>
                  <a:close/>
                </a:path>
              </a:pathLst>
            </a:custGeom>
            <a:solidFill>
              <a:srgbClr val="000000"/>
            </a:solidFill>
            <a:ln w="3373" cap="flat">
              <a:noFill/>
              <a:prstDash val="solid"/>
              <a:miter/>
            </a:ln>
          </p:spPr>
          <p:txBody>
            <a:bodyPr rtlCol="0" anchor="ctr"/>
            <a:lstStyle/>
            <a:p>
              <a:endParaRPr lang="nl-NL" dirty="0"/>
            </a:p>
          </p:txBody>
        </p:sp>
        <p:sp>
          <p:nvSpPr>
            <p:cNvPr id="42" name="Freeform: Shape 41">
              <a:extLst>
                <a:ext uri="{FF2B5EF4-FFF2-40B4-BE49-F238E27FC236}">
                  <a16:creationId xmlns:a16="http://schemas.microsoft.com/office/drawing/2014/main" id="{8B09769C-89C0-4078-9968-E1E89E21DC3C}"/>
                </a:ext>
              </a:extLst>
            </p:cNvPr>
            <p:cNvSpPr/>
            <p:nvPr/>
          </p:nvSpPr>
          <p:spPr>
            <a:xfrm>
              <a:off x="4774750" y="2920148"/>
              <a:ext cx="25964" cy="26306"/>
            </a:xfrm>
            <a:custGeom>
              <a:avLst/>
              <a:gdLst>
                <a:gd name="connsiteX0" fmla="*/ 5808 w 25964"/>
                <a:gd name="connsiteY0" fmla="*/ 26306 h 26306"/>
                <a:gd name="connsiteX1" fmla="*/ 0 w 25964"/>
                <a:gd name="connsiteY1" fmla="*/ 14349 h 26306"/>
                <a:gd name="connsiteX2" fmla="*/ 14349 w 25964"/>
                <a:gd name="connsiteY2" fmla="*/ 0 h 26306"/>
                <a:gd name="connsiteX3" fmla="*/ 25964 w 25964"/>
                <a:gd name="connsiteY3" fmla="*/ 23915 h 26306"/>
                <a:gd name="connsiteX4" fmla="*/ 5808 w 25964"/>
                <a:gd name="connsiteY4" fmla="*/ 26306 h 26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64" h="26306">
                  <a:moveTo>
                    <a:pt x="5808" y="26306"/>
                  </a:moveTo>
                  <a:cubicBezTo>
                    <a:pt x="5125" y="21865"/>
                    <a:pt x="3075" y="17424"/>
                    <a:pt x="0" y="14349"/>
                  </a:cubicBezTo>
                  <a:lnTo>
                    <a:pt x="14349" y="0"/>
                  </a:lnTo>
                  <a:cubicBezTo>
                    <a:pt x="20840" y="6491"/>
                    <a:pt x="24940" y="14690"/>
                    <a:pt x="25964" y="23915"/>
                  </a:cubicBezTo>
                  <a:lnTo>
                    <a:pt x="5808" y="26306"/>
                  </a:lnTo>
                  <a:close/>
                </a:path>
              </a:pathLst>
            </a:custGeom>
            <a:solidFill>
              <a:srgbClr val="000000"/>
            </a:solidFill>
            <a:ln w="3373" cap="flat">
              <a:noFill/>
              <a:prstDash val="solid"/>
              <a:miter/>
            </a:ln>
          </p:spPr>
          <p:txBody>
            <a:bodyPr rtlCol="0" anchor="ctr"/>
            <a:lstStyle/>
            <a:p>
              <a:endParaRPr lang="nl-NL" dirty="0"/>
            </a:p>
          </p:txBody>
        </p:sp>
        <p:sp>
          <p:nvSpPr>
            <p:cNvPr id="43" name="Freeform: Shape 42">
              <a:extLst>
                <a:ext uri="{FF2B5EF4-FFF2-40B4-BE49-F238E27FC236}">
                  <a16:creationId xmlns:a16="http://schemas.microsoft.com/office/drawing/2014/main" id="{BF202281-EA57-4A40-8C9B-7C3CC14BF82F}"/>
                </a:ext>
              </a:extLst>
            </p:cNvPr>
            <p:cNvSpPr/>
            <p:nvPr/>
          </p:nvSpPr>
          <p:spPr>
            <a:xfrm>
              <a:off x="4749127" y="2902042"/>
              <a:ext cx="26647" cy="26306"/>
            </a:xfrm>
            <a:custGeom>
              <a:avLst/>
              <a:gdLst>
                <a:gd name="connsiteX0" fmla="*/ 17082 w 26647"/>
                <a:gd name="connsiteY0" fmla="*/ 26306 h 26306"/>
                <a:gd name="connsiteX1" fmla="*/ 0 w 26647"/>
                <a:gd name="connsiteY1" fmla="*/ 19473 h 26306"/>
                <a:gd name="connsiteX2" fmla="*/ 5808 w 26647"/>
                <a:gd name="connsiteY2" fmla="*/ 0 h 26306"/>
                <a:gd name="connsiteX3" fmla="*/ 26648 w 26647"/>
                <a:gd name="connsiteY3" fmla="*/ 8199 h 26306"/>
                <a:gd name="connsiteX4" fmla="*/ 17082 w 26647"/>
                <a:gd name="connsiteY4" fmla="*/ 26306 h 26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7" h="26306">
                  <a:moveTo>
                    <a:pt x="17082" y="26306"/>
                  </a:moveTo>
                  <a:cubicBezTo>
                    <a:pt x="11616" y="23573"/>
                    <a:pt x="5808" y="21182"/>
                    <a:pt x="0" y="19473"/>
                  </a:cubicBezTo>
                  <a:lnTo>
                    <a:pt x="5808" y="0"/>
                  </a:lnTo>
                  <a:cubicBezTo>
                    <a:pt x="12982" y="2050"/>
                    <a:pt x="20157" y="4783"/>
                    <a:pt x="26648" y="8199"/>
                  </a:cubicBezTo>
                  <a:lnTo>
                    <a:pt x="17082" y="26306"/>
                  </a:lnTo>
                  <a:close/>
                </a:path>
              </a:pathLst>
            </a:custGeom>
            <a:solidFill>
              <a:srgbClr val="000000"/>
            </a:solidFill>
            <a:ln w="3373" cap="flat">
              <a:noFill/>
              <a:prstDash val="solid"/>
              <a:miter/>
            </a:ln>
          </p:spPr>
          <p:txBody>
            <a:bodyPr rtlCol="0" anchor="ctr"/>
            <a:lstStyle/>
            <a:p>
              <a:endParaRPr lang="nl-NL" dirty="0"/>
            </a:p>
          </p:txBody>
        </p:sp>
        <p:sp>
          <p:nvSpPr>
            <p:cNvPr id="44" name="Freeform: Shape 43">
              <a:extLst>
                <a:ext uri="{FF2B5EF4-FFF2-40B4-BE49-F238E27FC236}">
                  <a16:creationId xmlns:a16="http://schemas.microsoft.com/office/drawing/2014/main" id="{7194DD7F-E072-4BCC-A3A1-1F25B2327DA9}"/>
                </a:ext>
              </a:extLst>
            </p:cNvPr>
            <p:cNvSpPr/>
            <p:nvPr/>
          </p:nvSpPr>
          <p:spPr>
            <a:xfrm>
              <a:off x="4715988" y="2893159"/>
              <a:ext cx="24939" cy="24939"/>
            </a:xfrm>
            <a:custGeom>
              <a:avLst/>
              <a:gdLst>
                <a:gd name="connsiteX0" fmla="*/ 20157 w 24939"/>
                <a:gd name="connsiteY0" fmla="*/ 24940 h 24939"/>
                <a:gd name="connsiteX1" fmla="*/ 14690 w 24939"/>
                <a:gd name="connsiteY1" fmla="*/ 23573 h 24939"/>
                <a:gd name="connsiteX2" fmla="*/ 0 w 24939"/>
                <a:gd name="connsiteY2" fmla="*/ 19815 h 24939"/>
                <a:gd name="connsiteX3" fmla="*/ 5466 w 24939"/>
                <a:gd name="connsiteY3" fmla="*/ 0 h 24939"/>
                <a:gd name="connsiteX4" fmla="*/ 19473 w 24939"/>
                <a:gd name="connsiteY4" fmla="*/ 3758 h 24939"/>
                <a:gd name="connsiteX5" fmla="*/ 24940 w 24939"/>
                <a:gd name="connsiteY5" fmla="*/ 5125 h 24939"/>
                <a:gd name="connsiteX6" fmla="*/ 20157 w 24939"/>
                <a:gd name="connsiteY6" fmla="*/ 24940 h 2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39" h="24939">
                  <a:moveTo>
                    <a:pt x="20157" y="24940"/>
                  </a:moveTo>
                  <a:lnTo>
                    <a:pt x="14690" y="23573"/>
                  </a:lnTo>
                  <a:cubicBezTo>
                    <a:pt x="9907" y="22206"/>
                    <a:pt x="4783" y="21182"/>
                    <a:pt x="0" y="19815"/>
                  </a:cubicBezTo>
                  <a:lnTo>
                    <a:pt x="5466" y="0"/>
                  </a:lnTo>
                  <a:cubicBezTo>
                    <a:pt x="9907" y="1367"/>
                    <a:pt x="14690" y="2391"/>
                    <a:pt x="19473" y="3758"/>
                  </a:cubicBezTo>
                  <a:lnTo>
                    <a:pt x="24940" y="5125"/>
                  </a:lnTo>
                  <a:lnTo>
                    <a:pt x="20157" y="24940"/>
                  </a:lnTo>
                  <a:close/>
                </a:path>
              </a:pathLst>
            </a:custGeom>
            <a:solidFill>
              <a:srgbClr val="000000"/>
            </a:solidFill>
            <a:ln w="3373" cap="flat">
              <a:noFill/>
              <a:prstDash val="solid"/>
              <a:miter/>
            </a:ln>
          </p:spPr>
          <p:txBody>
            <a:bodyPr rtlCol="0" anchor="ctr"/>
            <a:lstStyle/>
            <a:p>
              <a:endParaRPr lang="nl-NL" dirty="0"/>
            </a:p>
          </p:txBody>
        </p:sp>
        <p:sp>
          <p:nvSpPr>
            <p:cNvPr id="45" name="Freeform: Shape 44">
              <a:extLst>
                <a:ext uri="{FF2B5EF4-FFF2-40B4-BE49-F238E27FC236}">
                  <a16:creationId xmlns:a16="http://schemas.microsoft.com/office/drawing/2014/main" id="{690C57B3-9C2D-4DC7-AE6C-99E4EEC23F09}"/>
                </a:ext>
              </a:extLst>
            </p:cNvPr>
            <p:cNvSpPr/>
            <p:nvPr/>
          </p:nvSpPr>
          <p:spPr>
            <a:xfrm>
              <a:off x="4680800" y="2881543"/>
              <a:ext cx="28697" cy="26647"/>
            </a:xfrm>
            <a:custGeom>
              <a:avLst/>
              <a:gdLst>
                <a:gd name="connsiteX0" fmla="*/ 21182 w 28697"/>
                <a:gd name="connsiteY0" fmla="*/ 26648 h 26647"/>
                <a:gd name="connsiteX1" fmla="*/ 0 w 28697"/>
                <a:gd name="connsiteY1" fmla="*/ 11616 h 26647"/>
                <a:gd name="connsiteX2" fmla="*/ 16740 w 28697"/>
                <a:gd name="connsiteY2" fmla="*/ 0 h 26647"/>
                <a:gd name="connsiteX3" fmla="*/ 28698 w 28697"/>
                <a:gd name="connsiteY3" fmla="*/ 7858 h 26647"/>
                <a:gd name="connsiteX4" fmla="*/ 21182 w 28697"/>
                <a:gd name="connsiteY4" fmla="*/ 26648 h 2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7" h="26647">
                  <a:moveTo>
                    <a:pt x="21182" y="26648"/>
                  </a:moveTo>
                  <a:cubicBezTo>
                    <a:pt x="12982" y="23573"/>
                    <a:pt x="5466" y="18448"/>
                    <a:pt x="0" y="11616"/>
                  </a:cubicBezTo>
                  <a:lnTo>
                    <a:pt x="16740" y="0"/>
                  </a:lnTo>
                  <a:cubicBezTo>
                    <a:pt x="19815" y="3758"/>
                    <a:pt x="24256" y="6491"/>
                    <a:pt x="28698" y="7858"/>
                  </a:cubicBezTo>
                  <a:lnTo>
                    <a:pt x="21182" y="26648"/>
                  </a:lnTo>
                  <a:close/>
                </a:path>
              </a:pathLst>
            </a:custGeom>
            <a:solidFill>
              <a:srgbClr val="000000"/>
            </a:solidFill>
            <a:ln w="3373" cap="flat">
              <a:noFill/>
              <a:prstDash val="solid"/>
              <a:miter/>
            </a:ln>
          </p:spPr>
          <p:txBody>
            <a:bodyPr rtlCol="0" anchor="ctr"/>
            <a:lstStyle/>
            <a:p>
              <a:endParaRPr lang="nl-NL" dirty="0"/>
            </a:p>
          </p:txBody>
        </p:sp>
        <p:sp>
          <p:nvSpPr>
            <p:cNvPr id="46" name="Freeform: Shape 45">
              <a:extLst>
                <a:ext uri="{FF2B5EF4-FFF2-40B4-BE49-F238E27FC236}">
                  <a16:creationId xmlns:a16="http://schemas.microsoft.com/office/drawing/2014/main" id="{2D80B179-A0D9-4577-85E1-C5932658063E}"/>
                </a:ext>
              </a:extLst>
            </p:cNvPr>
            <p:cNvSpPr/>
            <p:nvPr/>
          </p:nvSpPr>
          <p:spPr>
            <a:xfrm>
              <a:off x="4675675" y="2848746"/>
              <a:ext cx="26647" cy="25964"/>
            </a:xfrm>
            <a:custGeom>
              <a:avLst/>
              <a:gdLst>
                <a:gd name="connsiteX0" fmla="*/ 20498 w 26647"/>
                <a:gd name="connsiteY0" fmla="*/ 25964 h 25964"/>
                <a:gd name="connsiteX1" fmla="*/ 0 w 26647"/>
                <a:gd name="connsiteY1" fmla="*/ 24598 h 25964"/>
                <a:gd name="connsiteX2" fmla="*/ 14007 w 26647"/>
                <a:gd name="connsiteY2" fmla="*/ 0 h 25964"/>
                <a:gd name="connsiteX3" fmla="*/ 26648 w 26647"/>
                <a:gd name="connsiteY3" fmla="*/ 16057 h 25964"/>
                <a:gd name="connsiteX4" fmla="*/ 20498 w 26647"/>
                <a:gd name="connsiteY4" fmla="*/ 25964 h 25964"/>
                <a:gd name="connsiteX5" fmla="*/ 20498 w 26647"/>
                <a:gd name="connsiteY5" fmla="*/ 25964 h 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47" h="25964">
                  <a:moveTo>
                    <a:pt x="20498" y="25964"/>
                  </a:moveTo>
                  <a:lnTo>
                    <a:pt x="0" y="24598"/>
                  </a:lnTo>
                  <a:cubicBezTo>
                    <a:pt x="683" y="14690"/>
                    <a:pt x="6149" y="5808"/>
                    <a:pt x="14007" y="0"/>
                  </a:cubicBezTo>
                  <a:lnTo>
                    <a:pt x="26648" y="16057"/>
                  </a:lnTo>
                  <a:cubicBezTo>
                    <a:pt x="20498" y="21182"/>
                    <a:pt x="20498" y="24940"/>
                    <a:pt x="20498" y="25964"/>
                  </a:cubicBezTo>
                  <a:lnTo>
                    <a:pt x="20498" y="25964"/>
                  </a:lnTo>
                  <a:close/>
                </a:path>
              </a:pathLst>
            </a:custGeom>
            <a:solidFill>
              <a:srgbClr val="000000"/>
            </a:solidFill>
            <a:ln w="3373" cap="flat">
              <a:noFill/>
              <a:prstDash val="solid"/>
              <a:miter/>
            </a:ln>
          </p:spPr>
          <p:txBody>
            <a:bodyPr rtlCol="0" anchor="ctr"/>
            <a:lstStyle/>
            <a:p>
              <a:endParaRPr lang="nl-NL" dirty="0"/>
            </a:p>
          </p:txBody>
        </p:sp>
        <p:sp>
          <p:nvSpPr>
            <p:cNvPr id="49" name="Freeform: Shape 48">
              <a:extLst>
                <a:ext uri="{FF2B5EF4-FFF2-40B4-BE49-F238E27FC236}">
                  <a16:creationId xmlns:a16="http://schemas.microsoft.com/office/drawing/2014/main" id="{8F0C8280-006C-4463-9997-5B6B7BA6CAB6}"/>
                </a:ext>
              </a:extLst>
            </p:cNvPr>
            <p:cNvSpPr/>
            <p:nvPr/>
          </p:nvSpPr>
          <p:spPr>
            <a:xfrm>
              <a:off x="4703689" y="2833714"/>
              <a:ext cx="25964" cy="25964"/>
            </a:xfrm>
            <a:custGeom>
              <a:avLst/>
              <a:gdLst>
                <a:gd name="connsiteX0" fmla="*/ 8199 w 25964"/>
                <a:gd name="connsiteY0" fmla="*/ 25964 h 25964"/>
                <a:gd name="connsiteX1" fmla="*/ 0 w 25964"/>
                <a:gd name="connsiteY1" fmla="*/ 7174 h 25964"/>
                <a:gd name="connsiteX2" fmla="*/ 21182 w 25964"/>
                <a:gd name="connsiteY2" fmla="*/ 0 h 25964"/>
                <a:gd name="connsiteX3" fmla="*/ 25964 w 25964"/>
                <a:gd name="connsiteY3" fmla="*/ 19815 h 25964"/>
                <a:gd name="connsiteX4" fmla="*/ 8199 w 25964"/>
                <a:gd name="connsiteY4" fmla="*/ 25964 h 25964"/>
                <a:gd name="connsiteX5" fmla="*/ 8199 w 25964"/>
                <a:gd name="connsiteY5" fmla="*/ 25964 h 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4" h="25964">
                  <a:moveTo>
                    <a:pt x="8199" y="25964"/>
                  </a:moveTo>
                  <a:lnTo>
                    <a:pt x="0" y="7174"/>
                  </a:lnTo>
                  <a:cubicBezTo>
                    <a:pt x="6833" y="4100"/>
                    <a:pt x="14007" y="1708"/>
                    <a:pt x="21182" y="0"/>
                  </a:cubicBezTo>
                  <a:lnTo>
                    <a:pt x="25964" y="19815"/>
                  </a:lnTo>
                  <a:cubicBezTo>
                    <a:pt x="19815" y="21523"/>
                    <a:pt x="14007" y="23573"/>
                    <a:pt x="8199" y="25964"/>
                  </a:cubicBezTo>
                  <a:lnTo>
                    <a:pt x="8199" y="25964"/>
                  </a:lnTo>
                  <a:close/>
                </a:path>
              </a:pathLst>
            </a:custGeom>
            <a:solidFill>
              <a:srgbClr val="000000"/>
            </a:solidFill>
            <a:ln w="3373" cap="flat">
              <a:noFill/>
              <a:prstDash val="solid"/>
              <a:miter/>
            </a:ln>
          </p:spPr>
          <p:txBody>
            <a:bodyPr rtlCol="0" anchor="ctr"/>
            <a:lstStyle/>
            <a:p>
              <a:endParaRPr lang="nl-NL" dirty="0"/>
            </a:p>
          </p:txBody>
        </p:sp>
        <p:sp>
          <p:nvSpPr>
            <p:cNvPr id="50" name="Freeform: Shape 49">
              <a:extLst>
                <a:ext uri="{FF2B5EF4-FFF2-40B4-BE49-F238E27FC236}">
                  <a16:creationId xmlns:a16="http://schemas.microsoft.com/office/drawing/2014/main" id="{3A44C609-6A72-4E7F-8AFE-14E2B8784DAF}"/>
                </a:ext>
              </a:extLst>
            </p:cNvPr>
            <p:cNvSpPr/>
            <p:nvPr/>
          </p:nvSpPr>
          <p:spPr>
            <a:xfrm>
              <a:off x="4738878" y="2828248"/>
              <a:ext cx="22889" cy="22889"/>
            </a:xfrm>
            <a:custGeom>
              <a:avLst/>
              <a:gdLst>
                <a:gd name="connsiteX0" fmla="*/ 3416 w 22889"/>
                <a:gd name="connsiteY0" fmla="*/ 22890 h 22889"/>
                <a:gd name="connsiteX1" fmla="*/ 0 w 22889"/>
                <a:gd name="connsiteY1" fmla="*/ 2733 h 22889"/>
                <a:gd name="connsiteX2" fmla="*/ 21182 w 22889"/>
                <a:gd name="connsiteY2" fmla="*/ 0 h 22889"/>
                <a:gd name="connsiteX3" fmla="*/ 22890 w 22889"/>
                <a:gd name="connsiteY3" fmla="*/ 20498 h 22889"/>
                <a:gd name="connsiteX4" fmla="*/ 3416 w 22889"/>
                <a:gd name="connsiteY4" fmla="*/ 22890 h 22889"/>
                <a:gd name="connsiteX5" fmla="*/ 3416 w 22889"/>
                <a:gd name="connsiteY5" fmla="*/ 22890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89" h="22889">
                  <a:moveTo>
                    <a:pt x="3416" y="22890"/>
                  </a:moveTo>
                  <a:lnTo>
                    <a:pt x="0" y="2733"/>
                  </a:lnTo>
                  <a:cubicBezTo>
                    <a:pt x="8883" y="1367"/>
                    <a:pt x="16399" y="342"/>
                    <a:pt x="21182" y="0"/>
                  </a:cubicBezTo>
                  <a:lnTo>
                    <a:pt x="22890" y="20498"/>
                  </a:lnTo>
                  <a:cubicBezTo>
                    <a:pt x="19473" y="20840"/>
                    <a:pt x="11957" y="21523"/>
                    <a:pt x="3416" y="22890"/>
                  </a:cubicBezTo>
                  <a:lnTo>
                    <a:pt x="3416" y="22890"/>
                  </a:lnTo>
                  <a:close/>
                </a:path>
              </a:pathLst>
            </a:custGeom>
            <a:solidFill>
              <a:srgbClr val="000000"/>
            </a:solidFill>
            <a:ln w="3373" cap="flat">
              <a:noFill/>
              <a:prstDash val="solid"/>
              <a:miter/>
            </a:ln>
          </p:spPr>
          <p:txBody>
            <a:bodyPr rtlCol="0" anchor="ctr"/>
            <a:lstStyle/>
            <a:p>
              <a:endParaRPr lang="nl-NL" dirty="0"/>
            </a:p>
          </p:txBody>
        </p:sp>
      </p:grpSp>
      <p:sp>
        <p:nvSpPr>
          <p:cNvPr id="77" name="Graphic 75" descr="Smart Phone with solid fill">
            <a:extLst>
              <a:ext uri="{FF2B5EF4-FFF2-40B4-BE49-F238E27FC236}">
                <a16:creationId xmlns:a16="http://schemas.microsoft.com/office/drawing/2014/main" id="{8F4B36C1-1AA0-4561-BFB0-FA9C74DC8356}"/>
              </a:ext>
            </a:extLst>
          </p:cNvPr>
          <p:cNvSpPr/>
          <p:nvPr/>
        </p:nvSpPr>
        <p:spPr>
          <a:xfrm rot="21364726">
            <a:off x="4950036" y="3749911"/>
            <a:ext cx="652890" cy="1196966"/>
          </a:xfrm>
          <a:custGeom>
            <a:avLst/>
            <a:gdLst>
              <a:gd name="connsiteX0" fmla="*/ 400050 w 457200"/>
              <a:gd name="connsiteY0" fmla="*/ 723900 h 838200"/>
              <a:gd name="connsiteX1" fmla="*/ 57150 w 457200"/>
              <a:gd name="connsiteY1" fmla="*/ 723900 h 838200"/>
              <a:gd name="connsiteX2" fmla="*/ 57150 w 457200"/>
              <a:gd name="connsiteY2" fmla="*/ 114300 h 838200"/>
              <a:gd name="connsiteX3" fmla="*/ 400050 w 457200"/>
              <a:gd name="connsiteY3" fmla="*/ 114300 h 838200"/>
              <a:gd name="connsiteX4" fmla="*/ 400050 w 457200"/>
              <a:gd name="connsiteY4" fmla="*/ 723900 h 838200"/>
              <a:gd name="connsiteX5" fmla="*/ 190500 w 457200"/>
              <a:gd name="connsiteY5" fmla="*/ 38100 h 838200"/>
              <a:gd name="connsiteX6" fmla="*/ 266700 w 457200"/>
              <a:gd name="connsiteY6" fmla="*/ 38100 h 838200"/>
              <a:gd name="connsiteX7" fmla="*/ 285750 w 457200"/>
              <a:gd name="connsiteY7" fmla="*/ 57150 h 838200"/>
              <a:gd name="connsiteX8" fmla="*/ 266700 w 457200"/>
              <a:gd name="connsiteY8" fmla="*/ 76200 h 838200"/>
              <a:gd name="connsiteX9" fmla="*/ 190500 w 457200"/>
              <a:gd name="connsiteY9" fmla="*/ 76200 h 838200"/>
              <a:gd name="connsiteX10" fmla="*/ 171450 w 457200"/>
              <a:gd name="connsiteY10" fmla="*/ 57150 h 838200"/>
              <a:gd name="connsiteX11" fmla="*/ 190500 w 457200"/>
              <a:gd name="connsiteY11" fmla="*/ 38100 h 838200"/>
              <a:gd name="connsiteX12" fmla="*/ 438150 w 457200"/>
              <a:gd name="connsiteY12" fmla="*/ 0 h 838200"/>
              <a:gd name="connsiteX13" fmla="*/ 19050 w 457200"/>
              <a:gd name="connsiteY13" fmla="*/ 0 h 838200"/>
              <a:gd name="connsiteX14" fmla="*/ 0 w 457200"/>
              <a:gd name="connsiteY14" fmla="*/ 19050 h 838200"/>
              <a:gd name="connsiteX15" fmla="*/ 0 w 457200"/>
              <a:gd name="connsiteY15" fmla="*/ 819150 h 838200"/>
              <a:gd name="connsiteX16" fmla="*/ 19050 w 457200"/>
              <a:gd name="connsiteY16" fmla="*/ 838200 h 838200"/>
              <a:gd name="connsiteX17" fmla="*/ 438150 w 457200"/>
              <a:gd name="connsiteY17" fmla="*/ 838200 h 838200"/>
              <a:gd name="connsiteX18" fmla="*/ 457200 w 457200"/>
              <a:gd name="connsiteY18" fmla="*/ 819150 h 838200"/>
              <a:gd name="connsiteX19" fmla="*/ 457200 w 457200"/>
              <a:gd name="connsiteY19" fmla="*/ 19050 h 838200"/>
              <a:gd name="connsiteX20" fmla="*/ 438150 w 457200"/>
              <a:gd name="connsiteY20" fmla="*/ 0 h 83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7200" h="838200">
                <a:moveTo>
                  <a:pt x="400050" y="723900"/>
                </a:moveTo>
                <a:lnTo>
                  <a:pt x="57150" y="723900"/>
                </a:lnTo>
                <a:lnTo>
                  <a:pt x="57150" y="114300"/>
                </a:lnTo>
                <a:lnTo>
                  <a:pt x="400050" y="114300"/>
                </a:lnTo>
                <a:lnTo>
                  <a:pt x="400050" y="723900"/>
                </a:lnTo>
                <a:close/>
                <a:moveTo>
                  <a:pt x="190500" y="38100"/>
                </a:moveTo>
                <a:lnTo>
                  <a:pt x="266700" y="38100"/>
                </a:lnTo>
                <a:cubicBezTo>
                  <a:pt x="277178" y="38100"/>
                  <a:pt x="285750" y="46672"/>
                  <a:pt x="285750" y="57150"/>
                </a:cubicBezTo>
                <a:cubicBezTo>
                  <a:pt x="285750" y="67628"/>
                  <a:pt x="277178" y="76200"/>
                  <a:pt x="266700" y="76200"/>
                </a:cubicBezTo>
                <a:lnTo>
                  <a:pt x="190500" y="76200"/>
                </a:lnTo>
                <a:cubicBezTo>
                  <a:pt x="180023" y="76200"/>
                  <a:pt x="171450" y="67628"/>
                  <a:pt x="171450" y="57150"/>
                </a:cubicBezTo>
                <a:cubicBezTo>
                  <a:pt x="171450" y="46672"/>
                  <a:pt x="180023" y="38100"/>
                  <a:pt x="190500" y="38100"/>
                </a:cubicBezTo>
                <a:close/>
                <a:moveTo>
                  <a:pt x="438150" y="0"/>
                </a:moveTo>
                <a:lnTo>
                  <a:pt x="19050" y="0"/>
                </a:lnTo>
                <a:cubicBezTo>
                  <a:pt x="8572" y="0"/>
                  <a:pt x="0" y="8573"/>
                  <a:pt x="0" y="19050"/>
                </a:cubicBezTo>
                <a:lnTo>
                  <a:pt x="0" y="819150"/>
                </a:lnTo>
                <a:cubicBezTo>
                  <a:pt x="0" y="829628"/>
                  <a:pt x="8572" y="838200"/>
                  <a:pt x="19050" y="838200"/>
                </a:cubicBezTo>
                <a:lnTo>
                  <a:pt x="438150" y="838200"/>
                </a:lnTo>
                <a:cubicBezTo>
                  <a:pt x="448628" y="838200"/>
                  <a:pt x="457200" y="829628"/>
                  <a:pt x="457200" y="819150"/>
                </a:cubicBezTo>
                <a:lnTo>
                  <a:pt x="457200" y="19050"/>
                </a:lnTo>
                <a:cubicBezTo>
                  <a:pt x="457200" y="8573"/>
                  <a:pt x="448628" y="0"/>
                  <a:pt x="438150" y="0"/>
                </a:cubicBezTo>
                <a:close/>
              </a:path>
            </a:pathLst>
          </a:custGeom>
          <a:solidFill>
            <a:srgbClr val="22777B"/>
          </a:solidFill>
          <a:ln w="9525" cap="flat">
            <a:noFill/>
            <a:prstDash val="solid"/>
            <a:miter/>
          </a:ln>
          <a:extLst>
            <a:ext uri="{91240B29-F687-4F45-9708-019B960494DF}">
              <a14:hiddenLine xmlns:a14="http://schemas.microsoft.com/office/drawing/2010/main" w="9525" cap="flat">
                <a:solidFill>
                  <a:schemeClr val="tx1"/>
                </a:solidFill>
                <a:prstDash val="solid"/>
                <a:miter/>
              </a14:hiddenLine>
            </a:ext>
          </a:extLst>
        </p:spPr>
        <p:txBody>
          <a:bodyPr rtlCol="0" anchor="ctr"/>
          <a:lstStyle/>
          <a:p>
            <a:endParaRPr lang="nl-NL" dirty="0"/>
          </a:p>
        </p:txBody>
      </p:sp>
      <p:sp>
        <p:nvSpPr>
          <p:cNvPr id="59" name="Rectangle 58">
            <a:extLst>
              <a:ext uri="{FF2B5EF4-FFF2-40B4-BE49-F238E27FC236}">
                <a16:creationId xmlns:a16="http://schemas.microsoft.com/office/drawing/2014/main" id="{137DD0C0-58D2-4372-9435-A6F182CA7262}"/>
              </a:ext>
            </a:extLst>
          </p:cNvPr>
          <p:cNvSpPr/>
          <p:nvPr/>
        </p:nvSpPr>
        <p:spPr>
          <a:xfrm>
            <a:off x="6113914" y="4417390"/>
            <a:ext cx="5400000" cy="536400"/>
          </a:xfrm>
          <a:prstGeom prst="rect">
            <a:avLst/>
          </a:prstGeom>
          <a:solidFill>
            <a:schemeClr val="accent6">
              <a:lumMod val="95000"/>
            </a:schemeClr>
          </a:solidFill>
          <a:ln>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1" name="Rectangle 60">
            <a:extLst>
              <a:ext uri="{FF2B5EF4-FFF2-40B4-BE49-F238E27FC236}">
                <a16:creationId xmlns:a16="http://schemas.microsoft.com/office/drawing/2014/main" id="{723D7902-60EC-4CA2-AAF0-5EBB66F296E4}"/>
              </a:ext>
            </a:extLst>
          </p:cNvPr>
          <p:cNvSpPr/>
          <p:nvPr/>
        </p:nvSpPr>
        <p:spPr>
          <a:xfrm>
            <a:off x="6365914" y="4417390"/>
            <a:ext cx="5148000" cy="536400"/>
          </a:xfrm>
          <a:prstGeom prst="rect">
            <a:avLst/>
          </a:prstGeom>
          <a:noFill/>
          <a:ln w="9525">
            <a:noFill/>
          </a:ln>
          <a:extLst>
            <a:ext uri="{909E8E84-426E-40DD-AFC4-6F175D3DCCD1}">
              <a14:hiddenFill xmlns:a14="http://schemas.microsoft.com/office/drawing/2010/main">
                <a:solidFill>
                  <a:srgbClr val="22777B">
                    <a:alpha val="10000"/>
                  </a:srgb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1000" b="1" dirty="0"/>
              <a:t>Leefomgeving: b</a:t>
            </a:r>
            <a:r>
              <a:rPr lang="nl-NL" sz="1000" dirty="0"/>
              <a:t>etere bereikbaarheid en verkeersveiligheid en verminderde uitstoot van schadelijke stoffen resulteert in een besparing van tientallen mijloene euro’s / jr.</a:t>
            </a:r>
          </a:p>
        </p:txBody>
      </p:sp>
      <p:pic>
        <p:nvPicPr>
          <p:cNvPr id="64" name="Graphic 63" descr="Deciduous tree with solid fill">
            <a:extLst>
              <a:ext uri="{FF2B5EF4-FFF2-40B4-BE49-F238E27FC236}">
                <a16:creationId xmlns:a16="http://schemas.microsoft.com/office/drawing/2014/main" id="{FE5D5DFB-62D3-4B39-90FA-C4BB03C0CA78}"/>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145099" y="4541590"/>
            <a:ext cx="288000" cy="288000"/>
          </a:xfrm>
          <a:prstGeom prst="rect">
            <a:avLst/>
          </a:prstGeom>
        </p:spPr>
      </p:pic>
      <p:grpSp>
        <p:nvGrpSpPr>
          <p:cNvPr id="74" name="Group 73">
            <a:extLst>
              <a:ext uri="{FF2B5EF4-FFF2-40B4-BE49-F238E27FC236}">
                <a16:creationId xmlns:a16="http://schemas.microsoft.com/office/drawing/2014/main" id="{EEE0AB2F-3C4F-454A-834F-13C471A8F8A1}"/>
              </a:ext>
            </a:extLst>
          </p:cNvPr>
          <p:cNvGrpSpPr/>
          <p:nvPr/>
        </p:nvGrpSpPr>
        <p:grpSpPr>
          <a:xfrm>
            <a:off x="701659" y="55733"/>
            <a:ext cx="2040807" cy="176387"/>
            <a:chOff x="701659" y="55733"/>
            <a:chExt cx="2040807" cy="176387"/>
          </a:xfrm>
        </p:grpSpPr>
        <p:sp>
          <p:nvSpPr>
            <p:cNvPr id="75" name="Rectangle: Rounded Corners 74">
              <a:extLst>
                <a:ext uri="{FF2B5EF4-FFF2-40B4-BE49-F238E27FC236}">
                  <a16:creationId xmlns:a16="http://schemas.microsoft.com/office/drawing/2014/main" id="{D130E84E-3375-469D-B272-FF067135ECA3}"/>
                </a:ext>
              </a:extLst>
            </p:cNvPr>
            <p:cNvSpPr/>
            <p:nvPr/>
          </p:nvSpPr>
          <p:spPr>
            <a:xfrm>
              <a:off x="93125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a:t>
              </a:r>
            </a:p>
          </p:txBody>
        </p:sp>
        <p:sp>
          <p:nvSpPr>
            <p:cNvPr id="76" name="Rectangle: Rounded Corners 75">
              <a:extLst>
                <a:ext uri="{FF2B5EF4-FFF2-40B4-BE49-F238E27FC236}">
                  <a16:creationId xmlns:a16="http://schemas.microsoft.com/office/drawing/2014/main" id="{2DF45A18-D086-4CBD-9B9A-B4C9BABEA4AD}"/>
                </a:ext>
              </a:extLst>
            </p:cNvPr>
            <p:cNvSpPr/>
            <p:nvPr/>
          </p:nvSpPr>
          <p:spPr>
            <a:xfrm>
              <a:off x="116084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2</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79" name="Rectangle: Rounded Corners 78">
              <a:extLst>
                <a:ext uri="{FF2B5EF4-FFF2-40B4-BE49-F238E27FC236}">
                  <a16:creationId xmlns:a16="http://schemas.microsoft.com/office/drawing/2014/main" id="{EA0D699F-4E00-4972-8852-EA8B59B39430}"/>
                </a:ext>
              </a:extLst>
            </p:cNvPr>
            <p:cNvSpPr/>
            <p:nvPr/>
          </p:nvSpPr>
          <p:spPr>
            <a:xfrm>
              <a:off x="1390441"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3</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81" name="Rectangle: Rounded Corners 80">
              <a:extLst>
                <a:ext uri="{FF2B5EF4-FFF2-40B4-BE49-F238E27FC236}">
                  <a16:creationId xmlns:a16="http://schemas.microsoft.com/office/drawing/2014/main" id="{19BE6F65-1C7A-4184-A8C2-3EA8CCD60362}"/>
                </a:ext>
              </a:extLst>
            </p:cNvPr>
            <p:cNvSpPr/>
            <p:nvPr/>
          </p:nvSpPr>
          <p:spPr>
            <a:xfrm>
              <a:off x="1620035"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4</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82" name="Rectangle: Rounded Corners 81">
              <a:extLst>
                <a:ext uri="{FF2B5EF4-FFF2-40B4-BE49-F238E27FC236}">
                  <a16:creationId xmlns:a16="http://schemas.microsoft.com/office/drawing/2014/main" id="{7135FC72-27E5-4E26-AA50-768BDC1B8330}"/>
                </a:ext>
              </a:extLst>
            </p:cNvPr>
            <p:cNvSpPr/>
            <p:nvPr/>
          </p:nvSpPr>
          <p:spPr>
            <a:xfrm>
              <a:off x="184962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5</a:t>
              </a:r>
            </a:p>
          </p:txBody>
        </p:sp>
        <p:sp>
          <p:nvSpPr>
            <p:cNvPr id="85" name="Rectangle: Rounded Corners 84">
              <a:extLst>
                <a:ext uri="{FF2B5EF4-FFF2-40B4-BE49-F238E27FC236}">
                  <a16:creationId xmlns:a16="http://schemas.microsoft.com/office/drawing/2014/main" id="{A506EA43-8CEE-410E-8DF8-BFBED6B68264}"/>
                </a:ext>
              </a:extLst>
            </p:cNvPr>
            <p:cNvSpPr/>
            <p:nvPr/>
          </p:nvSpPr>
          <p:spPr>
            <a:xfrm>
              <a:off x="207922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6</a:t>
              </a:r>
            </a:p>
          </p:txBody>
        </p:sp>
        <p:sp>
          <p:nvSpPr>
            <p:cNvPr id="86" name="Rectangle: Rounded Corners 85">
              <a:extLst>
                <a:ext uri="{FF2B5EF4-FFF2-40B4-BE49-F238E27FC236}">
                  <a16:creationId xmlns:a16="http://schemas.microsoft.com/office/drawing/2014/main" id="{E4DE1191-9609-46A8-A8E3-5AB57B1641A4}"/>
                </a:ext>
              </a:extLst>
            </p:cNvPr>
            <p:cNvSpPr/>
            <p:nvPr/>
          </p:nvSpPr>
          <p:spPr>
            <a:xfrm>
              <a:off x="2308817" y="55733"/>
              <a:ext cx="204053" cy="176387"/>
            </a:xfrm>
            <a:prstGeom prst="roundRect">
              <a:avLst/>
            </a:prstGeom>
            <a:solidFill>
              <a:srgbClr val="EC6224"/>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7</a:t>
              </a:r>
            </a:p>
          </p:txBody>
        </p:sp>
        <p:sp>
          <p:nvSpPr>
            <p:cNvPr id="87" name="Rectangle: Rounded Corners 86">
              <a:extLst>
                <a:ext uri="{FF2B5EF4-FFF2-40B4-BE49-F238E27FC236}">
                  <a16:creationId xmlns:a16="http://schemas.microsoft.com/office/drawing/2014/main" id="{C2D5A8A5-7AE2-4EEF-94B0-1446F4431608}"/>
                </a:ext>
              </a:extLst>
            </p:cNvPr>
            <p:cNvSpPr/>
            <p:nvPr/>
          </p:nvSpPr>
          <p:spPr>
            <a:xfrm>
              <a:off x="253841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8</a:t>
              </a:r>
            </a:p>
          </p:txBody>
        </p:sp>
        <p:grpSp>
          <p:nvGrpSpPr>
            <p:cNvPr id="88" name="Group 87">
              <a:extLst>
                <a:ext uri="{FF2B5EF4-FFF2-40B4-BE49-F238E27FC236}">
                  <a16:creationId xmlns:a16="http://schemas.microsoft.com/office/drawing/2014/main" id="{08527F07-8E97-4BB5-BE96-17165DC08C63}"/>
                </a:ext>
              </a:extLst>
            </p:cNvPr>
            <p:cNvGrpSpPr/>
            <p:nvPr/>
          </p:nvGrpSpPr>
          <p:grpSpPr>
            <a:xfrm>
              <a:off x="701659" y="55733"/>
              <a:ext cx="204053" cy="176387"/>
              <a:chOff x="701659" y="55733"/>
              <a:chExt cx="204053" cy="176387"/>
            </a:xfrm>
          </p:grpSpPr>
          <p:sp>
            <p:nvSpPr>
              <p:cNvPr id="89" name="Rectangle: Rounded Corners 88">
                <a:extLst>
                  <a:ext uri="{FF2B5EF4-FFF2-40B4-BE49-F238E27FC236}">
                    <a16:creationId xmlns:a16="http://schemas.microsoft.com/office/drawing/2014/main" id="{1C3E459E-C1CE-42CA-97D2-840C6C26A363}"/>
                  </a:ext>
                </a:extLst>
              </p:cNvPr>
              <p:cNvSpPr/>
              <p:nvPr/>
            </p:nvSpPr>
            <p:spPr>
              <a:xfrm>
                <a:off x="70165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90" name="Graphic 89" descr="Home with solid fill">
                <a:hlinkClick r:id="rId17" action="ppaction://hlinksldjump"/>
                <a:extLst>
                  <a:ext uri="{FF2B5EF4-FFF2-40B4-BE49-F238E27FC236}">
                    <a16:creationId xmlns:a16="http://schemas.microsoft.com/office/drawing/2014/main" id="{8F5CD4A4-A540-4242-BA0B-53143B8185CD}"/>
                  </a:ext>
                </a:extLst>
              </p:cNvPr>
              <p:cNvPicPr>
                <a:picLocks noChangeAspect="1"/>
              </p:cNvPicPr>
              <p:nvPr/>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734263" y="63707"/>
                <a:ext cx="136149" cy="136149"/>
              </a:xfrm>
              <a:prstGeom prst="rect">
                <a:avLst/>
              </a:prstGeom>
            </p:spPr>
          </p:pic>
        </p:grpSp>
      </p:grpSp>
      <p:grpSp>
        <p:nvGrpSpPr>
          <p:cNvPr id="78" name="Group 77">
            <a:extLst>
              <a:ext uri="{FF2B5EF4-FFF2-40B4-BE49-F238E27FC236}">
                <a16:creationId xmlns:a16="http://schemas.microsoft.com/office/drawing/2014/main" id="{D0C69C80-5865-4D16-9624-E441D180B2B8}"/>
              </a:ext>
            </a:extLst>
          </p:cNvPr>
          <p:cNvGrpSpPr/>
          <p:nvPr/>
        </p:nvGrpSpPr>
        <p:grpSpPr>
          <a:xfrm>
            <a:off x="6152761" y="2495670"/>
            <a:ext cx="308188" cy="333488"/>
            <a:chOff x="6473003" y="3908845"/>
            <a:chExt cx="587210" cy="635417"/>
          </a:xfrm>
          <a:solidFill>
            <a:schemeClr val="tx1"/>
          </a:solidFill>
        </p:grpSpPr>
        <p:pic>
          <p:nvPicPr>
            <p:cNvPr id="80" name="Graphic 79" descr="Person in wheelchair with solid fill">
              <a:extLst>
                <a:ext uri="{FF2B5EF4-FFF2-40B4-BE49-F238E27FC236}">
                  <a16:creationId xmlns:a16="http://schemas.microsoft.com/office/drawing/2014/main" id="{B2095307-D4B4-48E1-9CC7-DA62100D22C6}"/>
                </a:ext>
              </a:extLst>
            </p:cNvPr>
            <p:cNvPicPr>
              <a:picLocks noChangeAspect="1"/>
            </p:cNvPicPr>
            <p:nvPr/>
          </p:nvPicPr>
          <p:blipFill>
            <a:blip r:embed="rId20" cstate="print">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6473003" y="3957052"/>
              <a:ext cx="587210" cy="587210"/>
            </a:xfrm>
            <a:prstGeom prst="rect">
              <a:avLst/>
            </a:prstGeom>
          </p:spPr>
        </p:pic>
        <p:grpSp>
          <p:nvGrpSpPr>
            <p:cNvPr id="93" name="Group 92">
              <a:extLst>
                <a:ext uri="{FF2B5EF4-FFF2-40B4-BE49-F238E27FC236}">
                  <a16:creationId xmlns:a16="http://schemas.microsoft.com/office/drawing/2014/main" id="{8CFFBB81-B7CE-43F4-859A-0614A114B21D}"/>
                </a:ext>
              </a:extLst>
            </p:cNvPr>
            <p:cNvGrpSpPr/>
            <p:nvPr/>
          </p:nvGrpSpPr>
          <p:grpSpPr>
            <a:xfrm rot="20542492">
              <a:off x="6622813" y="3908845"/>
              <a:ext cx="180000" cy="180000"/>
              <a:chOff x="6243008" y="2492337"/>
              <a:chExt cx="434301" cy="434301"/>
            </a:xfrm>
            <a:grpFill/>
          </p:grpSpPr>
          <p:sp>
            <p:nvSpPr>
              <p:cNvPr id="94" name="Freeform 332">
                <a:extLst>
                  <a:ext uri="{FF2B5EF4-FFF2-40B4-BE49-F238E27FC236}">
                    <a16:creationId xmlns:a16="http://schemas.microsoft.com/office/drawing/2014/main" id="{DD2BE9D1-56BE-49ED-AE38-7CCCAC1042B7}"/>
                  </a:ext>
                </a:extLst>
              </p:cNvPr>
              <p:cNvSpPr>
                <a:spLocks noChangeArrowheads="1"/>
              </p:cNvSpPr>
              <p:nvPr/>
            </p:nvSpPr>
            <p:spPr bwMode="auto">
              <a:xfrm>
                <a:off x="6268013" y="2618932"/>
                <a:ext cx="298651" cy="304413"/>
              </a:xfrm>
              <a:custGeom>
                <a:avLst/>
                <a:gdLst>
                  <a:gd name="T0" fmla="*/ 180 w 362"/>
                  <a:gd name="T1" fmla="*/ 0 h 361"/>
                  <a:gd name="T2" fmla="*/ 180 w 362"/>
                  <a:gd name="T3" fmla="*/ 0 h 361"/>
                  <a:gd name="T4" fmla="*/ 0 w 362"/>
                  <a:gd name="T5" fmla="*/ 180 h 361"/>
                  <a:gd name="T6" fmla="*/ 180 w 362"/>
                  <a:gd name="T7" fmla="*/ 360 h 361"/>
                  <a:gd name="T8" fmla="*/ 361 w 362"/>
                  <a:gd name="T9" fmla="*/ 180 h 361"/>
                  <a:gd name="T10" fmla="*/ 180 w 362"/>
                  <a:gd name="T11" fmla="*/ 0 h 361"/>
                </a:gdLst>
                <a:ahLst/>
                <a:cxnLst>
                  <a:cxn ang="0">
                    <a:pos x="T0" y="T1"/>
                  </a:cxn>
                  <a:cxn ang="0">
                    <a:pos x="T2" y="T3"/>
                  </a:cxn>
                  <a:cxn ang="0">
                    <a:pos x="T4" y="T5"/>
                  </a:cxn>
                  <a:cxn ang="0">
                    <a:pos x="T6" y="T7"/>
                  </a:cxn>
                  <a:cxn ang="0">
                    <a:pos x="T8" y="T9"/>
                  </a:cxn>
                  <a:cxn ang="0">
                    <a:pos x="T10" y="T11"/>
                  </a:cxn>
                </a:cxnLst>
                <a:rect l="0" t="0" r="r" b="b"/>
                <a:pathLst>
                  <a:path w="362" h="361">
                    <a:moveTo>
                      <a:pt x="180" y="0"/>
                    </a:moveTo>
                    <a:lnTo>
                      <a:pt x="180" y="0"/>
                    </a:lnTo>
                    <a:cubicBezTo>
                      <a:pt x="84" y="0"/>
                      <a:pt x="0" y="72"/>
                      <a:pt x="0" y="180"/>
                    </a:cubicBezTo>
                    <a:cubicBezTo>
                      <a:pt x="0" y="276"/>
                      <a:pt x="84" y="360"/>
                      <a:pt x="180" y="360"/>
                    </a:cubicBezTo>
                    <a:cubicBezTo>
                      <a:pt x="265" y="360"/>
                      <a:pt x="337" y="276"/>
                      <a:pt x="361" y="180"/>
                    </a:cubicBezTo>
                    <a:cubicBezTo>
                      <a:pt x="361" y="96"/>
                      <a:pt x="289" y="24"/>
                      <a:pt x="18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Arial" panose="020B0604020202020204" pitchFamily="34" charset="0"/>
                </a:endParaRPr>
              </a:p>
            </p:txBody>
          </p:sp>
          <p:pic>
            <p:nvPicPr>
              <p:cNvPr id="95" name="Graphic 94" descr="Baseball hat with solid fill">
                <a:extLst>
                  <a:ext uri="{FF2B5EF4-FFF2-40B4-BE49-F238E27FC236}">
                    <a16:creationId xmlns:a16="http://schemas.microsoft.com/office/drawing/2014/main" id="{841D8611-1A29-4B66-8414-5A00B98BCE92}"/>
                  </a:ext>
                </a:extLst>
              </p:cNvPr>
              <p:cNvPicPr>
                <a:picLocks noChangeAspect="1"/>
              </p:cNvPicPr>
              <p:nvPr/>
            </p:nvPicPr>
            <p:blipFill>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6243008" y="2492337"/>
                <a:ext cx="434301" cy="434301"/>
              </a:xfrm>
              <a:prstGeom prst="rect">
                <a:avLst/>
              </a:prstGeom>
            </p:spPr>
          </p:pic>
        </p:grpSp>
      </p:grpSp>
    </p:spTree>
    <p:extLst>
      <p:ext uri="{BB962C8B-B14F-4D97-AF65-F5344CB8AC3E}">
        <p14:creationId xmlns:p14="http://schemas.microsoft.com/office/powerpoint/2010/main" val="15630302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A7E2A55-853B-47A9-A999-76B509545684}"/>
              </a:ext>
            </a:extLst>
          </p:cNvPr>
          <p:cNvGraphicFramePr>
            <a:graphicFrameLocks noChangeAspect="1"/>
          </p:cNvGraphicFramePr>
          <p:nvPr>
            <p:custDataLst>
              <p:tags r:id="rId2"/>
            </p:custDataLst>
            <p:extLst>
              <p:ext uri="{D42A27DB-BD31-4B8C-83A1-F6EECF244321}">
                <p14:modId xmlns:p14="http://schemas.microsoft.com/office/powerpoint/2010/main" val="2066328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DA7E2A55-853B-47A9-A999-76B5095456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5" name="Freeform: Shape 64">
            <a:extLst>
              <a:ext uri="{FF2B5EF4-FFF2-40B4-BE49-F238E27FC236}">
                <a16:creationId xmlns:a16="http://schemas.microsoft.com/office/drawing/2014/main" id="{AD5A75FC-30AA-4566-B631-167C1BEB23C6}"/>
              </a:ext>
            </a:extLst>
          </p:cNvPr>
          <p:cNvSpPr/>
          <p:nvPr/>
        </p:nvSpPr>
        <p:spPr>
          <a:xfrm>
            <a:off x="6905897" y="2212891"/>
            <a:ext cx="4214949" cy="3471251"/>
          </a:xfrm>
          <a:custGeom>
            <a:avLst/>
            <a:gdLst>
              <a:gd name="connsiteX0" fmla="*/ 0 w 4214949"/>
              <a:gd name="connsiteY0" fmla="*/ 42632 h 3471251"/>
              <a:gd name="connsiteX1" fmla="*/ 3309257 w 4214949"/>
              <a:gd name="connsiteY1" fmla="*/ 234220 h 3471251"/>
              <a:gd name="connsiteX2" fmla="*/ 1558834 w 4214949"/>
              <a:gd name="connsiteY2" fmla="*/ 1845306 h 3471251"/>
              <a:gd name="connsiteX3" fmla="*/ 87086 w 4214949"/>
              <a:gd name="connsiteY3" fmla="*/ 3334472 h 3471251"/>
              <a:gd name="connsiteX4" fmla="*/ 4214949 w 4214949"/>
              <a:gd name="connsiteY4" fmla="*/ 3404140 h 3471251"/>
              <a:gd name="connsiteX5" fmla="*/ 4214949 w 4214949"/>
              <a:gd name="connsiteY5" fmla="*/ 3404140 h 347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4949" h="3471251">
                <a:moveTo>
                  <a:pt x="0" y="42632"/>
                </a:moveTo>
                <a:cubicBezTo>
                  <a:pt x="1524725" y="-11797"/>
                  <a:pt x="3049451" y="-66226"/>
                  <a:pt x="3309257" y="234220"/>
                </a:cubicBezTo>
                <a:cubicBezTo>
                  <a:pt x="3569063" y="534666"/>
                  <a:pt x="2095862" y="1328597"/>
                  <a:pt x="1558834" y="1845306"/>
                </a:cubicBezTo>
                <a:cubicBezTo>
                  <a:pt x="1021806" y="2362015"/>
                  <a:pt x="-355600" y="3074666"/>
                  <a:pt x="87086" y="3334472"/>
                </a:cubicBezTo>
                <a:cubicBezTo>
                  <a:pt x="529772" y="3594278"/>
                  <a:pt x="4214949" y="3404140"/>
                  <a:pt x="4214949" y="3404140"/>
                </a:cubicBezTo>
                <a:lnTo>
                  <a:pt x="4214949" y="3404140"/>
                </a:lnTo>
              </a:path>
            </a:pathLst>
          </a:custGeom>
          <a:noFill/>
          <a:ln>
            <a:solidFill>
              <a:schemeClr val="tx1"/>
            </a:solidFill>
            <a:prstDash val="dash"/>
          </a:ln>
        </p:spPr>
        <p:txBody>
          <a:bodyPr rtlCol="0" anchor="ctr"/>
          <a:lstStyle/>
          <a:p>
            <a:pPr algn="ctr"/>
            <a:endParaRPr lang="nl-NL" dirty="0"/>
          </a:p>
        </p:txBody>
      </p:sp>
      <p:sp>
        <p:nvSpPr>
          <p:cNvPr id="138" name="Content Placeholder 2">
            <a:extLst>
              <a:ext uri="{FF2B5EF4-FFF2-40B4-BE49-F238E27FC236}">
                <a16:creationId xmlns:a16="http://schemas.microsoft.com/office/drawing/2014/main" id="{1F47CCA3-FB13-4B1C-956F-725BCCC43D64}"/>
              </a:ext>
            </a:extLst>
          </p:cNvPr>
          <p:cNvSpPr txBox="1">
            <a:spLocks/>
          </p:cNvSpPr>
          <p:nvPr/>
        </p:nvSpPr>
        <p:spPr>
          <a:xfrm>
            <a:off x="670884" y="1597840"/>
            <a:ext cx="4005619" cy="350393"/>
          </a:xfrm>
          <a:prstGeom prst="rect">
            <a:avLst/>
          </a:prstGeom>
          <a:noFill/>
          <a:ln w="19050">
            <a:noFill/>
          </a:ln>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b="1" dirty="0">
                <a:solidFill>
                  <a:srgbClr val="22777B"/>
                </a:solidFill>
              </a:rPr>
              <a:t>MaaS-apps voor reizigers met een beperking</a:t>
            </a:r>
          </a:p>
        </p:txBody>
      </p:sp>
      <p:sp>
        <p:nvSpPr>
          <p:cNvPr id="5" name="Footer Placeholder 4">
            <a:extLst>
              <a:ext uri="{FF2B5EF4-FFF2-40B4-BE49-F238E27FC236}">
                <a16:creationId xmlns:a16="http://schemas.microsoft.com/office/drawing/2014/main" id="{6450BDB4-A43E-402D-996C-55C79B926CE4}"/>
              </a:ext>
            </a:extLst>
          </p:cNvPr>
          <p:cNvSpPr>
            <a:spLocks noGrp="1"/>
          </p:cNvSpPr>
          <p:nvPr>
            <p:ph type="ftr" sz="quarter" idx="3"/>
          </p:nvPr>
        </p:nvSpPr>
        <p:spPr/>
        <p:txBody>
          <a:bodyPr/>
          <a:lstStyle/>
          <a:p>
            <a:r>
              <a:rPr lang="nl-NL" dirty="0"/>
              <a:t>Bron: website GOAN! (geraadpleegd 9 maart 2021)</a:t>
            </a:r>
          </a:p>
        </p:txBody>
      </p:sp>
      <p:sp>
        <p:nvSpPr>
          <p:cNvPr id="6" name="Slide Number Placeholder 5">
            <a:extLst>
              <a:ext uri="{FF2B5EF4-FFF2-40B4-BE49-F238E27FC236}">
                <a16:creationId xmlns:a16="http://schemas.microsoft.com/office/drawing/2014/main" id="{EA5B4AF5-72CF-4819-8135-F522810EB50A}"/>
              </a:ext>
            </a:extLst>
          </p:cNvPr>
          <p:cNvSpPr>
            <a:spLocks noGrp="1"/>
          </p:cNvSpPr>
          <p:nvPr>
            <p:ph type="sldNum" sz="quarter" idx="12"/>
          </p:nvPr>
        </p:nvSpPr>
        <p:spPr/>
        <p:txBody>
          <a:bodyPr/>
          <a:lstStyle/>
          <a:p>
            <a:fld id="{992CD0B2-8AB2-4C6C-8876-E15753662C9B}" type="slidenum">
              <a:rPr lang="nl-NL" smtClean="0"/>
              <a:pPr/>
              <a:t>25</a:t>
            </a:fld>
            <a:endParaRPr lang="nl-NL" dirty="0"/>
          </a:p>
        </p:txBody>
      </p:sp>
      <p:sp>
        <p:nvSpPr>
          <p:cNvPr id="8" name="Title 7">
            <a:extLst>
              <a:ext uri="{FF2B5EF4-FFF2-40B4-BE49-F238E27FC236}">
                <a16:creationId xmlns:a16="http://schemas.microsoft.com/office/drawing/2014/main" id="{4CF772DC-DC31-4B79-9450-0687029A3727}"/>
              </a:ext>
            </a:extLst>
          </p:cNvPr>
          <p:cNvSpPr>
            <a:spLocks noGrp="1"/>
          </p:cNvSpPr>
          <p:nvPr>
            <p:ph type="title"/>
          </p:nvPr>
        </p:nvSpPr>
        <p:spPr>
          <a:xfrm>
            <a:off x="-1" y="265387"/>
            <a:ext cx="12192001" cy="942979"/>
          </a:xfrm>
          <a:solidFill>
            <a:srgbClr val="22777B"/>
          </a:solidFill>
        </p:spPr>
        <p:txBody>
          <a:bodyPr vert="horz" anchor="ctr"/>
          <a:lstStyle/>
          <a:p>
            <a:r>
              <a:rPr lang="nl-NL" dirty="0">
                <a:solidFill>
                  <a:srgbClr val="FFFFFF"/>
                </a:solidFill>
              </a:rPr>
              <a:t>	</a:t>
            </a:r>
          </a:p>
        </p:txBody>
      </p:sp>
      <p:sp>
        <p:nvSpPr>
          <p:cNvPr id="47" name="TextBox 46">
            <a:extLst>
              <a:ext uri="{FF2B5EF4-FFF2-40B4-BE49-F238E27FC236}">
                <a16:creationId xmlns:a16="http://schemas.microsoft.com/office/drawing/2014/main" id="{4716077D-F49C-442C-BDB1-5D321EBE6829}"/>
              </a:ext>
            </a:extLst>
          </p:cNvPr>
          <p:cNvSpPr txBox="1"/>
          <p:nvPr/>
        </p:nvSpPr>
        <p:spPr>
          <a:xfrm>
            <a:off x="658813" y="274425"/>
            <a:ext cx="6724448" cy="230832"/>
          </a:xfrm>
          <a:prstGeom prst="rect">
            <a:avLst/>
          </a:prstGeom>
          <a:noFill/>
        </p:spPr>
        <p:txBody>
          <a:bodyPr wrap="square">
            <a:spAutoFit/>
          </a:bodyPr>
          <a:lstStyle/>
          <a:p>
            <a:pPr marL="0" indent="0">
              <a:buNone/>
            </a:pPr>
            <a:r>
              <a:rPr lang="nl-NL" sz="1000" b="1" dirty="0">
                <a:solidFill>
                  <a:srgbClr val="FFFFFF"/>
                </a:solidFill>
              </a:rPr>
              <a:t>Mobility as a Service (MaaS): integeren boeking en planning</a:t>
            </a:r>
          </a:p>
        </p:txBody>
      </p:sp>
      <p:sp>
        <p:nvSpPr>
          <p:cNvPr id="48" name="TextBox 47">
            <a:extLst>
              <a:ext uri="{FF2B5EF4-FFF2-40B4-BE49-F238E27FC236}">
                <a16:creationId xmlns:a16="http://schemas.microsoft.com/office/drawing/2014/main" id="{4B8BE3FC-F351-4532-B8C6-69DA96834DD2}"/>
              </a:ext>
            </a:extLst>
          </p:cNvPr>
          <p:cNvSpPr txBox="1"/>
          <p:nvPr/>
        </p:nvSpPr>
        <p:spPr>
          <a:xfrm>
            <a:off x="658813" y="451367"/>
            <a:ext cx="10921582" cy="757130"/>
          </a:xfrm>
          <a:prstGeom prst="rect">
            <a:avLst/>
          </a:prstGeom>
          <a:noFill/>
        </p:spPr>
        <p:txBody>
          <a:bodyPr wrap="square" anchor="ctr">
            <a:spAutoFit/>
          </a:bodyPr>
          <a:lstStyle/>
          <a:p>
            <a:pPr marL="0" indent="0">
              <a:buNone/>
            </a:pPr>
            <a:r>
              <a:rPr lang="en-GB" sz="2400" b="1" dirty="0">
                <a:solidFill>
                  <a:srgbClr val="FFFFFF"/>
                </a:solidFill>
              </a:rPr>
              <a:t>E</a:t>
            </a:r>
            <a:r>
              <a:rPr lang="nl-NL" sz="2400" b="1" dirty="0">
                <a:solidFill>
                  <a:srgbClr val="FFFFFF"/>
                </a:solidFill>
              </a:rPr>
              <a:t>r lopen in Nederland zeven MaaS-pilots, waarvan één zich richt op kwetsbare doelgroepen</a:t>
            </a:r>
          </a:p>
        </p:txBody>
      </p:sp>
      <p:sp>
        <p:nvSpPr>
          <p:cNvPr id="273" name="Rectangle 272">
            <a:extLst>
              <a:ext uri="{FF2B5EF4-FFF2-40B4-BE49-F238E27FC236}">
                <a16:creationId xmlns:a16="http://schemas.microsoft.com/office/drawing/2014/main" id="{2ABE5EDE-CA92-454A-AE85-9A075F291144}"/>
              </a:ext>
            </a:extLst>
          </p:cNvPr>
          <p:cNvSpPr/>
          <p:nvPr/>
        </p:nvSpPr>
        <p:spPr>
          <a:xfrm>
            <a:off x="4033369" y="3479723"/>
            <a:ext cx="491055" cy="81734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04" name="TextBox 303">
            <a:extLst>
              <a:ext uri="{FF2B5EF4-FFF2-40B4-BE49-F238E27FC236}">
                <a16:creationId xmlns:a16="http://schemas.microsoft.com/office/drawing/2014/main" id="{BBD50557-5749-417F-8AE1-3C6DF9821D5F}"/>
              </a:ext>
            </a:extLst>
          </p:cNvPr>
          <p:cNvSpPr txBox="1"/>
          <p:nvPr/>
        </p:nvSpPr>
        <p:spPr>
          <a:xfrm>
            <a:off x="6726528" y="2366128"/>
            <a:ext cx="1699574" cy="594213"/>
          </a:xfrm>
          <a:prstGeom prst="rect">
            <a:avLst/>
          </a:prstGeom>
        </p:spPr>
        <p:txBody>
          <a:bodyPr vert="horz" wrap="square" lIns="91440" tIns="45720" rIns="91440" bIns="45720" rtlCol="0">
            <a:noAutofit/>
          </a:bodyPr>
          <a:lstStyle/>
          <a:p>
            <a:pPr marL="0" indent="0">
              <a:buNone/>
            </a:pPr>
            <a:r>
              <a:rPr lang="nl-NL" sz="1100" dirty="0">
                <a:latin typeface="+mj-lt"/>
              </a:rPr>
              <a:t>Tim wil op bezoek bij een vriend aan de andere kant van de stad</a:t>
            </a:r>
          </a:p>
        </p:txBody>
      </p:sp>
      <p:sp>
        <p:nvSpPr>
          <p:cNvPr id="305" name="TextBox 304">
            <a:extLst>
              <a:ext uri="{FF2B5EF4-FFF2-40B4-BE49-F238E27FC236}">
                <a16:creationId xmlns:a16="http://schemas.microsoft.com/office/drawing/2014/main" id="{A9BF5525-4E9C-4331-B33B-5FE97C9F62E5}"/>
              </a:ext>
            </a:extLst>
          </p:cNvPr>
          <p:cNvSpPr txBox="1"/>
          <p:nvPr/>
        </p:nvSpPr>
        <p:spPr>
          <a:xfrm>
            <a:off x="10332017" y="2184367"/>
            <a:ext cx="1153579" cy="631005"/>
          </a:xfrm>
          <a:prstGeom prst="rect">
            <a:avLst/>
          </a:prstGeom>
        </p:spPr>
        <p:txBody>
          <a:bodyPr vert="horz" wrap="square" lIns="91440" tIns="45720" rIns="91440" bIns="45720" rtlCol="0">
            <a:noAutofit/>
          </a:bodyPr>
          <a:lstStyle/>
          <a:p>
            <a:pPr marL="0" indent="0">
              <a:buNone/>
            </a:pPr>
            <a:r>
              <a:rPr lang="nl-NL" sz="1100" dirty="0">
                <a:latin typeface="+mj-lt"/>
              </a:rPr>
              <a:t>Op de app geeft Tim vertrek- en bestemmings-locatie aan</a:t>
            </a:r>
          </a:p>
        </p:txBody>
      </p:sp>
      <p:sp>
        <p:nvSpPr>
          <p:cNvPr id="326" name="Isosceles Triangle 325">
            <a:extLst>
              <a:ext uri="{FF2B5EF4-FFF2-40B4-BE49-F238E27FC236}">
                <a16:creationId xmlns:a16="http://schemas.microsoft.com/office/drawing/2014/main" id="{00AA3860-C897-4F12-BC33-00D60E3EC6C2}"/>
              </a:ext>
            </a:extLst>
          </p:cNvPr>
          <p:cNvSpPr/>
          <p:nvPr/>
        </p:nvSpPr>
        <p:spPr>
          <a:xfrm rot="1628058" flipV="1">
            <a:off x="8504238" y="5648325"/>
            <a:ext cx="135935" cy="117475"/>
          </a:xfrm>
          <a:prstGeom prst="triangle">
            <a:avLst/>
          </a:prstGeom>
          <a:solidFill>
            <a:schemeClr val="tx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27" name="TextBox 326">
            <a:extLst>
              <a:ext uri="{FF2B5EF4-FFF2-40B4-BE49-F238E27FC236}">
                <a16:creationId xmlns:a16="http://schemas.microsoft.com/office/drawing/2014/main" id="{F23B8B79-C463-4B96-9424-E1F9EEF44691}"/>
              </a:ext>
            </a:extLst>
          </p:cNvPr>
          <p:cNvSpPr txBox="1"/>
          <p:nvPr/>
        </p:nvSpPr>
        <p:spPr>
          <a:xfrm>
            <a:off x="9351786" y="3780274"/>
            <a:ext cx="1769060" cy="742457"/>
          </a:xfrm>
          <a:prstGeom prst="rect">
            <a:avLst/>
          </a:prstGeom>
          <a:solidFill>
            <a:srgbClr val="FFFFFF"/>
          </a:solidFill>
        </p:spPr>
        <p:txBody>
          <a:bodyPr vert="horz" wrap="square" lIns="91440" tIns="45720" rIns="91440" bIns="45720" rtlCol="0">
            <a:noAutofit/>
          </a:bodyPr>
          <a:lstStyle/>
          <a:p>
            <a:pPr marL="0" indent="0">
              <a:buNone/>
            </a:pPr>
            <a:r>
              <a:rPr lang="nl-NL" sz="1100" dirty="0">
                <a:latin typeface="+mj-lt"/>
              </a:rPr>
              <a:t>Met GOAN! kan Tim zijn rit </a:t>
            </a:r>
            <a:r>
              <a:rPr lang="nl-NL" sz="1100" b="1" dirty="0">
                <a:latin typeface="+mj-lt"/>
              </a:rPr>
              <a:t>plannen</a:t>
            </a:r>
            <a:r>
              <a:rPr lang="nl-NL" sz="1100" dirty="0">
                <a:latin typeface="+mj-lt"/>
              </a:rPr>
              <a:t> en </a:t>
            </a:r>
            <a:r>
              <a:rPr lang="nl-NL" sz="1100" b="1" dirty="0">
                <a:latin typeface="+mj-lt"/>
              </a:rPr>
              <a:t>boeken</a:t>
            </a:r>
            <a:r>
              <a:rPr lang="nl-NL" sz="1100" dirty="0">
                <a:latin typeface="+mj-lt"/>
              </a:rPr>
              <a:t> voor het </a:t>
            </a:r>
            <a:r>
              <a:rPr lang="nl-NL" sz="1100" b="1" dirty="0">
                <a:latin typeface="+mj-lt"/>
              </a:rPr>
              <a:t>OV, AutoMaatje </a:t>
            </a:r>
            <a:r>
              <a:rPr lang="nl-NL" sz="1100" dirty="0">
                <a:latin typeface="+mj-lt"/>
              </a:rPr>
              <a:t>en </a:t>
            </a:r>
            <a:r>
              <a:rPr lang="nl-NL" sz="1100" b="1" dirty="0">
                <a:latin typeface="+mj-lt"/>
              </a:rPr>
              <a:t>Wmo-vervoer</a:t>
            </a:r>
            <a:endParaRPr lang="nl-NL" sz="1100" dirty="0">
              <a:latin typeface="+mj-lt"/>
            </a:endParaRPr>
          </a:p>
        </p:txBody>
      </p:sp>
      <p:sp>
        <p:nvSpPr>
          <p:cNvPr id="335" name="TextBox 334">
            <a:extLst>
              <a:ext uri="{FF2B5EF4-FFF2-40B4-BE49-F238E27FC236}">
                <a16:creationId xmlns:a16="http://schemas.microsoft.com/office/drawing/2014/main" id="{63613D1B-8A7D-4468-8C50-D93CD0C9B964}"/>
              </a:ext>
            </a:extLst>
          </p:cNvPr>
          <p:cNvSpPr txBox="1"/>
          <p:nvPr/>
        </p:nvSpPr>
        <p:spPr>
          <a:xfrm>
            <a:off x="7779922" y="5776553"/>
            <a:ext cx="2419768" cy="562190"/>
          </a:xfrm>
          <a:prstGeom prst="rect">
            <a:avLst/>
          </a:prstGeom>
        </p:spPr>
        <p:txBody>
          <a:bodyPr vert="horz" wrap="square" lIns="91440" tIns="45720" rIns="91440" bIns="45720" rtlCol="0">
            <a:noAutofit/>
          </a:bodyPr>
          <a:lstStyle/>
          <a:p>
            <a:pPr marL="0" indent="0">
              <a:buNone/>
            </a:pPr>
            <a:r>
              <a:rPr lang="nl-NL" sz="1100" dirty="0">
                <a:latin typeface="+mj-lt"/>
              </a:rPr>
              <a:t>Met verschillende vervoersmodaliteiten komt Tim aan bij zijn bestemming</a:t>
            </a:r>
          </a:p>
        </p:txBody>
      </p:sp>
      <p:pic>
        <p:nvPicPr>
          <p:cNvPr id="21" name="Graphic 20" descr="House with solid fill">
            <a:extLst>
              <a:ext uri="{FF2B5EF4-FFF2-40B4-BE49-F238E27FC236}">
                <a16:creationId xmlns:a16="http://schemas.microsoft.com/office/drawing/2014/main" id="{2AFA397B-14FE-4A5A-9F95-7A7CC832BD5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639064" y="4449869"/>
            <a:ext cx="1058400" cy="1058400"/>
          </a:xfrm>
          <a:prstGeom prst="rect">
            <a:avLst/>
          </a:prstGeom>
        </p:spPr>
      </p:pic>
      <p:sp>
        <p:nvSpPr>
          <p:cNvPr id="86" name="Rectangle 85">
            <a:extLst>
              <a:ext uri="{FF2B5EF4-FFF2-40B4-BE49-F238E27FC236}">
                <a16:creationId xmlns:a16="http://schemas.microsoft.com/office/drawing/2014/main" id="{A1793EDF-8CB1-4EDF-ADD6-F1B9065C2261}"/>
              </a:ext>
            </a:extLst>
          </p:cNvPr>
          <p:cNvSpPr/>
          <p:nvPr/>
        </p:nvSpPr>
        <p:spPr>
          <a:xfrm>
            <a:off x="670882" y="1859775"/>
            <a:ext cx="3351951" cy="2590094"/>
          </a:xfrm>
          <a:prstGeom prst="rect">
            <a:avLst/>
          </a:prstGeom>
          <a:noFill/>
          <a:ln>
            <a:noFill/>
          </a:ln>
          <a:extLst>
            <a:ext uri="{909E8E84-426E-40DD-AFC4-6F175D3DCCD1}">
              <a14:hiddenFill xmlns:a14="http://schemas.microsoft.com/office/drawing/2010/main">
                <a:solidFill>
                  <a:schemeClr val="bg1">
                    <a:lumMod val="95000"/>
                  </a:schemeClr>
                </a:solidFill>
              </a14:hiddenFill>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100" dirty="0"/>
              <a:t>MaaS-toepassingen zijn wereldwijd in gebruik of nog in ontwikkeling. Voorzover bekend zijn er nog geen onderzoeken specifiek gericht op de toepassingen van MaaS voor doelgroepenvervoer.</a:t>
            </a:r>
          </a:p>
          <a:p>
            <a:pPr marL="0" indent="0">
              <a:buClr>
                <a:schemeClr val="tx2"/>
              </a:buClr>
              <a:buNone/>
            </a:pPr>
            <a:r>
              <a:rPr lang="nl-NL" sz="1100" dirty="0"/>
              <a:t>Momenteel loopt er wel in Overijssel een pilot met de MaaS-app </a:t>
            </a:r>
            <a:r>
              <a:rPr lang="nl-NL" sz="1100" b="1" dirty="0"/>
              <a:t>GOAN! </a:t>
            </a:r>
            <a:r>
              <a:rPr lang="nl-NL" sz="1100" dirty="0"/>
              <a:t>Deze</a:t>
            </a:r>
            <a:r>
              <a:rPr lang="nl-NL" sz="1100" b="1" dirty="0"/>
              <a:t> </a:t>
            </a:r>
            <a:r>
              <a:rPr kumimoji="0" lang="nl-NL" sz="1100" b="0" i="0" u="none" strike="noStrike" kern="1200" cap="none" spc="0" normalizeH="0" baseline="0" noProof="0" dirty="0">
                <a:ln>
                  <a:noFill/>
                </a:ln>
                <a:effectLst/>
                <a:uLnTx/>
                <a:uFillTx/>
              </a:rPr>
              <a:t>richt zich in het bijzonder op de toepassing van MaaS voor Wmo-reizigers (met evt. uitbreiding naar andere kwetsbare doelgroepen). De pilot is gestart in 2020 en nog niet afgerond.</a:t>
            </a:r>
          </a:p>
          <a:p>
            <a:pPr marL="0" indent="0">
              <a:buClr>
                <a:schemeClr val="tx2"/>
              </a:buClr>
              <a:buNone/>
            </a:pPr>
            <a:endParaRPr lang="nl-NL" sz="1100" dirty="0"/>
          </a:p>
          <a:p>
            <a:pPr marL="0" indent="0">
              <a:buClr>
                <a:schemeClr val="tx2"/>
              </a:buClr>
              <a:buNone/>
            </a:pPr>
            <a:r>
              <a:rPr kumimoji="0" lang="nl-NL" sz="1100" b="0" i="0" u="none" strike="noStrike" kern="1200" cap="none" spc="0" normalizeH="0" baseline="0" noProof="0" dirty="0">
                <a:ln>
                  <a:noFill/>
                </a:ln>
                <a:effectLst/>
                <a:uLnTx/>
                <a:uFillTx/>
              </a:rPr>
              <a:t>De pilot in Overijssel is één van de zeven pilots op initiatief van Min IenW, provincies, gemeenten en vervoerregio’s. Alle pilots hebben verschillende doelgroepen en doelstellingen.</a:t>
            </a:r>
          </a:p>
        </p:txBody>
      </p:sp>
      <p:pic>
        <p:nvPicPr>
          <p:cNvPr id="116" name="Picture 115">
            <a:hlinkClick r:id="rId9"/>
            <a:extLst>
              <a:ext uri="{FF2B5EF4-FFF2-40B4-BE49-F238E27FC236}">
                <a16:creationId xmlns:a16="http://schemas.microsoft.com/office/drawing/2014/main" id="{04F1B40A-5394-403B-B57B-148E720035F2}"/>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rot="670136">
            <a:off x="3941427" y="2954949"/>
            <a:ext cx="1857181" cy="2638967"/>
          </a:xfrm>
          <a:prstGeom prst="rect">
            <a:avLst/>
          </a:prstGeom>
        </p:spPr>
      </p:pic>
      <p:sp>
        <p:nvSpPr>
          <p:cNvPr id="75" name="Rectangle 74">
            <a:extLst>
              <a:ext uri="{FF2B5EF4-FFF2-40B4-BE49-F238E27FC236}">
                <a16:creationId xmlns:a16="http://schemas.microsoft.com/office/drawing/2014/main" id="{1FC6237F-09C0-493D-ACCE-3A59113FF603}"/>
              </a:ext>
            </a:extLst>
          </p:cNvPr>
          <p:cNvSpPr/>
          <p:nvPr/>
        </p:nvSpPr>
        <p:spPr>
          <a:xfrm>
            <a:off x="8233381" y="3557994"/>
            <a:ext cx="485935" cy="839987"/>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51" name="Rectangle: Rounded Corners 150">
            <a:extLst>
              <a:ext uri="{FF2B5EF4-FFF2-40B4-BE49-F238E27FC236}">
                <a16:creationId xmlns:a16="http://schemas.microsoft.com/office/drawing/2014/main" id="{30F231A6-7D89-48E4-A1A3-9CFDBEB40CA6}"/>
              </a:ext>
            </a:extLst>
          </p:cNvPr>
          <p:cNvSpPr/>
          <p:nvPr/>
        </p:nvSpPr>
        <p:spPr>
          <a:xfrm>
            <a:off x="7610861" y="4034409"/>
            <a:ext cx="540769" cy="356178"/>
          </a:xfrm>
          <a:prstGeom prst="roundRect">
            <a:avLst/>
          </a:prstGeom>
          <a:solidFill>
            <a:srgbClr val="22777B"/>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pSp>
        <p:nvGrpSpPr>
          <p:cNvPr id="25" name="Group 24">
            <a:extLst>
              <a:ext uri="{FF2B5EF4-FFF2-40B4-BE49-F238E27FC236}">
                <a16:creationId xmlns:a16="http://schemas.microsoft.com/office/drawing/2014/main" id="{EADB092B-2349-4538-B441-659702AD8484}"/>
              </a:ext>
            </a:extLst>
          </p:cNvPr>
          <p:cNvGrpSpPr/>
          <p:nvPr/>
        </p:nvGrpSpPr>
        <p:grpSpPr>
          <a:xfrm>
            <a:off x="7618103" y="3639607"/>
            <a:ext cx="444341" cy="309600"/>
            <a:chOff x="7618103" y="3639607"/>
            <a:chExt cx="444341" cy="309600"/>
          </a:xfrm>
        </p:grpSpPr>
        <p:sp>
          <p:nvSpPr>
            <p:cNvPr id="95" name="Rectangle: Rounded Corners 94">
              <a:extLst>
                <a:ext uri="{FF2B5EF4-FFF2-40B4-BE49-F238E27FC236}">
                  <a16:creationId xmlns:a16="http://schemas.microsoft.com/office/drawing/2014/main" id="{3F6638F4-A1CF-4F00-A9A8-AEFF0566855B}"/>
                </a:ext>
              </a:extLst>
            </p:cNvPr>
            <p:cNvSpPr/>
            <p:nvPr/>
          </p:nvSpPr>
          <p:spPr>
            <a:xfrm>
              <a:off x="7618103" y="3648415"/>
              <a:ext cx="444341" cy="292665"/>
            </a:xfrm>
            <a:prstGeom prst="roundRect">
              <a:avLst/>
            </a:prstGeom>
            <a:solidFill>
              <a:srgbClr val="22777B"/>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19" name="Graphic 18" descr="Streetcar with solid fill">
              <a:extLst>
                <a:ext uri="{FF2B5EF4-FFF2-40B4-BE49-F238E27FC236}">
                  <a16:creationId xmlns:a16="http://schemas.microsoft.com/office/drawing/2014/main" id="{BC74B520-687B-4EB9-91F4-65911D924505}"/>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685132" y="3639607"/>
              <a:ext cx="309600" cy="309600"/>
            </a:xfrm>
            <a:prstGeom prst="rect">
              <a:avLst/>
            </a:prstGeom>
          </p:spPr>
        </p:pic>
      </p:grpSp>
      <p:grpSp>
        <p:nvGrpSpPr>
          <p:cNvPr id="66" name="Group 65">
            <a:extLst>
              <a:ext uri="{FF2B5EF4-FFF2-40B4-BE49-F238E27FC236}">
                <a16:creationId xmlns:a16="http://schemas.microsoft.com/office/drawing/2014/main" id="{03DA152C-F89A-4FF5-9FD7-0D3B46931EFB}"/>
              </a:ext>
            </a:extLst>
          </p:cNvPr>
          <p:cNvGrpSpPr/>
          <p:nvPr/>
        </p:nvGrpSpPr>
        <p:grpSpPr>
          <a:xfrm>
            <a:off x="8345135" y="3859431"/>
            <a:ext cx="252832" cy="266477"/>
            <a:chOff x="4566605" y="2727123"/>
            <a:chExt cx="252832" cy="266477"/>
          </a:xfrm>
        </p:grpSpPr>
        <p:sp>
          <p:nvSpPr>
            <p:cNvPr id="68" name="Freeform: Shape 67">
              <a:extLst>
                <a:ext uri="{FF2B5EF4-FFF2-40B4-BE49-F238E27FC236}">
                  <a16:creationId xmlns:a16="http://schemas.microsoft.com/office/drawing/2014/main" id="{AEC9BCE7-088D-4E7A-890E-E6DAE4C59FD3}"/>
                </a:ext>
              </a:extLst>
            </p:cNvPr>
            <p:cNvSpPr/>
            <p:nvPr/>
          </p:nvSpPr>
          <p:spPr>
            <a:xfrm>
              <a:off x="4749536" y="2727123"/>
              <a:ext cx="69901" cy="114246"/>
            </a:xfrm>
            <a:custGeom>
              <a:avLst/>
              <a:gdLst>
                <a:gd name="connsiteX0" fmla="*/ 35122 w 69901"/>
                <a:gd name="connsiteY0" fmla="*/ 50562 h 114246"/>
                <a:gd name="connsiteX1" fmla="*/ 20090 w 69901"/>
                <a:gd name="connsiteY1" fmla="*/ 35530 h 114246"/>
                <a:gd name="connsiteX2" fmla="*/ 35122 w 69901"/>
                <a:gd name="connsiteY2" fmla="*/ 20498 h 114246"/>
                <a:gd name="connsiteX3" fmla="*/ 50154 w 69901"/>
                <a:gd name="connsiteY3" fmla="*/ 35530 h 114246"/>
                <a:gd name="connsiteX4" fmla="*/ 50154 w 69901"/>
                <a:gd name="connsiteY4" fmla="*/ 35530 h 114246"/>
                <a:gd name="connsiteX5" fmla="*/ 35122 w 69901"/>
                <a:gd name="connsiteY5" fmla="*/ 50562 h 114246"/>
                <a:gd name="connsiteX6" fmla="*/ 35122 w 69901"/>
                <a:gd name="connsiteY6" fmla="*/ 50562 h 114246"/>
                <a:gd name="connsiteX7" fmla="*/ 35122 w 69901"/>
                <a:gd name="connsiteY7" fmla="*/ 0 h 114246"/>
                <a:gd name="connsiteX8" fmla="*/ 6082 w 69901"/>
                <a:gd name="connsiteY8" fmla="*/ 15374 h 114246"/>
                <a:gd name="connsiteX9" fmla="*/ 2324 w 69901"/>
                <a:gd name="connsiteY9" fmla="*/ 48171 h 114246"/>
                <a:gd name="connsiteX10" fmla="*/ 18381 w 69901"/>
                <a:gd name="connsiteY10" fmla="*/ 83360 h 114246"/>
                <a:gd name="connsiteX11" fmla="*/ 32047 w 69901"/>
                <a:gd name="connsiteY11" fmla="*/ 112399 h 114246"/>
                <a:gd name="connsiteX12" fmla="*/ 36488 w 69901"/>
                <a:gd name="connsiteY12" fmla="*/ 113765 h 114246"/>
                <a:gd name="connsiteX13" fmla="*/ 37855 w 69901"/>
                <a:gd name="connsiteY13" fmla="*/ 112399 h 114246"/>
                <a:gd name="connsiteX14" fmla="*/ 51520 w 69901"/>
                <a:gd name="connsiteY14" fmla="*/ 83360 h 114246"/>
                <a:gd name="connsiteX15" fmla="*/ 67577 w 69901"/>
                <a:gd name="connsiteY15" fmla="*/ 48171 h 114246"/>
                <a:gd name="connsiteX16" fmla="*/ 63819 w 69901"/>
                <a:gd name="connsiteY16" fmla="*/ 15374 h 114246"/>
                <a:gd name="connsiteX17" fmla="*/ 35122 w 69901"/>
                <a:gd name="connsiteY17" fmla="*/ 0 h 114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901" h="114246">
                  <a:moveTo>
                    <a:pt x="35122" y="50562"/>
                  </a:moveTo>
                  <a:cubicBezTo>
                    <a:pt x="26922" y="50562"/>
                    <a:pt x="20090" y="43730"/>
                    <a:pt x="20090" y="35530"/>
                  </a:cubicBezTo>
                  <a:cubicBezTo>
                    <a:pt x="20090" y="27331"/>
                    <a:pt x="26922" y="20498"/>
                    <a:pt x="35122" y="20498"/>
                  </a:cubicBezTo>
                  <a:cubicBezTo>
                    <a:pt x="43321" y="20498"/>
                    <a:pt x="50154" y="27331"/>
                    <a:pt x="50154" y="35530"/>
                  </a:cubicBezTo>
                  <a:lnTo>
                    <a:pt x="50154" y="35530"/>
                  </a:lnTo>
                  <a:cubicBezTo>
                    <a:pt x="50154" y="43730"/>
                    <a:pt x="43321" y="50562"/>
                    <a:pt x="35122" y="50562"/>
                  </a:cubicBezTo>
                  <a:cubicBezTo>
                    <a:pt x="35122" y="50562"/>
                    <a:pt x="35122" y="50562"/>
                    <a:pt x="35122" y="50562"/>
                  </a:cubicBezTo>
                  <a:close/>
                  <a:moveTo>
                    <a:pt x="35122" y="0"/>
                  </a:moveTo>
                  <a:cubicBezTo>
                    <a:pt x="23506" y="0"/>
                    <a:pt x="12574" y="5808"/>
                    <a:pt x="6082" y="15374"/>
                  </a:cubicBezTo>
                  <a:cubicBezTo>
                    <a:pt x="-409" y="24940"/>
                    <a:pt x="-1775" y="37238"/>
                    <a:pt x="2324" y="48171"/>
                  </a:cubicBezTo>
                  <a:lnTo>
                    <a:pt x="18381" y="83360"/>
                  </a:lnTo>
                  <a:lnTo>
                    <a:pt x="32047" y="112399"/>
                  </a:lnTo>
                  <a:cubicBezTo>
                    <a:pt x="33072" y="114107"/>
                    <a:pt x="35122" y="114790"/>
                    <a:pt x="36488" y="113765"/>
                  </a:cubicBezTo>
                  <a:cubicBezTo>
                    <a:pt x="37171" y="113424"/>
                    <a:pt x="37513" y="113082"/>
                    <a:pt x="37855" y="112399"/>
                  </a:cubicBezTo>
                  <a:lnTo>
                    <a:pt x="51520" y="83360"/>
                  </a:lnTo>
                  <a:lnTo>
                    <a:pt x="67577" y="48171"/>
                  </a:lnTo>
                  <a:cubicBezTo>
                    <a:pt x="71677" y="37238"/>
                    <a:pt x="70310" y="24940"/>
                    <a:pt x="63819" y="15374"/>
                  </a:cubicBezTo>
                  <a:cubicBezTo>
                    <a:pt x="57670" y="5808"/>
                    <a:pt x="46737" y="0"/>
                    <a:pt x="35122" y="0"/>
                  </a:cubicBezTo>
                  <a:close/>
                </a:path>
              </a:pathLst>
            </a:custGeom>
            <a:solidFill>
              <a:srgbClr val="EC6224"/>
            </a:solidFill>
            <a:ln w="3373" cap="flat">
              <a:noFill/>
              <a:prstDash val="solid"/>
              <a:miter/>
            </a:ln>
          </p:spPr>
          <p:txBody>
            <a:bodyPr rtlCol="0" anchor="ctr"/>
            <a:lstStyle/>
            <a:p>
              <a:endParaRPr lang="nl-NL" dirty="0"/>
            </a:p>
          </p:txBody>
        </p:sp>
        <p:sp>
          <p:nvSpPr>
            <p:cNvPr id="69" name="Freeform: Shape 68">
              <a:extLst>
                <a:ext uri="{FF2B5EF4-FFF2-40B4-BE49-F238E27FC236}">
                  <a16:creationId xmlns:a16="http://schemas.microsoft.com/office/drawing/2014/main" id="{4E3AE5BC-4746-4BC2-ABB8-DACE34F5E327}"/>
                </a:ext>
              </a:extLst>
            </p:cNvPr>
            <p:cNvSpPr/>
            <p:nvPr/>
          </p:nvSpPr>
          <p:spPr>
            <a:xfrm>
              <a:off x="4566605" y="2851821"/>
              <a:ext cx="87391" cy="141567"/>
            </a:xfrm>
            <a:custGeom>
              <a:avLst/>
              <a:gdLst>
                <a:gd name="connsiteX0" fmla="*/ 43817 w 87391"/>
                <a:gd name="connsiteY0" fmla="*/ 62520 h 141567"/>
                <a:gd name="connsiteX1" fmla="*/ 25027 w 87391"/>
                <a:gd name="connsiteY1" fmla="*/ 43730 h 141567"/>
                <a:gd name="connsiteX2" fmla="*/ 43817 w 87391"/>
                <a:gd name="connsiteY2" fmla="*/ 24940 h 141567"/>
                <a:gd name="connsiteX3" fmla="*/ 62607 w 87391"/>
                <a:gd name="connsiteY3" fmla="*/ 43730 h 141567"/>
                <a:gd name="connsiteX4" fmla="*/ 62607 w 87391"/>
                <a:gd name="connsiteY4" fmla="*/ 43730 h 141567"/>
                <a:gd name="connsiteX5" fmla="*/ 43817 w 87391"/>
                <a:gd name="connsiteY5" fmla="*/ 62520 h 141567"/>
                <a:gd name="connsiteX6" fmla="*/ 43817 w 87391"/>
                <a:gd name="connsiteY6" fmla="*/ 62520 h 141567"/>
                <a:gd name="connsiteX7" fmla="*/ 43817 w 87391"/>
                <a:gd name="connsiteY7" fmla="*/ 62520 h 141567"/>
                <a:gd name="connsiteX8" fmla="*/ 43817 w 87391"/>
                <a:gd name="connsiteY8" fmla="*/ 0 h 141567"/>
                <a:gd name="connsiteX9" fmla="*/ 7604 w 87391"/>
                <a:gd name="connsiteY9" fmla="*/ 19132 h 141567"/>
                <a:gd name="connsiteX10" fmla="*/ 3162 w 87391"/>
                <a:gd name="connsiteY10" fmla="*/ 59787 h 141567"/>
                <a:gd name="connsiteX11" fmla="*/ 22977 w 87391"/>
                <a:gd name="connsiteY11" fmla="*/ 103516 h 141567"/>
                <a:gd name="connsiteX12" fmla="*/ 40059 w 87391"/>
                <a:gd name="connsiteY12" fmla="*/ 139388 h 141567"/>
                <a:gd name="connsiteX13" fmla="*/ 45867 w 87391"/>
                <a:gd name="connsiteY13" fmla="*/ 141096 h 141567"/>
                <a:gd name="connsiteX14" fmla="*/ 47575 w 87391"/>
                <a:gd name="connsiteY14" fmla="*/ 139388 h 141567"/>
                <a:gd name="connsiteX15" fmla="*/ 64657 w 87391"/>
                <a:gd name="connsiteY15" fmla="*/ 103516 h 141567"/>
                <a:gd name="connsiteX16" fmla="*/ 84472 w 87391"/>
                <a:gd name="connsiteY16" fmla="*/ 59787 h 141567"/>
                <a:gd name="connsiteX17" fmla="*/ 80031 w 87391"/>
                <a:gd name="connsiteY17" fmla="*/ 19132 h 141567"/>
                <a:gd name="connsiteX18" fmla="*/ 43817 w 87391"/>
                <a:gd name="connsiteY18" fmla="*/ 0 h 141567"/>
                <a:gd name="connsiteX19" fmla="*/ 43817 w 87391"/>
                <a:gd name="connsiteY19" fmla="*/ 0 h 14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7391" h="141567">
                  <a:moveTo>
                    <a:pt x="43817" y="62520"/>
                  </a:moveTo>
                  <a:cubicBezTo>
                    <a:pt x="33568" y="62520"/>
                    <a:pt x="25027" y="53979"/>
                    <a:pt x="25027" y="43730"/>
                  </a:cubicBezTo>
                  <a:cubicBezTo>
                    <a:pt x="25027" y="33480"/>
                    <a:pt x="33568" y="24940"/>
                    <a:pt x="43817" y="24940"/>
                  </a:cubicBezTo>
                  <a:cubicBezTo>
                    <a:pt x="54066" y="24940"/>
                    <a:pt x="62607" y="33480"/>
                    <a:pt x="62607" y="43730"/>
                  </a:cubicBezTo>
                  <a:cubicBezTo>
                    <a:pt x="62607" y="43730"/>
                    <a:pt x="62607" y="43730"/>
                    <a:pt x="62607" y="43730"/>
                  </a:cubicBezTo>
                  <a:cubicBezTo>
                    <a:pt x="62607" y="53979"/>
                    <a:pt x="54066" y="62520"/>
                    <a:pt x="43817" y="62520"/>
                  </a:cubicBezTo>
                  <a:cubicBezTo>
                    <a:pt x="43817" y="62520"/>
                    <a:pt x="43817" y="62520"/>
                    <a:pt x="43817" y="62520"/>
                  </a:cubicBezTo>
                  <a:lnTo>
                    <a:pt x="43817" y="62520"/>
                  </a:lnTo>
                  <a:close/>
                  <a:moveTo>
                    <a:pt x="43817" y="0"/>
                  </a:moveTo>
                  <a:cubicBezTo>
                    <a:pt x="29468" y="0"/>
                    <a:pt x="15803" y="7174"/>
                    <a:pt x="7604" y="19132"/>
                  </a:cubicBezTo>
                  <a:cubicBezTo>
                    <a:pt x="-596" y="31089"/>
                    <a:pt x="-2304" y="46463"/>
                    <a:pt x="3162" y="59787"/>
                  </a:cubicBezTo>
                  <a:lnTo>
                    <a:pt x="22977" y="103516"/>
                  </a:lnTo>
                  <a:lnTo>
                    <a:pt x="40059" y="139388"/>
                  </a:lnTo>
                  <a:cubicBezTo>
                    <a:pt x="41084" y="141438"/>
                    <a:pt x="43817" y="142121"/>
                    <a:pt x="45867" y="141096"/>
                  </a:cubicBezTo>
                  <a:cubicBezTo>
                    <a:pt x="46550" y="140755"/>
                    <a:pt x="47234" y="140071"/>
                    <a:pt x="47575" y="139388"/>
                  </a:cubicBezTo>
                  <a:lnTo>
                    <a:pt x="64657" y="103516"/>
                  </a:lnTo>
                  <a:lnTo>
                    <a:pt x="84472" y="59787"/>
                  </a:lnTo>
                  <a:cubicBezTo>
                    <a:pt x="89597" y="46463"/>
                    <a:pt x="87888" y="31089"/>
                    <a:pt x="80031" y="19132"/>
                  </a:cubicBezTo>
                  <a:cubicBezTo>
                    <a:pt x="71832" y="7174"/>
                    <a:pt x="58166" y="0"/>
                    <a:pt x="43817" y="0"/>
                  </a:cubicBezTo>
                  <a:lnTo>
                    <a:pt x="43817" y="0"/>
                  </a:lnTo>
                  <a:close/>
                </a:path>
              </a:pathLst>
            </a:custGeom>
            <a:solidFill>
              <a:srgbClr val="EC6224"/>
            </a:solidFill>
            <a:ln w="3373" cap="flat">
              <a:noFill/>
              <a:prstDash val="solid"/>
              <a:miter/>
            </a:ln>
          </p:spPr>
          <p:txBody>
            <a:bodyPr rtlCol="0" anchor="ctr"/>
            <a:lstStyle/>
            <a:p>
              <a:endParaRPr lang="nl-NL" dirty="0"/>
            </a:p>
          </p:txBody>
        </p:sp>
        <p:sp>
          <p:nvSpPr>
            <p:cNvPr id="70" name="Freeform: Shape 69">
              <a:extLst>
                <a:ext uri="{FF2B5EF4-FFF2-40B4-BE49-F238E27FC236}">
                  <a16:creationId xmlns:a16="http://schemas.microsoft.com/office/drawing/2014/main" id="{C237D49D-C301-4578-9B02-283AD4E0FE65}"/>
                </a:ext>
              </a:extLst>
            </p:cNvPr>
            <p:cNvSpPr/>
            <p:nvPr/>
          </p:nvSpPr>
          <p:spPr>
            <a:xfrm>
              <a:off x="4637753" y="2973102"/>
              <a:ext cx="20498" cy="20498"/>
            </a:xfrm>
            <a:custGeom>
              <a:avLst/>
              <a:gdLst>
                <a:gd name="connsiteX0" fmla="*/ 20498 w 20498"/>
                <a:gd name="connsiteY0" fmla="*/ 20498 h 20498"/>
                <a:gd name="connsiteX1" fmla="*/ 11616 w 20498"/>
                <a:gd name="connsiteY1" fmla="*/ 20498 h 20498"/>
                <a:gd name="connsiteX2" fmla="*/ 0 w 20498"/>
                <a:gd name="connsiteY2" fmla="*/ 20498 h 20498"/>
                <a:gd name="connsiteX3" fmla="*/ 0 w 20498"/>
                <a:gd name="connsiteY3" fmla="*/ 0 h 20498"/>
                <a:gd name="connsiteX4" fmla="*/ 11616 w 20498"/>
                <a:gd name="connsiteY4" fmla="*/ 0 h 20498"/>
                <a:gd name="connsiteX5" fmla="*/ 20498 w 20498"/>
                <a:gd name="connsiteY5" fmla="*/ 0 h 20498"/>
                <a:gd name="connsiteX6" fmla="*/ 20498 w 20498"/>
                <a:gd name="connsiteY6" fmla="*/ 20498 h 2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98" h="20498">
                  <a:moveTo>
                    <a:pt x="20498" y="20498"/>
                  </a:moveTo>
                  <a:lnTo>
                    <a:pt x="11616" y="20498"/>
                  </a:lnTo>
                  <a:cubicBezTo>
                    <a:pt x="7516" y="20498"/>
                    <a:pt x="3758" y="20498"/>
                    <a:pt x="0" y="20498"/>
                  </a:cubicBezTo>
                  <a:lnTo>
                    <a:pt x="0" y="0"/>
                  </a:lnTo>
                  <a:cubicBezTo>
                    <a:pt x="3416" y="0"/>
                    <a:pt x="7516" y="0"/>
                    <a:pt x="11616" y="0"/>
                  </a:cubicBezTo>
                  <a:lnTo>
                    <a:pt x="20498" y="0"/>
                  </a:lnTo>
                  <a:lnTo>
                    <a:pt x="20498" y="20498"/>
                  </a:lnTo>
                  <a:close/>
                </a:path>
              </a:pathLst>
            </a:custGeom>
            <a:solidFill>
              <a:srgbClr val="000000"/>
            </a:solidFill>
            <a:ln w="3373" cap="flat">
              <a:noFill/>
              <a:prstDash val="solid"/>
              <a:miter/>
            </a:ln>
          </p:spPr>
          <p:txBody>
            <a:bodyPr rtlCol="0" anchor="ctr"/>
            <a:lstStyle/>
            <a:p>
              <a:endParaRPr lang="nl-NL" dirty="0"/>
            </a:p>
          </p:txBody>
        </p:sp>
        <p:sp>
          <p:nvSpPr>
            <p:cNvPr id="71" name="Freeform: Shape 70">
              <a:extLst>
                <a:ext uri="{FF2B5EF4-FFF2-40B4-BE49-F238E27FC236}">
                  <a16:creationId xmlns:a16="http://schemas.microsoft.com/office/drawing/2014/main" id="{942F4052-28BE-44CC-934C-B7D67E5E5F7B}"/>
                </a:ext>
              </a:extLst>
            </p:cNvPr>
            <p:cNvSpPr/>
            <p:nvPr/>
          </p:nvSpPr>
          <p:spPr>
            <a:xfrm>
              <a:off x="4672259" y="2972760"/>
              <a:ext cx="20839" cy="20839"/>
            </a:xfrm>
            <a:custGeom>
              <a:avLst/>
              <a:gdLst>
                <a:gd name="connsiteX0" fmla="*/ 0 w 20839"/>
                <a:gd name="connsiteY0" fmla="*/ 20840 h 20839"/>
                <a:gd name="connsiteX1" fmla="*/ 0 w 20839"/>
                <a:gd name="connsiteY1" fmla="*/ 342 h 20839"/>
                <a:gd name="connsiteX2" fmla="*/ 20157 w 20839"/>
                <a:gd name="connsiteY2" fmla="*/ 0 h 20839"/>
                <a:gd name="connsiteX3" fmla="*/ 20840 w 20839"/>
                <a:gd name="connsiteY3" fmla="*/ 20498 h 20839"/>
                <a:gd name="connsiteX4" fmla="*/ 0 w 20839"/>
                <a:gd name="connsiteY4" fmla="*/ 20840 h 20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39" h="20839">
                  <a:moveTo>
                    <a:pt x="0" y="20840"/>
                  </a:moveTo>
                  <a:lnTo>
                    <a:pt x="0" y="342"/>
                  </a:lnTo>
                  <a:cubicBezTo>
                    <a:pt x="7516" y="342"/>
                    <a:pt x="14007" y="342"/>
                    <a:pt x="20157" y="0"/>
                  </a:cubicBezTo>
                  <a:lnTo>
                    <a:pt x="20840" y="20498"/>
                  </a:lnTo>
                  <a:cubicBezTo>
                    <a:pt x="14349" y="20840"/>
                    <a:pt x="7516" y="20840"/>
                    <a:pt x="0" y="20840"/>
                  </a:cubicBezTo>
                  <a:close/>
                </a:path>
              </a:pathLst>
            </a:custGeom>
            <a:solidFill>
              <a:srgbClr val="000000"/>
            </a:solidFill>
            <a:ln w="3373" cap="flat">
              <a:noFill/>
              <a:prstDash val="solid"/>
              <a:miter/>
            </a:ln>
          </p:spPr>
          <p:txBody>
            <a:bodyPr rtlCol="0" anchor="ctr"/>
            <a:lstStyle/>
            <a:p>
              <a:endParaRPr lang="nl-NL" dirty="0"/>
            </a:p>
          </p:txBody>
        </p:sp>
        <p:sp>
          <p:nvSpPr>
            <p:cNvPr id="72" name="Freeform: Shape 71">
              <a:extLst>
                <a:ext uri="{FF2B5EF4-FFF2-40B4-BE49-F238E27FC236}">
                  <a16:creationId xmlns:a16="http://schemas.microsoft.com/office/drawing/2014/main" id="{98196CD3-A175-47BB-9B50-0EC6C0E05400}"/>
                </a:ext>
              </a:extLst>
            </p:cNvPr>
            <p:cNvSpPr/>
            <p:nvPr/>
          </p:nvSpPr>
          <p:spPr>
            <a:xfrm>
              <a:off x="4705739" y="2970711"/>
              <a:ext cx="21864" cy="21864"/>
            </a:xfrm>
            <a:custGeom>
              <a:avLst/>
              <a:gdLst>
                <a:gd name="connsiteX0" fmla="*/ 1025 w 21864"/>
                <a:gd name="connsiteY0" fmla="*/ 21865 h 21864"/>
                <a:gd name="connsiteX1" fmla="*/ 0 w 21864"/>
                <a:gd name="connsiteY1" fmla="*/ 1367 h 21864"/>
                <a:gd name="connsiteX2" fmla="*/ 19815 w 21864"/>
                <a:gd name="connsiteY2" fmla="*/ 0 h 21864"/>
                <a:gd name="connsiteX3" fmla="*/ 21865 w 21864"/>
                <a:gd name="connsiteY3" fmla="*/ 20498 h 21864"/>
                <a:gd name="connsiteX4" fmla="*/ 1025 w 21864"/>
                <a:gd name="connsiteY4" fmla="*/ 21865 h 21864"/>
                <a:gd name="connsiteX5" fmla="*/ 1025 w 21864"/>
                <a:gd name="connsiteY5" fmla="*/ 21865 h 2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864" h="21864">
                  <a:moveTo>
                    <a:pt x="1025" y="21865"/>
                  </a:moveTo>
                  <a:lnTo>
                    <a:pt x="0" y="1367"/>
                  </a:lnTo>
                  <a:cubicBezTo>
                    <a:pt x="7174" y="1025"/>
                    <a:pt x="14007" y="683"/>
                    <a:pt x="19815" y="0"/>
                  </a:cubicBezTo>
                  <a:lnTo>
                    <a:pt x="21865" y="20498"/>
                  </a:lnTo>
                  <a:cubicBezTo>
                    <a:pt x="15715" y="21182"/>
                    <a:pt x="8541" y="21523"/>
                    <a:pt x="1025" y="21865"/>
                  </a:cubicBezTo>
                  <a:lnTo>
                    <a:pt x="1025" y="21865"/>
                  </a:lnTo>
                  <a:close/>
                </a:path>
              </a:pathLst>
            </a:custGeom>
            <a:solidFill>
              <a:srgbClr val="000000"/>
            </a:solidFill>
            <a:ln w="3373" cap="flat">
              <a:noFill/>
              <a:prstDash val="solid"/>
              <a:miter/>
            </a:ln>
          </p:spPr>
          <p:txBody>
            <a:bodyPr rtlCol="0" anchor="ctr"/>
            <a:lstStyle/>
            <a:p>
              <a:endParaRPr lang="nl-NL" dirty="0"/>
            </a:p>
          </p:txBody>
        </p:sp>
        <p:sp>
          <p:nvSpPr>
            <p:cNvPr id="73" name="Freeform: Shape 72">
              <a:extLst>
                <a:ext uri="{FF2B5EF4-FFF2-40B4-BE49-F238E27FC236}">
                  <a16:creationId xmlns:a16="http://schemas.microsoft.com/office/drawing/2014/main" id="{41225061-54E8-4144-8A56-609BFDCC8563}"/>
                </a:ext>
              </a:extLst>
            </p:cNvPr>
            <p:cNvSpPr/>
            <p:nvPr/>
          </p:nvSpPr>
          <p:spPr>
            <a:xfrm>
              <a:off x="4738878" y="2965586"/>
              <a:ext cx="24256" cy="23914"/>
            </a:xfrm>
            <a:custGeom>
              <a:avLst/>
              <a:gdLst>
                <a:gd name="connsiteX0" fmla="*/ 3075 w 24256"/>
                <a:gd name="connsiteY0" fmla="*/ 23915 h 23914"/>
                <a:gd name="connsiteX1" fmla="*/ 0 w 24256"/>
                <a:gd name="connsiteY1" fmla="*/ 3758 h 23914"/>
                <a:gd name="connsiteX2" fmla="*/ 18790 w 24256"/>
                <a:gd name="connsiteY2" fmla="*/ 0 h 23914"/>
                <a:gd name="connsiteX3" fmla="*/ 24256 w 24256"/>
                <a:gd name="connsiteY3" fmla="*/ 19815 h 23914"/>
                <a:gd name="connsiteX4" fmla="*/ 3075 w 24256"/>
                <a:gd name="connsiteY4" fmla="*/ 23915 h 23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6" h="23914">
                  <a:moveTo>
                    <a:pt x="3075" y="23915"/>
                  </a:moveTo>
                  <a:lnTo>
                    <a:pt x="0" y="3758"/>
                  </a:lnTo>
                  <a:cubicBezTo>
                    <a:pt x="6491" y="2733"/>
                    <a:pt x="12641" y="1708"/>
                    <a:pt x="18790" y="0"/>
                  </a:cubicBezTo>
                  <a:lnTo>
                    <a:pt x="24256" y="19815"/>
                  </a:lnTo>
                  <a:cubicBezTo>
                    <a:pt x="17082" y="21523"/>
                    <a:pt x="10249" y="22890"/>
                    <a:pt x="3075" y="23915"/>
                  </a:cubicBezTo>
                  <a:close/>
                </a:path>
              </a:pathLst>
            </a:custGeom>
            <a:solidFill>
              <a:srgbClr val="000000"/>
            </a:solidFill>
            <a:ln w="3373" cap="flat">
              <a:noFill/>
              <a:prstDash val="solid"/>
              <a:miter/>
            </a:ln>
          </p:spPr>
          <p:txBody>
            <a:bodyPr rtlCol="0" anchor="ctr"/>
            <a:lstStyle/>
            <a:p>
              <a:endParaRPr lang="nl-NL" dirty="0"/>
            </a:p>
          </p:txBody>
        </p:sp>
        <p:sp>
          <p:nvSpPr>
            <p:cNvPr id="74" name="Freeform: Shape 73">
              <a:extLst>
                <a:ext uri="{FF2B5EF4-FFF2-40B4-BE49-F238E27FC236}">
                  <a16:creationId xmlns:a16="http://schemas.microsoft.com/office/drawing/2014/main" id="{D8CCBDDB-E8C4-49E9-A324-F9BC14B8D34E}"/>
                </a:ext>
              </a:extLst>
            </p:cNvPr>
            <p:cNvSpPr/>
            <p:nvPr/>
          </p:nvSpPr>
          <p:spPr>
            <a:xfrm>
              <a:off x="4769284" y="2953287"/>
              <a:ext cx="29039" cy="26989"/>
            </a:xfrm>
            <a:custGeom>
              <a:avLst/>
              <a:gdLst>
                <a:gd name="connsiteX0" fmla="*/ 8199 w 29039"/>
                <a:gd name="connsiteY0" fmla="*/ 26989 h 26989"/>
                <a:gd name="connsiteX1" fmla="*/ 0 w 29039"/>
                <a:gd name="connsiteY1" fmla="*/ 8199 h 26989"/>
                <a:gd name="connsiteX2" fmla="*/ 10932 w 29039"/>
                <a:gd name="connsiteY2" fmla="*/ 0 h 26989"/>
                <a:gd name="connsiteX3" fmla="*/ 29039 w 29039"/>
                <a:gd name="connsiteY3" fmla="*/ 9907 h 26989"/>
                <a:gd name="connsiteX4" fmla="*/ 8199 w 29039"/>
                <a:gd name="connsiteY4" fmla="*/ 26989 h 26989"/>
                <a:gd name="connsiteX5" fmla="*/ 8199 w 29039"/>
                <a:gd name="connsiteY5" fmla="*/ 26989 h 2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39" h="26989">
                  <a:moveTo>
                    <a:pt x="8199" y="26989"/>
                  </a:moveTo>
                  <a:lnTo>
                    <a:pt x="0" y="8199"/>
                  </a:lnTo>
                  <a:cubicBezTo>
                    <a:pt x="4441" y="6833"/>
                    <a:pt x="8199" y="3758"/>
                    <a:pt x="10932" y="0"/>
                  </a:cubicBezTo>
                  <a:lnTo>
                    <a:pt x="29039" y="9907"/>
                  </a:lnTo>
                  <a:cubicBezTo>
                    <a:pt x="23915" y="17765"/>
                    <a:pt x="16740" y="23573"/>
                    <a:pt x="8199" y="26989"/>
                  </a:cubicBezTo>
                  <a:lnTo>
                    <a:pt x="8199" y="26989"/>
                  </a:lnTo>
                  <a:close/>
                </a:path>
              </a:pathLst>
            </a:custGeom>
            <a:solidFill>
              <a:srgbClr val="000000"/>
            </a:solidFill>
            <a:ln w="3373" cap="flat">
              <a:noFill/>
              <a:prstDash val="solid"/>
              <a:miter/>
            </a:ln>
          </p:spPr>
          <p:txBody>
            <a:bodyPr rtlCol="0" anchor="ctr"/>
            <a:lstStyle/>
            <a:p>
              <a:endParaRPr lang="nl-NL" dirty="0"/>
            </a:p>
          </p:txBody>
        </p:sp>
        <p:sp>
          <p:nvSpPr>
            <p:cNvPr id="76" name="Freeform: Shape 75">
              <a:extLst>
                <a:ext uri="{FF2B5EF4-FFF2-40B4-BE49-F238E27FC236}">
                  <a16:creationId xmlns:a16="http://schemas.microsoft.com/office/drawing/2014/main" id="{25225E50-023E-4CED-8EB3-6F9235D167FB}"/>
                </a:ext>
              </a:extLst>
            </p:cNvPr>
            <p:cNvSpPr/>
            <p:nvPr/>
          </p:nvSpPr>
          <p:spPr>
            <a:xfrm>
              <a:off x="4774750" y="2920148"/>
              <a:ext cx="25964" cy="26306"/>
            </a:xfrm>
            <a:custGeom>
              <a:avLst/>
              <a:gdLst>
                <a:gd name="connsiteX0" fmla="*/ 5808 w 25964"/>
                <a:gd name="connsiteY0" fmla="*/ 26306 h 26306"/>
                <a:gd name="connsiteX1" fmla="*/ 0 w 25964"/>
                <a:gd name="connsiteY1" fmla="*/ 14349 h 26306"/>
                <a:gd name="connsiteX2" fmla="*/ 14349 w 25964"/>
                <a:gd name="connsiteY2" fmla="*/ 0 h 26306"/>
                <a:gd name="connsiteX3" fmla="*/ 25964 w 25964"/>
                <a:gd name="connsiteY3" fmla="*/ 23915 h 26306"/>
                <a:gd name="connsiteX4" fmla="*/ 5808 w 25964"/>
                <a:gd name="connsiteY4" fmla="*/ 26306 h 26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64" h="26306">
                  <a:moveTo>
                    <a:pt x="5808" y="26306"/>
                  </a:moveTo>
                  <a:cubicBezTo>
                    <a:pt x="5125" y="21865"/>
                    <a:pt x="3075" y="17424"/>
                    <a:pt x="0" y="14349"/>
                  </a:cubicBezTo>
                  <a:lnTo>
                    <a:pt x="14349" y="0"/>
                  </a:lnTo>
                  <a:cubicBezTo>
                    <a:pt x="20840" y="6491"/>
                    <a:pt x="24940" y="14690"/>
                    <a:pt x="25964" y="23915"/>
                  </a:cubicBezTo>
                  <a:lnTo>
                    <a:pt x="5808" y="26306"/>
                  </a:lnTo>
                  <a:close/>
                </a:path>
              </a:pathLst>
            </a:custGeom>
            <a:solidFill>
              <a:srgbClr val="000000"/>
            </a:solidFill>
            <a:ln w="3373" cap="flat">
              <a:noFill/>
              <a:prstDash val="solid"/>
              <a:miter/>
            </a:ln>
          </p:spPr>
          <p:txBody>
            <a:bodyPr rtlCol="0" anchor="ctr"/>
            <a:lstStyle/>
            <a:p>
              <a:endParaRPr lang="nl-NL" dirty="0"/>
            </a:p>
          </p:txBody>
        </p:sp>
        <p:sp>
          <p:nvSpPr>
            <p:cNvPr id="77" name="Freeform: Shape 76">
              <a:extLst>
                <a:ext uri="{FF2B5EF4-FFF2-40B4-BE49-F238E27FC236}">
                  <a16:creationId xmlns:a16="http://schemas.microsoft.com/office/drawing/2014/main" id="{77D9E996-7310-42E8-851B-4A88A4F380DA}"/>
                </a:ext>
              </a:extLst>
            </p:cNvPr>
            <p:cNvSpPr/>
            <p:nvPr/>
          </p:nvSpPr>
          <p:spPr>
            <a:xfrm>
              <a:off x="4749127" y="2902042"/>
              <a:ext cx="26647" cy="26306"/>
            </a:xfrm>
            <a:custGeom>
              <a:avLst/>
              <a:gdLst>
                <a:gd name="connsiteX0" fmla="*/ 17082 w 26647"/>
                <a:gd name="connsiteY0" fmla="*/ 26306 h 26306"/>
                <a:gd name="connsiteX1" fmla="*/ 0 w 26647"/>
                <a:gd name="connsiteY1" fmla="*/ 19473 h 26306"/>
                <a:gd name="connsiteX2" fmla="*/ 5808 w 26647"/>
                <a:gd name="connsiteY2" fmla="*/ 0 h 26306"/>
                <a:gd name="connsiteX3" fmla="*/ 26648 w 26647"/>
                <a:gd name="connsiteY3" fmla="*/ 8199 h 26306"/>
                <a:gd name="connsiteX4" fmla="*/ 17082 w 26647"/>
                <a:gd name="connsiteY4" fmla="*/ 26306 h 26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7" h="26306">
                  <a:moveTo>
                    <a:pt x="17082" y="26306"/>
                  </a:moveTo>
                  <a:cubicBezTo>
                    <a:pt x="11616" y="23573"/>
                    <a:pt x="5808" y="21182"/>
                    <a:pt x="0" y="19473"/>
                  </a:cubicBezTo>
                  <a:lnTo>
                    <a:pt x="5808" y="0"/>
                  </a:lnTo>
                  <a:cubicBezTo>
                    <a:pt x="12982" y="2050"/>
                    <a:pt x="20157" y="4783"/>
                    <a:pt x="26648" y="8199"/>
                  </a:cubicBezTo>
                  <a:lnTo>
                    <a:pt x="17082" y="26306"/>
                  </a:lnTo>
                  <a:close/>
                </a:path>
              </a:pathLst>
            </a:custGeom>
            <a:solidFill>
              <a:srgbClr val="000000"/>
            </a:solidFill>
            <a:ln w="3373" cap="flat">
              <a:noFill/>
              <a:prstDash val="solid"/>
              <a:miter/>
            </a:ln>
          </p:spPr>
          <p:txBody>
            <a:bodyPr rtlCol="0" anchor="ctr"/>
            <a:lstStyle/>
            <a:p>
              <a:endParaRPr lang="nl-NL" dirty="0"/>
            </a:p>
          </p:txBody>
        </p:sp>
        <p:sp>
          <p:nvSpPr>
            <p:cNvPr id="78" name="Freeform: Shape 77">
              <a:extLst>
                <a:ext uri="{FF2B5EF4-FFF2-40B4-BE49-F238E27FC236}">
                  <a16:creationId xmlns:a16="http://schemas.microsoft.com/office/drawing/2014/main" id="{8164775B-4DCD-4D38-9075-3DBFB19F0C67}"/>
                </a:ext>
              </a:extLst>
            </p:cNvPr>
            <p:cNvSpPr/>
            <p:nvPr/>
          </p:nvSpPr>
          <p:spPr>
            <a:xfrm>
              <a:off x="4715988" y="2893159"/>
              <a:ext cx="24939" cy="24939"/>
            </a:xfrm>
            <a:custGeom>
              <a:avLst/>
              <a:gdLst>
                <a:gd name="connsiteX0" fmla="*/ 20157 w 24939"/>
                <a:gd name="connsiteY0" fmla="*/ 24940 h 24939"/>
                <a:gd name="connsiteX1" fmla="*/ 14690 w 24939"/>
                <a:gd name="connsiteY1" fmla="*/ 23573 h 24939"/>
                <a:gd name="connsiteX2" fmla="*/ 0 w 24939"/>
                <a:gd name="connsiteY2" fmla="*/ 19815 h 24939"/>
                <a:gd name="connsiteX3" fmla="*/ 5466 w 24939"/>
                <a:gd name="connsiteY3" fmla="*/ 0 h 24939"/>
                <a:gd name="connsiteX4" fmla="*/ 19473 w 24939"/>
                <a:gd name="connsiteY4" fmla="*/ 3758 h 24939"/>
                <a:gd name="connsiteX5" fmla="*/ 24940 w 24939"/>
                <a:gd name="connsiteY5" fmla="*/ 5125 h 24939"/>
                <a:gd name="connsiteX6" fmla="*/ 20157 w 24939"/>
                <a:gd name="connsiteY6" fmla="*/ 24940 h 2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39" h="24939">
                  <a:moveTo>
                    <a:pt x="20157" y="24940"/>
                  </a:moveTo>
                  <a:lnTo>
                    <a:pt x="14690" y="23573"/>
                  </a:lnTo>
                  <a:cubicBezTo>
                    <a:pt x="9907" y="22206"/>
                    <a:pt x="4783" y="21182"/>
                    <a:pt x="0" y="19815"/>
                  </a:cubicBezTo>
                  <a:lnTo>
                    <a:pt x="5466" y="0"/>
                  </a:lnTo>
                  <a:cubicBezTo>
                    <a:pt x="9907" y="1367"/>
                    <a:pt x="14690" y="2391"/>
                    <a:pt x="19473" y="3758"/>
                  </a:cubicBezTo>
                  <a:lnTo>
                    <a:pt x="24940" y="5125"/>
                  </a:lnTo>
                  <a:lnTo>
                    <a:pt x="20157" y="24940"/>
                  </a:lnTo>
                  <a:close/>
                </a:path>
              </a:pathLst>
            </a:custGeom>
            <a:solidFill>
              <a:srgbClr val="000000"/>
            </a:solidFill>
            <a:ln w="3373" cap="flat">
              <a:noFill/>
              <a:prstDash val="solid"/>
              <a:miter/>
            </a:ln>
          </p:spPr>
          <p:txBody>
            <a:bodyPr rtlCol="0" anchor="ctr"/>
            <a:lstStyle/>
            <a:p>
              <a:endParaRPr lang="nl-NL" dirty="0"/>
            </a:p>
          </p:txBody>
        </p:sp>
        <p:sp>
          <p:nvSpPr>
            <p:cNvPr id="79" name="Freeform: Shape 78">
              <a:extLst>
                <a:ext uri="{FF2B5EF4-FFF2-40B4-BE49-F238E27FC236}">
                  <a16:creationId xmlns:a16="http://schemas.microsoft.com/office/drawing/2014/main" id="{6BE154EF-78C0-49A0-9EFE-BA06FAC0CB30}"/>
                </a:ext>
              </a:extLst>
            </p:cNvPr>
            <p:cNvSpPr/>
            <p:nvPr/>
          </p:nvSpPr>
          <p:spPr>
            <a:xfrm>
              <a:off x="4680800" y="2881543"/>
              <a:ext cx="28697" cy="26647"/>
            </a:xfrm>
            <a:custGeom>
              <a:avLst/>
              <a:gdLst>
                <a:gd name="connsiteX0" fmla="*/ 21182 w 28697"/>
                <a:gd name="connsiteY0" fmla="*/ 26648 h 26647"/>
                <a:gd name="connsiteX1" fmla="*/ 0 w 28697"/>
                <a:gd name="connsiteY1" fmla="*/ 11616 h 26647"/>
                <a:gd name="connsiteX2" fmla="*/ 16740 w 28697"/>
                <a:gd name="connsiteY2" fmla="*/ 0 h 26647"/>
                <a:gd name="connsiteX3" fmla="*/ 28698 w 28697"/>
                <a:gd name="connsiteY3" fmla="*/ 7858 h 26647"/>
                <a:gd name="connsiteX4" fmla="*/ 21182 w 28697"/>
                <a:gd name="connsiteY4" fmla="*/ 26648 h 2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7" h="26647">
                  <a:moveTo>
                    <a:pt x="21182" y="26648"/>
                  </a:moveTo>
                  <a:cubicBezTo>
                    <a:pt x="12982" y="23573"/>
                    <a:pt x="5466" y="18448"/>
                    <a:pt x="0" y="11616"/>
                  </a:cubicBezTo>
                  <a:lnTo>
                    <a:pt x="16740" y="0"/>
                  </a:lnTo>
                  <a:cubicBezTo>
                    <a:pt x="19815" y="3758"/>
                    <a:pt x="24256" y="6491"/>
                    <a:pt x="28698" y="7858"/>
                  </a:cubicBezTo>
                  <a:lnTo>
                    <a:pt x="21182" y="26648"/>
                  </a:lnTo>
                  <a:close/>
                </a:path>
              </a:pathLst>
            </a:custGeom>
            <a:solidFill>
              <a:srgbClr val="000000"/>
            </a:solidFill>
            <a:ln w="3373" cap="flat">
              <a:noFill/>
              <a:prstDash val="solid"/>
              <a:miter/>
            </a:ln>
          </p:spPr>
          <p:txBody>
            <a:bodyPr rtlCol="0" anchor="ctr"/>
            <a:lstStyle/>
            <a:p>
              <a:endParaRPr lang="nl-NL" dirty="0"/>
            </a:p>
          </p:txBody>
        </p:sp>
        <p:sp>
          <p:nvSpPr>
            <p:cNvPr id="80" name="Freeform: Shape 79">
              <a:extLst>
                <a:ext uri="{FF2B5EF4-FFF2-40B4-BE49-F238E27FC236}">
                  <a16:creationId xmlns:a16="http://schemas.microsoft.com/office/drawing/2014/main" id="{72B819E2-CC63-4C8F-AE21-5328EE9E1251}"/>
                </a:ext>
              </a:extLst>
            </p:cNvPr>
            <p:cNvSpPr/>
            <p:nvPr/>
          </p:nvSpPr>
          <p:spPr>
            <a:xfrm>
              <a:off x="4675675" y="2848746"/>
              <a:ext cx="26647" cy="25964"/>
            </a:xfrm>
            <a:custGeom>
              <a:avLst/>
              <a:gdLst>
                <a:gd name="connsiteX0" fmla="*/ 20498 w 26647"/>
                <a:gd name="connsiteY0" fmla="*/ 25964 h 25964"/>
                <a:gd name="connsiteX1" fmla="*/ 0 w 26647"/>
                <a:gd name="connsiteY1" fmla="*/ 24598 h 25964"/>
                <a:gd name="connsiteX2" fmla="*/ 14007 w 26647"/>
                <a:gd name="connsiteY2" fmla="*/ 0 h 25964"/>
                <a:gd name="connsiteX3" fmla="*/ 26648 w 26647"/>
                <a:gd name="connsiteY3" fmla="*/ 16057 h 25964"/>
                <a:gd name="connsiteX4" fmla="*/ 20498 w 26647"/>
                <a:gd name="connsiteY4" fmla="*/ 25964 h 25964"/>
                <a:gd name="connsiteX5" fmla="*/ 20498 w 26647"/>
                <a:gd name="connsiteY5" fmla="*/ 25964 h 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47" h="25964">
                  <a:moveTo>
                    <a:pt x="20498" y="25964"/>
                  </a:moveTo>
                  <a:lnTo>
                    <a:pt x="0" y="24598"/>
                  </a:lnTo>
                  <a:cubicBezTo>
                    <a:pt x="683" y="14690"/>
                    <a:pt x="6149" y="5808"/>
                    <a:pt x="14007" y="0"/>
                  </a:cubicBezTo>
                  <a:lnTo>
                    <a:pt x="26648" y="16057"/>
                  </a:lnTo>
                  <a:cubicBezTo>
                    <a:pt x="20498" y="21182"/>
                    <a:pt x="20498" y="24940"/>
                    <a:pt x="20498" y="25964"/>
                  </a:cubicBezTo>
                  <a:lnTo>
                    <a:pt x="20498" y="25964"/>
                  </a:lnTo>
                  <a:close/>
                </a:path>
              </a:pathLst>
            </a:custGeom>
            <a:solidFill>
              <a:srgbClr val="000000"/>
            </a:solidFill>
            <a:ln w="3373" cap="flat">
              <a:noFill/>
              <a:prstDash val="solid"/>
              <a:miter/>
            </a:ln>
          </p:spPr>
          <p:txBody>
            <a:bodyPr rtlCol="0" anchor="ctr"/>
            <a:lstStyle/>
            <a:p>
              <a:endParaRPr lang="nl-NL" dirty="0"/>
            </a:p>
          </p:txBody>
        </p:sp>
        <p:sp>
          <p:nvSpPr>
            <p:cNvPr id="81" name="Freeform: Shape 80">
              <a:extLst>
                <a:ext uri="{FF2B5EF4-FFF2-40B4-BE49-F238E27FC236}">
                  <a16:creationId xmlns:a16="http://schemas.microsoft.com/office/drawing/2014/main" id="{6019B511-4E33-421B-8C69-F722756AAD67}"/>
                </a:ext>
              </a:extLst>
            </p:cNvPr>
            <p:cNvSpPr/>
            <p:nvPr/>
          </p:nvSpPr>
          <p:spPr>
            <a:xfrm>
              <a:off x="4703689" y="2833714"/>
              <a:ext cx="25964" cy="25964"/>
            </a:xfrm>
            <a:custGeom>
              <a:avLst/>
              <a:gdLst>
                <a:gd name="connsiteX0" fmla="*/ 8199 w 25964"/>
                <a:gd name="connsiteY0" fmla="*/ 25964 h 25964"/>
                <a:gd name="connsiteX1" fmla="*/ 0 w 25964"/>
                <a:gd name="connsiteY1" fmla="*/ 7174 h 25964"/>
                <a:gd name="connsiteX2" fmla="*/ 21182 w 25964"/>
                <a:gd name="connsiteY2" fmla="*/ 0 h 25964"/>
                <a:gd name="connsiteX3" fmla="*/ 25964 w 25964"/>
                <a:gd name="connsiteY3" fmla="*/ 19815 h 25964"/>
                <a:gd name="connsiteX4" fmla="*/ 8199 w 25964"/>
                <a:gd name="connsiteY4" fmla="*/ 25964 h 25964"/>
                <a:gd name="connsiteX5" fmla="*/ 8199 w 25964"/>
                <a:gd name="connsiteY5" fmla="*/ 25964 h 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4" h="25964">
                  <a:moveTo>
                    <a:pt x="8199" y="25964"/>
                  </a:moveTo>
                  <a:lnTo>
                    <a:pt x="0" y="7174"/>
                  </a:lnTo>
                  <a:cubicBezTo>
                    <a:pt x="6833" y="4100"/>
                    <a:pt x="14007" y="1708"/>
                    <a:pt x="21182" y="0"/>
                  </a:cubicBezTo>
                  <a:lnTo>
                    <a:pt x="25964" y="19815"/>
                  </a:lnTo>
                  <a:cubicBezTo>
                    <a:pt x="19815" y="21523"/>
                    <a:pt x="14007" y="23573"/>
                    <a:pt x="8199" y="25964"/>
                  </a:cubicBezTo>
                  <a:lnTo>
                    <a:pt x="8199" y="25964"/>
                  </a:lnTo>
                  <a:close/>
                </a:path>
              </a:pathLst>
            </a:custGeom>
            <a:solidFill>
              <a:srgbClr val="000000"/>
            </a:solidFill>
            <a:ln w="3373" cap="flat">
              <a:noFill/>
              <a:prstDash val="solid"/>
              <a:miter/>
            </a:ln>
          </p:spPr>
          <p:txBody>
            <a:bodyPr rtlCol="0" anchor="ctr"/>
            <a:lstStyle/>
            <a:p>
              <a:endParaRPr lang="nl-NL" dirty="0"/>
            </a:p>
          </p:txBody>
        </p:sp>
        <p:sp>
          <p:nvSpPr>
            <p:cNvPr id="82" name="Freeform: Shape 81">
              <a:extLst>
                <a:ext uri="{FF2B5EF4-FFF2-40B4-BE49-F238E27FC236}">
                  <a16:creationId xmlns:a16="http://schemas.microsoft.com/office/drawing/2014/main" id="{EEDFED75-218B-4E63-8497-865C9704BD68}"/>
                </a:ext>
              </a:extLst>
            </p:cNvPr>
            <p:cNvSpPr/>
            <p:nvPr/>
          </p:nvSpPr>
          <p:spPr>
            <a:xfrm>
              <a:off x="4738878" y="2828248"/>
              <a:ext cx="22889" cy="22889"/>
            </a:xfrm>
            <a:custGeom>
              <a:avLst/>
              <a:gdLst>
                <a:gd name="connsiteX0" fmla="*/ 3416 w 22889"/>
                <a:gd name="connsiteY0" fmla="*/ 22890 h 22889"/>
                <a:gd name="connsiteX1" fmla="*/ 0 w 22889"/>
                <a:gd name="connsiteY1" fmla="*/ 2733 h 22889"/>
                <a:gd name="connsiteX2" fmla="*/ 21182 w 22889"/>
                <a:gd name="connsiteY2" fmla="*/ 0 h 22889"/>
                <a:gd name="connsiteX3" fmla="*/ 22890 w 22889"/>
                <a:gd name="connsiteY3" fmla="*/ 20498 h 22889"/>
                <a:gd name="connsiteX4" fmla="*/ 3416 w 22889"/>
                <a:gd name="connsiteY4" fmla="*/ 22890 h 22889"/>
                <a:gd name="connsiteX5" fmla="*/ 3416 w 22889"/>
                <a:gd name="connsiteY5" fmla="*/ 22890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89" h="22889">
                  <a:moveTo>
                    <a:pt x="3416" y="22890"/>
                  </a:moveTo>
                  <a:lnTo>
                    <a:pt x="0" y="2733"/>
                  </a:lnTo>
                  <a:cubicBezTo>
                    <a:pt x="8883" y="1367"/>
                    <a:pt x="16399" y="342"/>
                    <a:pt x="21182" y="0"/>
                  </a:cubicBezTo>
                  <a:lnTo>
                    <a:pt x="22890" y="20498"/>
                  </a:lnTo>
                  <a:cubicBezTo>
                    <a:pt x="19473" y="20840"/>
                    <a:pt x="11957" y="21523"/>
                    <a:pt x="3416" y="22890"/>
                  </a:cubicBezTo>
                  <a:lnTo>
                    <a:pt x="3416" y="22890"/>
                  </a:lnTo>
                  <a:close/>
                </a:path>
              </a:pathLst>
            </a:custGeom>
            <a:solidFill>
              <a:srgbClr val="000000"/>
            </a:solidFill>
            <a:ln w="3373" cap="flat">
              <a:noFill/>
              <a:prstDash val="solid"/>
              <a:miter/>
            </a:ln>
          </p:spPr>
          <p:txBody>
            <a:bodyPr rtlCol="0" anchor="ctr"/>
            <a:lstStyle/>
            <a:p>
              <a:endParaRPr lang="nl-NL" dirty="0"/>
            </a:p>
          </p:txBody>
        </p:sp>
      </p:grpSp>
      <p:grpSp>
        <p:nvGrpSpPr>
          <p:cNvPr id="26" name="Group 25">
            <a:extLst>
              <a:ext uri="{FF2B5EF4-FFF2-40B4-BE49-F238E27FC236}">
                <a16:creationId xmlns:a16="http://schemas.microsoft.com/office/drawing/2014/main" id="{ABF12121-6581-486A-88B2-0669D7CDA566}"/>
              </a:ext>
            </a:extLst>
          </p:cNvPr>
          <p:cNvGrpSpPr/>
          <p:nvPr/>
        </p:nvGrpSpPr>
        <p:grpSpPr>
          <a:xfrm>
            <a:off x="8757519" y="3752696"/>
            <a:ext cx="564337" cy="371701"/>
            <a:chOff x="8757519" y="3752696"/>
            <a:chExt cx="564337" cy="371701"/>
          </a:xfrm>
        </p:grpSpPr>
        <p:sp>
          <p:nvSpPr>
            <p:cNvPr id="99" name="Rectangle: Rounded Corners 98">
              <a:extLst>
                <a:ext uri="{FF2B5EF4-FFF2-40B4-BE49-F238E27FC236}">
                  <a16:creationId xmlns:a16="http://schemas.microsoft.com/office/drawing/2014/main" id="{1CBF3D25-7B79-4FD2-AF2E-E01556D97DEA}"/>
                </a:ext>
              </a:extLst>
            </p:cNvPr>
            <p:cNvSpPr/>
            <p:nvPr/>
          </p:nvSpPr>
          <p:spPr>
            <a:xfrm>
              <a:off x="8757519" y="3752696"/>
              <a:ext cx="564337" cy="371701"/>
            </a:xfrm>
            <a:prstGeom prst="roundRect">
              <a:avLst/>
            </a:prstGeom>
            <a:solidFill>
              <a:srgbClr val="22777B"/>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52" name="Graphic 51" descr="Stopwatch with solid fill">
              <a:extLst>
                <a:ext uri="{FF2B5EF4-FFF2-40B4-BE49-F238E27FC236}">
                  <a16:creationId xmlns:a16="http://schemas.microsoft.com/office/drawing/2014/main" id="{84D30739-5D8A-45B6-84A2-A3848A2A968B}"/>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885351" y="3784210"/>
              <a:ext cx="309600" cy="309600"/>
            </a:xfrm>
            <a:prstGeom prst="rect">
              <a:avLst/>
            </a:prstGeom>
          </p:spPr>
        </p:pic>
      </p:grpSp>
      <p:grpSp>
        <p:nvGrpSpPr>
          <p:cNvPr id="28" name="Group 27">
            <a:extLst>
              <a:ext uri="{FF2B5EF4-FFF2-40B4-BE49-F238E27FC236}">
                <a16:creationId xmlns:a16="http://schemas.microsoft.com/office/drawing/2014/main" id="{52AA2399-BBF0-44AD-977D-E15CA07C0429}"/>
              </a:ext>
            </a:extLst>
          </p:cNvPr>
          <p:cNvGrpSpPr/>
          <p:nvPr/>
        </p:nvGrpSpPr>
        <p:grpSpPr>
          <a:xfrm>
            <a:off x="8228181" y="3245540"/>
            <a:ext cx="417307" cy="291600"/>
            <a:chOff x="8228181" y="3245540"/>
            <a:chExt cx="417307" cy="291600"/>
          </a:xfrm>
        </p:grpSpPr>
        <p:sp>
          <p:nvSpPr>
            <p:cNvPr id="60" name="Rectangle: Rounded Corners 59">
              <a:extLst>
                <a:ext uri="{FF2B5EF4-FFF2-40B4-BE49-F238E27FC236}">
                  <a16:creationId xmlns:a16="http://schemas.microsoft.com/office/drawing/2014/main" id="{447815FA-0497-4C50-B931-E7A004148CAF}"/>
                </a:ext>
              </a:extLst>
            </p:cNvPr>
            <p:cNvSpPr/>
            <p:nvPr/>
          </p:nvSpPr>
          <p:spPr>
            <a:xfrm>
              <a:off x="8228181" y="3251172"/>
              <a:ext cx="417307" cy="274859"/>
            </a:xfrm>
            <a:prstGeom prst="roundRect">
              <a:avLst/>
            </a:prstGeom>
            <a:solidFill>
              <a:srgbClr val="22777B"/>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58" name="Graphic 57" descr="Car with solid fill">
              <a:extLst>
                <a:ext uri="{FF2B5EF4-FFF2-40B4-BE49-F238E27FC236}">
                  <a16:creationId xmlns:a16="http://schemas.microsoft.com/office/drawing/2014/main" id="{BC1F6E08-6B4A-40FF-9E96-17ECEB808A43}"/>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294366" y="3245540"/>
              <a:ext cx="291600" cy="291600"/>
            </a:xfrm>
            <a:prstGeom prst="rect">
              <a:avLst/>
            </a:prstGeom>
          </p:spPr>
        </p:pic>
      </p:grpSp>
      <p:grpSp>
        <p:nvGrpSpPr>
          <p:cNvPr id="29" name="Group 28">
            <a:extLst>
              <a:ext uri="{FF2B5EF4-FFF2-40B4-BE49-F238E27FC236}">
                <a16:creationId xmlns:a16="http://schemas.microsoft.com/office/drawing/2014/main" id="{98AB3079-5121-440B-867C-23867148EFAB}"/>
              </a:ext>
            </a:extLst>
          </p:cNvPr>
          <p:cNvGrpSpPr/>
          <p:nvPr/>
        </p:nvGrpSpPr>
        <p:grpSpPr>
          <a:xfrm>
            <a:off x="8818896" y="4270825"/>
            <a:ext cx="504000" cy="306235"/>
            <a:chOff x="8818896" y="4270825"/>
            <a:chExt cx="504000" cy="306235"/>
          </a:xfrm>
        </p:grpSpPr>
        <p:sp>
          <p:nvSpPr>
            <p:cNvPr id="101" name="Rectangle: Rounded Corners 100">
              <a:extLst>
                <a:ext uri="{FF2B5EF4-FFF2-40B4-BE49-F238E27FC236}">
                  <a16:creationId xmlns:a16="http://schemas.microsoft.com/office/drawing/2014/main" id="{E54DFE42-8001-4A0E-8BC7-E2C3D7099D9B}"/>
                </a:ext>
              </a:extLst>
            </p:cNvPr>
            <p:cNvSpPr/>
            <p:nvPr/>
          </p:nvSpPr>
          <p:spPr>
            <a:xfrm>
              <a:off x="8818896" y="4279942"/>
              <a:ext cx="504000" cy="288000"/>
            </a:xfrm>
            <a:prstGeom prst="roundRect">
              <a:avLst/>
            </a:prstGeom>
            <a:solidFill>
              <a:srgbClr val="22777B"/>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88" name="Graphic 87" descr="Tricycle with solid fill">
              <a:extLst>
                <a:ext uri="{FF2B5EF4-FFF2-40B4-BE49-F238E27FC236}">
                  <a16:creationId xmlns:a16="http://schemas.microsoft.com/office/drawing/2014/main" id="{36AAFB82-1B4D-415C-AB79-659E543AB1D6}"/>
                </a:ext>
              </a:extLst>
            </p:cNvPr>
            <p:cNvPicPr>
              <a:picLocks noChangeAspect="1"/>
            </p:cNvPicPr>
            <p:nvPr/>
          </p:nvPicPr>
          <p:blipFill>
            <a:blip r:embed="rId17" cstate="print">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8917779" y="4270825"/>
              <a:ext cx="306235" cy="306235"/>
            </a:xfrm>
            <a:prstGeom prst="rect">
              <a:avLst/>
            </a:prstGeom>
          </p:spPr>
        </p:pic>
      </p:grpSp>
      <p:grpSp>
        <p:nvGrpSpPr>
          <p:cNvPr id="67" name="Group 66">
            <a:extLst>
              <a:ext uri="{FF2B5EF4-FFF2-40B4-BE49-F238E27FC236}">
                <a16:creationId xmlns:a16="http://schemas.microsoft.com/office/drawing/2014/main" id="{5521063C-1D20-46CB-996F-D48E3D7FFE2E}"/>
              </a:ext>
            </a:extLst>
          </p:cNvPr>
          <p:cNvGrpSpPr/>
          <p:nvPr/>
        </p:nvGrpSpPr>
        <p:grpSpPr>
          <a:xfrm>
            <a:off x="9455943" y="1847884"/>
            <a:ext cx="1053278" cy="1150228"/>
            <a:chOff x="9455943" y="1752087"/>
            <a:chExt cx="1053278" cy="1150228"/>
          </a:xfrm>
        </p:grpSpPr>
        <p:sp>
          <p:nvSpPr>
            <p:cNvPr id="27" name="Rectangle 26">
              <a:extLst>
                <a:ext uri="{FF2B5EF4-FFF2-40B4-BE49-F238E27FC236}">
                  <a16:creationId xmlns:a16="http://schemas.microsoft.com/office/drawing/2014/main" id="{9D5CEAD1-B256-4F9D-8ED8-7C038E3090D9}"/>
                </a:ext>
              </a:extLst>
            </p:cNvPr>
            <p:cNvSpPr/>
            <p:nvPr/>
          </p:nvSpPr>
          <p:spPr>
            <a:xfrm>
              <a:off x="9851548" y="1809866"/>
              <a:ext cx="454719" cy="793998"/>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pSp>
          <p:nvGrpSpPr>
            <p:cNvPr id="24" name="Group 23">
              <a:extLst>
                <a:ext uri="{FF2B5EF4-FFF2-40B4-BE49-F238E27FC236}">
                  <a16:creationId xmlns:a16="http://schemas.microsoft.com/office/drawing/2014/main" id="{8468F7DD-833A-467A-8377-D8E958758456}"/>
                </a:ext>
              </a:extLst>
            </p:cNvPr>
            <p:cNvGrpSpPr/>
            <p:nvPr/>
          </p:nvGrpSpPr>
          <p:grpSpPr>
            <a:xfrm>
              <a:off x="9455943" y="1752087"/>
              <a:ext cx="1053278" cy="1150228"/>
              <a:chOff x="3673530" y="3432772"/>
              <a:chExt cx="1053278" cy="1150228"/>
            </a:xfrm>
          </p:grpSpPr>
          <p:grpSp>
            <p:nvGrpSpPr>
              <p:cNvPr id="50" name="Group 49">
                <a:extLst>
                  <a:ext uri="{FF2B5EF4-FFF2-40B4-BE49-F238E27FC236}">
                    <a16:creationId xmlns:a16="http://schemas.microsoft.com/office/drawing/2014/main" id="{B8A22D18-F39B-41F6-8257-C2A6B0CDF548}"/>
                  </a:ext>
                </a:extLst>
              </p:cNvPr>
              <p:cNvGrpSpPr/>
              <p:nvPr/>
            </p:nvGrpSpPr>
            <p:grpSpPr>
              <a:xfrm>
                <a:off x="4133891" y="3735657"/>
                <a:ext cx="252832" cy="266477"/>
                <a:chOff x="4566605" y="2727123"/>
                <a:chExt cx="252832" cy="266477"/>
              </a:xfrm>
            </p:grpSpPr>
            <p:sp>
              <p:nvSpPr>
                <p:cNvPr id="34" name="Freeform: Shape 33">
                  <a:extLst>
                    <a:ext uri="{FF2B5EF4-FFF2-40B4-BE49-F238E27FC236}">
                      <a16:creationId xmlns:a16="http://schemas.microsoft.com/office/drawing/2014/main" id="{08786D9C-6718-421B-A9E8-82B09347323B}"/>
                    </a:ext>
                  </a:extLst>
                </p:cNvPr>
                <p:cNvSpPr/>
                <p:nvPr/>
              </p:nvSpPr>
              <p:spPr>
                <a:xfrm>
                  <a:off x="4749536" y="2727123"/>
                  <a:ext cx="69901" cy="114246"/>
                </a:xfrm>
                <a:custGeom>
                  <a:avLst/>
                  <a:gdLst>
                    <a:gd name="connsiteX0" fmla="*/ 35122 w 69901"/>
                    <a:gd name="connsiteY0" fmla="*/ 50562 h 114246"/>
                    <a:gd name="connsiteX1" fmla="*/ 20090 w 69901"/>
                    <a:gd name="connsiteY1" fmla="*/ 35530 h 114246"/>
                    <a:gd name="connsiteX2" fmla="*/ 35122 w 69901"/>
                    <a:gd name="connsiteY2" fmla="*/ 20498 h 114246"/>
                    <a:gd name="connsiteX3" fmla="*/ 50154 w 69901"/>
                    <a:gd name="connsiteY3" fmla="*/ 35530 h 114246"/>
                    <a:gd name="connsiteX4" fmla="*/ 50154 w 69901"/>
                    <a:gd name="connsiteY4" fmla="*/ 35530 h 114246"/>
                    <a:gd name="connsiteX5" fmla="*/ 35122 w 69901"/>
                    <a:gd name="connsiteY5" fmla="*/ 50562 h 114246"/>
                    <a:gd name="connsiteX6" fmla="*/ 35122 w 69901"/>
                    <a:gd name="connsiteY6" fmla="*/ 50562 h 114246"/>
                    <a:gd name="connsiteX7" fmla="*/ 35122 w 69901"/>
                    <a:gd name="connsiteY7" fmla="*/ 0 h 114246"/>
                    <a:gd name="connsiteX8" fmla="*/ 6082 w 69901"/>
                    <a:gd name="connsiteY8" fmla="*/ 15374 h 114246"/>
                    <a:gd name="connsiteX9" fmla="*/ 2324 w 69901"/>
                    <a:gd name="connsiteY9" fmla="*/ 48171 h 114246"/>
                    <a:gd name="connsiteX10" fmla="*/ 18381 w 69901"/>
                    <a:gd name="connsiteY10" fmla="*/ 83360 h 114246"/>
                    <a:gd name="connsiteX11" fmla="*/ 32047 w 69901"/>
                    <a:gd name="connsiteY11" fmla="*/ 112399 h 114246"/>
                    <a:gd name="connsiteX12" fmla="*/ 36488 w 69901"/>
                    <a:gd name="connsiteY12" fmla="*/ 113765 h 114246"/>
                    <a:gd name="connsiteX13" fmla="*/ 37855 w 69901"/>
                    <a:gd name="connsiteY13" fmla="*/ 112399 h 114246"/>
                    <a:gd name="connsiteX14" fmla="*/ 51520 w 69901"/>
                    <a:gd name="connsiteY14" fmla="*/ 83360 h 114246"/>
                    <a:gd name="connsiteX15" fmla="*/ 67577 w 69901"/>
                    <a:gd name="connsiteY15" fmla="*/ 48171 h 114246"/>
                    <a:gd name="connsiteX16" fmla="*/ 63819 w 69901"/>
                    <a:gd name="connsiteY16" fmla="*/ 15374 h 114246"/>
                    <a:gd name="connsiteX17" fmla="*/ 35122 w 69901"/>
                    <a:gd name="connsiteY17" fmla="*/ 0 h 114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901" h="114246">
                      <a:moveTo>
                        <a:pt x="35122" y="50562"/>
                      </a:moveTo>
                      <a:cubicBezTo>
                        <a:pt x="26922" y="50562"/>
                        <a:pt x="20090" y="43730"/>
                        <a:pt x="20090" y="35530"/>
                      </a:cubicBezTo>
                      <a:cubicBezTo>
                        <a:pt x="20090" y="27331"/>
                        <a:pt x="26922" y="20498"/>
                        <a:pt x="35122" y="20498"/>
                      </a:cubicBezTo>
                      <a:cubicBezTo>
                        <a:pt x="43321" y="20498"/>
                        <a:pt x="50154" y="27331"/>
                        <a:pt x="50154" y="35530"/>
                      </a:cubicBezTo>
                      <a:lnTo>
                        <a:pt x="50154" y="35530"/>
                      </a:lnTo>
                      <a:cubicBezTo>
                        <a:pt x="50154" y="43730"/>
                        <a:pt x="43321" y="50562"/>
                        <a:pt x="35122" y="50562"/>
                      </a:cubicBezTo>
                      <a:cubicBezTo>
                        <a:pt x="35122" y="50562"/>
                        <a:pt x="35122" y="50562"/>
                        <a:pt x="35122" y="50562"/>
                      </a:cubicBezTo>
                      <a:close/>
                      <a:moveTo>
                        <a:pt x="35122" y="0"/>
                      </a:moveTo>
                      <a:cubicBezTo>
                        <a:pt x="23506" y="0"/>
                        <a:pt x="12574" y="5808"/>
                        <a:pt x="6082" y="15374"/>
                      </a:cubicBezTo>
                      <a:cubicBezTo>
                        <a:pt x="-409" y="24940"/>
                        <a:pt x="-1775" y="37238"/>
                        <a:pt x="2324" y="48171"/>
                      </a:cubicBezTo>
                      <a:lnTo>
                        <a:pt x="18381" y="83360"/>
                      </a:lnTo>
                      <a:lnTo>
                        <a:pt x="32047" y="112399"/>
                      </a:lnTo>
                      <a:cubicBezTo>
                        <a:pt x="33072" y="114107"/>
                        <a:pt x="35122" y="114790"/>
                        <a:pt x="36488" y="113765"/>
                      </a:cubicBezTo>
                      <a:cubicBezTo>
                        <a:pt x="37171" y="113424"/>
                        <a:pt x="37513" y="113082"/>
                        <a:pt x="37855" y="112399"/>
                      </a:cubicBezTo>
                      <a:lnTo>
                        <a:pt x="51520" y="83360"/>
                      </a:lnTo>
                      <a:lnTo>
                        <a:pt x="67577" y="48171"/>
                      </a:lnTo>
                      <a:cubicBezTo>
                        <a:pt x="71677" y="37238"/>
                        <a:pt x="70310" y="24940"/>
                        <a:pt x="63819" y="15374"/>
                      </a:cubicBezTo>
                      <a:cubicBezTo>
                        <a:pt x="57670" y="5808"/>
                        <a:pt x="46737" y="0"/>
                        <a:pt x="35122" y="0"/>
                      </a:cubicBezTo>
                      <a:close/>
                    </a:path>
                  </a:pathLst>
                </a:custGeom>
                <a:solidFill>
                  <a:srgbClr val="EC6224"/>
                </a:solidFill>
                <a:ln w="3373" cap="flat">
                  <a:noFill/>
                  <a:prstDash val="solid"/>
                  <a:miter/>
                </a:ln>
              </p:spPr>
              <p:txBody>
                <a:bodyPr rtlCol="0" anchor="ctr"/>
                <a:lstStyle/>
                <a:p>
                  <a:endParaRPr lang="nl-NL" dirty="0"/>
                </a:p>
              </p:txBody>
            </p:sp>
            <p:sp>
              <p:nvSpPr>
                <p:cNvPr id="35" name="Freeform: Shape 34">
                  <a:extLst>
                    <a:ext uri="{FF2B5EF4-FFF2-40B4-BE49-F238E27FC236}">
                      <a16:creationId xmlns:a16="http://schemas.microsoft.com/office/drawing/2014/main" id="{7C0A2B1A-2707-4BCA-AAA7-1313FB7604C0}"/>
                    </a:ext>
                  </a:extLst>
                </p:cNvPr>
                <p:cNvSpPr/>
                <p:nvPr/>
              </p:nvSpPr>
              <p:spPr>
                <a:xfrm>
                  <a:off x="4566605" y="2851821"/>
                  <a:ext cx="87391" cy="141567"/>
                </a:xfrm>
                <a:custGeom>
                  <a:avLst/>
                  <a:gdLst>
                    <a:gd name="connsiteX0" fmla="*/ 43817 w 87391"/>
                    <a:gd name="connsiteY0" fmla="*/ 62520 h 141567"/>
                    <a:gd name="connsiteX1" fmla="*/ 25027 w 87391"/>
                    <a:gd name="connsiteY1" fmla="*/ 43730 h 141567"/>
                    <a:gd name="connsiteX2" fmla="*/ 43817 w 87391"/>
                    <a:gd name="connsiteY2" fmla="*/ 24940 h 141567"/>
                    <a:gd name="connsiteX3" fmla="*/ 62607 w 87391"/>
                    <a:gd name="connsiteY3" fmla="*/ 43730 h 141567"/>
                    <a:gd name="connsiteX4" fmla="*/ 62607 w 87391"/>
                    <a:gd name="connsiteY4" fmla="*/ 43730 h 141567"/>
                    <a:gd name="connsiteX5" fmla="*/ 43817 w 87391"/>
                    <a:gd name="connsiteY5" fmla="*/ 62520 h 141567"/>
                    <a:gd name="connsiteX6" fmla="*/ 43817 w 87391"/>
                    <a:gd name="connsiteY6" fmla="*/ 62520 h 141567"/>
                    <a:gd name="connsiteX7" fmla="*/ 43817 w 87391"/>
                    <a:gd name="connsiteY7" fmla="*/ 62520 h 141567"/>
                    <a:gd name="connsiteX8" fmla="*/ 43817 w 87391"/>
                    <a:gd name="connsiteY8" fmla="*/ 0 h 141567"/>
                    <a:gd name="connsiteX9" fmla="*/ 7604 w 87391"/>
                    <a:gd name="connsiteY9" fmla="*/ 19132 h 141567"/>
                    <a:gd name="connsiteX10" fmla="*/ 3162 w 87391"/>
                    <a:gd name="connsiteY10" fmla="*/ 59787 h 141567"/>
                    <a:gd name="connsiteX11" fmla="*/ 22977 w 87391"/>
                    <a:gd name="connsiteY11" fmla="*/ 103516 h 141567"/>
                    <a:gd name="connsiteX12" fmla="*/ 40059 w 87391"/>
                    <a:gd name="connsiteY12" fmla="*/ 139388 h 141567"/>
                    <a:gd name="connsiteX13" fmla="*/ 45867 w 87391"/>
                    <a:gd name="connsiteY13" fmla="*/ 141096 h 141567"/>
                    <a:gd name="connsiteX14" fmla="*/ 47575 w 87391"/>
                    <a:gd name="connsiteY14" fmla="*/ 139388 h 141567"/>
                    <a:gd name="connsiteX15" fmla="*/ 64657 w 87391"/>
                    <a:gd name="connsiteY15" fmla="*/ 103516 h 141567"/>
                    <a:gd name="connsiteX16" fmla="*/ 84472 w 87391"/>
                    <a:gd name="connsiteY16" fmla="*/ 59787 h 141567"/>
                    <a:gd name="connsiteX17" fmla="*/ 80031 w 87391"/>
                    <a:gd name="connsiteY17" fmla="*/ 19132 h 141567"/>
                    <a:gd name="connsiteX18" fmla="*/ 43817 w 87391"/>
                    <a:gd name="connsiteY18" fmla="*/ 0 h 141567"/>
                    <a:gd name="connsiteX19" fmla="*/ 43817 w 87391"/>
                    <a:gd name="connsiteY19" fmla="*/ 0 h 14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7391" h="141567">
                      <a:moveTo>
                        <a:pt x="43817" y="62520"/>
                      </a:moveTo>
                      <a:cubicBezTo>
                        <a:pt x="33568" y="62520"/>
                        <a:pt x="25027" y="53979"/>
                        <a:pt x="25027" y="43730"/>
                      </a:cubicBezTo>
                      <a:cubicBezTo>
                        <a:pt x="25027" y="33480"/>
                        <a:pt x="33568" y="24940"/>
                        <a:pt x="43817" y="24940"/>
                      </a:cubicBezTo>
                      <a:cubicBezTo>
                        <a:pt x="54066" y="24940"/>
                        <a:pt x="62607" y="33480"/>
                        <a:pt x="62607" y="43730"/>
                      </a:cubicBezTo>
                      <a:cubicBezTo>
                        <a:pt x="62607" y="43730"/>
                        <a:pt x="62607" y="43730"/>
                        <a:pt x="62607" y="43730"/>
                      </a:cubicBezTo>
                      <a:cubicBezTo>
                        <a:pt x="62607" y="53979"/>
                        <a:pt x="54066" y="62520"/>
                        <a:pt x="43817" y="62520"/>
                      </a:cubicBezTo>
                      <a:cubicBezTo>
                        <a:pt x="43817" y="62520"/>
                        <a:pt x="43817" y="62520"/>
                        <a:pt x="43817" y="62520"/>
                      </a:cubicBezTo>
                      <a:lnTo>
                        <a:pt x="43817" y="62520"/>
                      </a:lnTo>
                      <a:close/>
                      <a:moveTo>
                        <a:pt x="43817" y="0"/>
                      </a:moveTo>
                      <a:cubicBezTo>
                        <a:pt x="29468" y="0"/>
                        <a:pt x="15803" y="7174"/>
                        <a:pt x="7604" y="19132"/>
                      </a:cubicBezTo>
                      <a:cubicBezTo>
                        <a:pt x="-596" y="31089"/>
                        <a:pt x="-2304" y="46463"/>
                        <a:pt x="3162" y="59787"/>
                      </a:cubicBezTo>
                      <a:lnTo>
                        <a:pt x="22977" y="103516"/>
                      </a:lnTo>
                      <a:lnTo>
                        <a:pt x="40059" y="139388"/>
                      </a:lnTo>
                      <a:cubicBezTo>
                        <a:pt x="41084" y="141438"/>
                        <a:pt x="43817" y="142121"/>
                        <a:pt x="45867" y="141096"/>
                      </a:cubicBezTo>
                      <a:cubicBezTo>
                        <a:pt x="46550" y="140755"/>
                        <a:pt x="47234" y="140071"/>
                        <a:pt x="47575" y="139388"/>
                      </a:cubicBezTo>
                      <a:lnTo>
                        <a:pt x="64657" y="103516"/>
                      </a:lnTo>
                      <a:lnTo>
                        <a:pt x="84472" y="59787"/>
                      </a:lnTo>
                      <a:cubicBezTo>
                        <a:pt x="89597" y="46463"/>
                        <a:pt x="87888" y="31089"/>
                        <a:pt x="80031" y="19132"/>
                      </a:cubicBezTo>
                      <a:cubicBezTo>
                        <a:pt x="71832" y="7174"/>
                        <a:pt x="58166" y="0"/>
                        <a:pt x="43817" y="0"/>
                      </a:cubicBezTo>
                      <a:lnTo>
                        <a:pt x="43817" y="0"/>
                      </a:lnTo>
                      <a:close/>
                    </a:path>
                  </a:pathLst>
                </a:custGeom>
                <a:solidFill>
                  <a:srgbClr val="EC6224"/>
                </a:solidFill>
                <a:ln w="3373" cap="flat">
                  <a:noFill/>
                  <a:prstDash val="solid"/>
                  <a:miter/>
                </a:ln>
              </p:spPr>
              <p:txBody>
                <a:bodyPr rtlCol="0" anchor="ctr"/>
                <a:lstStyle/>
                <a:p>
                  <a:endParaRPr lang="nl-NL" dirty="0"/>
                </a:p>
              </p:txBody>
            </p:sp>
            <p:sp>
              <p:nvSpPr>
                <p:cNvPr id="36" name="Freeform: Shape 35">
                  <a:extLst>
                    <a:ext uri="{FF2B5EF4-FFF2-40B4-BE49-F238E27FC236}">
                      <a16:creationId xmlns:a16="http://schemas.microsoft.com/office/drawing/2014/main" id="{45199F97-9956-45CE-83F5-E9A2106FF569}"/>
                    </a:ext>
                  </a:extLst>
                </p:cNvPr>
                <p:cNvSpPr/>
                <p:nvPr/>
              </p:nvSpPr>
              <p:spPr>
                <a:xfrm>
                  <a:off x="4637753" y="2973102"/>
                  <a:ext cx="20498" cy="20498"/>
                </a:xfrm>
                <a:custGeom>
                  <a:avLst/>
                  <a:gdLst>
                    <a:gd name="connsiteX0" fmla="*/ 20498 w 20498"/>
                    <a:gd name="connsiteY0" fmla="*/ 20498 h 20498"/>
                    <a:gd name="connsiteX1" fmla="*/ 11616 w 20498"/>
                    <a:gd name="connsiteY1" fmla="*/ 20498 h 20498"/>
                    <a:gd name="connsiteX2" fmla="*/ 0 w 20498"/>
                    <a:gd name="connsiteY2" fmla="*/ 20498 h 20498"/>
                    <a:gd name="connsiteX3" fmla="*/ 0 w 20498"/>
                    <a:gd name="connsiteY3" fmla="*/ 0 h 20498"/>
                    <a:gd name="connsiteX4" fmla="*/ 11616 w 20498"/>
                    <a:gd name="connsiteY4" fmla="*/ 0 h 20498"/>
                    <a:gd name="connsiteX5" fmla="*/ 20498 w 20498"/>
                    <a:gd name="connsiteY5" fmla="*/ 0 h 20498"/>
                    <a:gd name="connsiteX6" fmla="*/ 20498 w 20498"/>
                    <a:gd name="connsiteY6" fmla="*/ 20498 h 2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98" h="20498">
                      <a:moveTo>
                        <a:pt x="20498" y="20498"/>
                      </a:moveTo>
                      <a:lnTo>
                        <a:pt x="11616" y="20498"/>
                      </a:lnTo>
                      <a:cubicBezTo>
                        <a:pt x="7516" y="20498"/>
                        <a:pt x="3758" y="20498"/>
                        <a:pt x="0" y="20498"/>
                      </a:cubicBezTo>
                      <a:lnTo>
                        <a:pt x="0" y="0"/>
                      </a:lnTo>
                      <a:cubicBezTo>
                        <a:pt x="3416" y="0"/>
                        <a:pt x="7516" y="0"/>
                        <a:pt x="11616" y="0"/>
                      </a:cubicBezTo>
                      <a:lnTo>
                        <a:pt x="20498" y="0"/>
                      </a:lnTo>
                      <a:lnTo>
                        <a:pt x="20498" y="20498"/>
                      </a:lnTo>
                      <a:close/>
                    </a:path>
                  </a:pathLst>
                </a:custGeom>
                <a:solidFill>
                  <a:srgbClr val="000000"/>
                </a:solidFill>
                <a:ln w="3373" cap="flat">
                  <a:noFill/>
                  <a:prstDash val="solid"/>
                  <a:miter/>
                </a:ln>
              </p:spPr>
              <p:txBody>
                <a:bodyPr rtlCol="0" anchor="ctr"/>
                <a:lstStyle/>
                <a:p>
                  <a:endParaRPr lang="nl-NL" dirty="0"/>
                </a:p>
              </p:txBody>
            </p:sp>
            <p:sp>
              <p:nvSpPr>
                <p:cNvPr id="37" name="Freeform: Shape 36">
                  <a:extLst>
                    <a:ext uri="{FF2B5EF4-FFF2-40B4-BE49-F238E27FC236}">
                      <a16:creationId xmlns:a16="http://schemas.microsoft.com/office/drawing/2014/main" id="{E7131C06-AB85-42F1-9F52-461AE6CF1CCE}"/>
                    </a:ext>
                  </a:extLst>
                </p:cNvPr>
                <p:cNvSpPr/>
                <p:nvPr/>
              </p:nvSpPr>
              <p:spPr>
                <a:xfrm>
                  <a:off x="4672259" y="2972760"/>
                  <a:ext cx="20839" cy="20839"/>
                </a:xfrm>
                <a:custGeom>
                  <a:avLst/>
                  <a:gdLst>
                    <a:gd name="connsiteX0" fmla="*/ 0 w 20839"/>
                    <a:gd name="connsiteY0" fmla="*/ 20840 h 20839"/>
                    <a:gd name="connsiteX1" fmla="*/ 0 w 20839"/>
                    <a:gd name="connsiteY1" fmla="*/ 342 h 20839"/>
                    <a:gd name="connsiteX2" fmla="*/ 20157 w 20839"/>
                    <a:gd name="connsiteY2" fmla="*/ 0 h 20839"/>
                    <a:gd name="connsiteX3" fmla="*/ 20840 w 20839"/>
                    <a:gd name="connsiteY3" fmla="*/ 20498 h 20839"/>
                    <a:gd name="connsiteX4" fmla="*/ 0 w 20839"/>
                    <a:gd name="connsiteY4" fmla="*/ 20840 h 20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39" h="20839">
                      <a:moveTo>
                        <a:pt x="0" y="20840"/>
                      </a:moveTo>
                      <a:lnTo>
                        <a:pt x="0" y="342"/>
                      </a:lnTo>
                      <a:cubicBezTo>
                        <a:pt x="7516" y="342"/>
                        <a:pt x="14007" y="342"/>
                        <a:pt x="20157" y="0"/>
                      </a:cubicBezTo>
                      <a:lnTo>
                        <a:pt x="20840" y="20498"/>
                      </a:lnTo>
                      <a:cubicBezTo>
                        <a:pt x="14349" y="20840"/>
                        <a:pt x="7516" y="20840"/>
                        <a:pt x="0" y="20840"/>
                      </a:cubicBezTo>
                      <a:close/>
                    </a:path>
                  </a:pathLst>
                </a:custGeom>
                <a:solidFill>
                  <a:srgbClr val="000000"/>
                </a:solidFill>
                <a:ln w="3373" cap="flat">
                  <a:noFill/>
                  <a:prstDash val="solid"/>
                  <a:miter/>
                </a:ln>
              </p:spPr>
              <p:txBody>
                <a:bodyPr rtlCol="0" anchor="ctr"/>
                <a:lstStyle/>
                <a:p>
                  <a:endParaRPr lang="nl-NL" dirty="0"/>
                </a:p>
              </p:txBody>
            </p:sp>
            <p:sp>
              <p:nvSpPr>
                <p:cNvPr id="38" name="Freeform: Shape 37">
                  <a:extLst>
                    <a:ext uri="{FF2B5EF4-FFF2-40B4-BE49-F238E27FC236}">
                      <a16:creationId xmlns:a16="http://schemas.microsoft.com/office/drawing/2014/main" id="{444C098D-4BA2-410C-A3DA-E2E39A266968}"/>
                    </a:ext>
                  </a:extLst>
                </p:cNvPr>
                <p:cNvSpPr/>
                <p:nvPr/>
              </p:nvSpPr>
              <p:spPr>
                <a:xfrm>
                  <a:off x="4705739" y="2970711"/>
                  <a:ext cx="21864" cy="21864"/>
                </a:xfrm>
                <a:custGeom>
                  <a:avLst/>
                  <a:gdLst>
                    <a:gd name="connsiteX0" fmla="*/ 1025 w 21864"/>
                    <a:gd name="connsiteY0" fmla="*/ 21865 h 21864"/>
                    <a:gd name="connsiteX1" fmla="*/ 0 w 21864"/>
                    <a:gd name="connsiteY1" fmla="*/ 1367 h 21864"/>
                    <a:gd name="connsiteX2" fmla="*/ 19815 w 21864"/>
                    <a:gd name="connsiteY2" fmla="*/ 0 h 21864"/>
                    <a:gd name="connsiteX3" fmla="*/ 21865 w 21864"/>
                    <a:gd name="connsiteY3" fmla="*/ 20498 h 21864"/>
                    <a:gd name="connsiteX4" fmla="*/ 1025 w 21864"/>
                    <a:gd name="connsiteY4" fmla="*/ 21865 h 21864"/>
                    <a:gd name="connsiteX5" fmla="*/ 1025 w 21864"/>
                    <a:gd name="connsiteY5" fmla="*/ 21865 h 2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864" h="21864">
                      <a:moveTo>
                        <a:pt x="1025" y="21865"/>
                      </a:moveTo>
                      <a:lnTo>
                        <a:pt x="0" y="1367"/>
                      </a:lnTo>
                      <a:cubicBezTo>
                        <a:pt x="7174" y="1025"/>
                        <a:pt x="14007" y="683"/>
                        <a:pt x="19815" y="0"/>
                      </a:cubicBezTo>
                      <a:lnTo>
                        <a:pt x="21865" y="20498"/>
                      </a:lnTo>
                      <a:cubicBezTo>
                        <a:pt x="15715" y="21182"/>
                        <a:pt x="8541" y="21523"/>
                        <a:pt x="1025" y="21865"/>
                      </a:cubicBezTo>
                      <a:lnTo>
                        <a:pt x="1025" y="21865"/>
                      </a:lnTo>
                      <a:close/>
                    </a:path>
                  </a:pathLst>
                </a:custGeom>
                <a:solidFill>
                  <a:srgbClr val="000000"/>
                </a:solidFill>
                <a:ln w="3373" cap="flat">
                  <a:noFill/>
                  <a:prstDash val="solid"/>
                  <a:miter/>
                </a:ln>
              </p:spPr>
              <p:txBody>
                <a:bodyPr rtlCol="0" anchor="ctr"/>
                <a:lstStyle/>
                <a:p>
                  <a:endParaRPr lang="nl-NL" dirty="0"/>
                </a:p>
              </p:txBody>
            </p:sp>
            <p:sp>
              <p:nvSpPr>
                <p:cNvPr id="39" name="Freeform: Shape 38">
                  <a:extLst>
                    <a:ext uri="{FF2B5EF4-FFF2-40B4-BE49-F238E27FC236}">
                      <a16:creationId xmlns:a16="http://schemas.microsoft.com/office/drawing/2014/main" id="{BD1384D5-0A65-4213-8723-5BCE5F4CF18C}"/>
                    </a:ext>
                  </a:extLst>
                </p:cNvPr>
                <p:cNvSpPr/>
                <p:nvPr/>
              </p:nvSpPr>
              <p:spPr>
                <a:xfrm>
                  <a:off x="4738878" y="2965586"/>
                  <a:ext cx="24256" cy="23914"/>
                </a:xfrm>
                <a:custGeom>
                  <a:avLst/>
                  <a:gdLst>
                    <a:gd name="connsiteX0" fmla="*/ 3075 w 24256"/>
                    <a:gd name="connsiteY0" fmla="*/ 23915 h 23914"/>
                    <a:gd name="connsiteX1" fmla="*/ 0 w 24256"/>
                    <a:gd name="connsiteY1" fmla="*/ 3758 h 23914"/>
                    <a:gd name="connsiteX2" fmla="*/ 18790 w 24256"/>
                    <a:gd name="connsiteY2" fmla="*/ 0 h 23914"/>
                    <a:gd name="connsiteX3" fmla="*/ 24256 w 24256"/>
                    <a:gd name="connsiteY3" fmla="*/ 19815 h 23914"/>
                    <a:gd name="connsiteX4" fmla="*/ 3075 w 24256"/>
                    <a:gd name="connsiteY4" fmla="*/ 23915 h 23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6" h="23914">
                      <a:moveTo>
                        <a:pt x="3075" y="23915"/>
                      </a:moveTo>
                      <a:lnTo>
                        <a:pt x="0" y="3758"/>
                      </a:lnTo>
                      <a:cubicBezTo>
                        <a:pt x="6491" y="2733"/>
                        <a:pt x="12641" y="1708"/>
                        <a:pt x="18790" y="0"/>
                      </a:cubicBezTo>
                      <a:lnTo>
                        <a:pt x="24256" y="19815"/>
                      </a:lnTo>
                      <a:cubicBezTo>
                        <a:pt x="17082" y="21523"/>
                        <a:pt x="10249" y="22890"/>
                        <a:pt x="3075" y="23915"/>
                      </a:cubicBezTo>
                      <a:close/>
                    </a:path>
                  </a:pathLst>
                </a:custGeom>
                <a:solidFill>
                  <a:srgbClr val="000000"/>
                </a:solidFill>
                <a:ln w="3373" cap="flat">
                  <a:noFill/>
                  <a:prstDash val="solid"/>
                  <a:miter/>
                </a:ln>
              </p:spPr>
              <p:txBody>
                <a:bodyPr rtlCol="0" anchor="ctr"/>
                <a:lstStyle/>
                <a:p>
                  <a:endParaRPr lang="nl-NL" dirty="0"/>
                </a:p>
              </p:txBody>
            </p:sp>
            <p:sp>
              <p:nvSpPr>
                <p:cNvPr id="40" name="Freeform: Shape 39">
                  <a:extLst>
                    <a:ext uri="{FF2B5EF4-FFF2-40B4-BE49-F238E27FC236}">
                      <a16:creationId xmlns:a16="http://schemas.microsoft.com/office/drawing/2014/main" id="{D94D428F-69C0-4550-B553-AE15AA76143E}"/>
                    </a:ext>
                  </a:extLst>
                </p:cNvPr>
                <p:cNvSpPr/>
                <p:nvPr/>
              </p:nvSpPr>
              <p:spPr>
                <a:xfrm>
                  <a:off x="4769284" y="2953287"/>
                  <a:ext cx="29039" cy="26989"/>
                </a:xfrm>
                <a:custGeom>
                  <a:avLst/>
                  <a:gdLst>
                    <a:gd name="connsiteX0" fmla="*/ 8199 w 29039"/>
                    <a:gd name="connsiteY0" fmla="*/ 26989 h 26989"/>
                    <a:gd name="connsiteX1" fmla="*/ 0 w 29039"/>
                    <a:gd name="connsiteY1" fmla="*/ 8199 h 26989"/>
                    <a:gd name="connsiteX2" fmla="*/ 10932 w 29039"/>
                    <a:gd name="connsiteY2" fmla="*/ 0 h 26989"/>
                    <a:gd name="connsiteX3" fmla="*/ 29039 w 29039"/>
                    <a:gd name="connsiteY3" fmla="*/ 9907 h 26989"/>
                    <a:gd name="connsiteX4" fmla="*/ 8199 w 29039"/>
                    <a:gd name="connsiteY4" fmla="*/ 26989 h 26989"/>
                    <a:gd name="connsiteX5" fmla="*/ 8199 w 29039"/>
                    <a:gd name="connsiteY5" fmla="*/ 26989 h 2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39" h="26989">
                      <a:moveTo>
                        <a:pt x="8199" y="26989"/>
                      </a:moveTo>
                      <a:lnTo>
                        <a:pt x="0" y="8199"/>
                      </a:lnTo>
                      <a:cubicBezTo>
                        <a:pt x="4441" y="6833"/>
                        <a:pt x="8199" y="3758"/>
                        <a:pt x="10932" y="0"/>
                      </a:cubicBezTo>
                      <a:lnTo>
                        <a:pt x="29039" y="9907"/>
                      </a:lnTo>
                      <a:cubicBezTo>
                        <a:pt x="23915" y="17765"/>
                        <a:pt x="16740" y="23573"/>
                        <a:pt x="8199" y="26989"/>
                      </a:cubicBezTo>
                      <a:lnTo>
                        <a:pt x="8199" y="26989"/>
                      </a:lnTo>
                      <a:close/>
                    </a:path>
                  </a:pathLst>
                </a:custGeom>
                <a:solidFill>
                  <a:srgbClr val="000000"/>
                </a:solidFill>
                <a:ln w="3373" cap="flat">
                  <a:noFill/>
                  <a:prstDash val="solid"/>
                  <a:miter/>
                </a:ln>
              </p:spPr>
              <p:txBody>
                <a:bodyPr rtlCol="0" anchor="ctr"/>
                <a:lstStyle/>
                <a:p>
                  <a:endParaRPr lang="nl-NL" dirty="0"/>
                </a:p>
              </p:txBody>
            </p:sp>
            <p:sp>
              <p:nvSpPr>
                <p:cNvPr id="41" name="Freeform: Shape 40">
                  <a:extLst>
                    <a:ext uri="{FF2B5EF4-FFF2-40B4-BE49-F238E27FC236}">
                      <a16:creationId xmlns:a16="http://schemas.microsoft.com/office/drawing/2014/main" id="{29953D0C-9EDC-4B55-A520-DEBDC567EF7E}"/>
                    </a:ext>
                  </a:extLst>
                </p:cNvPr>
                <p:cNvSpPr/>
                <p:nvPr/>
              </p:nvSpPr>
              <p:spPr>
                <a:xfrm>
                  <a:off x="4774750" y="2920148"/>
                  <a:ext cx="25964" cy="26306"/>
                </a:xfrm>
                <a:custGeom>
                  <a:avLst/>
                  <a:gdLst>
                    <a:gd name="connsiteX0" fmla="*/ 5808 w 25964"/>
                    <a:gd name="connsiteY0" fmla="*/ 26306 h 26306"/>
                    <a:gd name="connsiteX1" fmla="*/ 0 w 25964"/>
                    <a:gd name="connsiteY1" fmla="*/ 14349 h 26306"/>
                    <a:gd name="connsiteX2" fmla="*/ 14349 w 25964"/>
                    <a:gd name="connsiteY2" fmla="*/ 0 h 26306"/>
                    <a:gd name="connsiteX3" fmla="*/ 25964 w 25964"/>
                    <a:gd name="connsiteY3" fmla="*/ 23915 h 26306"/>
                    <a:gd name="connsiteX4" fmla="*/ 5808 w 25964"/>
                    <a:gd name="connsiteY4" fmla="*/ 26306 h 26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64" h="26306">
                      <a:moveTo>
                        <a:pt x="5808" y="26306"/>
                      </a:moveTo>
                      <a:cubicBezTo>
                        <a:pt x="5125" y="21865"/>
                        <a:pt x="3075" y="17424"/>
                        <a:pt x="0" y="14349"/>
                      </a:cubicBezTo>
                      <a:lnTo>
                        <a:pt x="14349" y="0"/>
                      </a:lnTo>
                      <a:cubicBezTo>
                        <a:pt x="20840" y="6491"/>
                        <a:pt x="24940" y="14690"/>
                        <a:pt x="25964" y="23915"/>
                      </a:cubicBezTo>
                      <a:lnTo>
                        <a:pt x="5808" y="26306"/>
                      </a:lnTo>
                      <a:close/>
                    </a:path>
                  </a:pathLst>
                </a:custGeom>
                <a:solidFill>
                  <a:srgbClr val="000000"/>
                </a:solidFill>
                <a:ln w="3373" cap="flat">
                  <a:noFill/>
                  <a:prstDash val="solid"/>
                  <a:miter/>
                </a:ln>
              </p:spPr>
              <p:txBody>
                <a:bodyPr rtlCol="0" anchor="ctr"/>
                <a:lstStyle/>
                <a:p>
                  <a:endParaRPr lang="nl-NL" dirty="0"/>
                </a:p>
              </p:txBody>
            </p:sp>
            <p:sp>
              <p:nvSpPr>
                <p:cNvPr id="42" name="Freeform: Shape 41">
                  <a:extLst>
                    <a:ext uri="{FF2B5EF4-FFF2-40B4-BE49-F238E27FC236}">
                      <a16:creationId xmlns:a16="http://schemas.microsoft.com/office/drawing/2014/main" id="{9C6E147F-1E93-4840-AFF2-774D05E33101}"/>
                    </a:ext>
                  </a:extLst>
                </p:cNvPr>
                <p:cNvSpPr/>
                <p:nvPr/>
              </p:nvSpPr>
              <p:spPr>
                <a:xfrm>
                  <a:off x="4749127" y="2902042"/>
                  <a:ext cx="26647" cy="26306"/>
                </a:xfrm>
                <a:custGeom>
                  <a:avLst/>
                  <a:gdLst>
                    <a:gd name="connsiteX0" fmla="*/ 17082 w 26647"/>
                    <a:gd name="connsiteY0" fmla="*/ 26306 h 26306"/>
                    <a:gd name="connsiteX1" fmla="*/ 0 w 26647"/>
                    <a:gd name="connsiteY1" fmla="*/ 19473 h 26306"/>
                    <a:gd name="connsiteX2" fmla="*/ 5808 w 26647"/>
                    <a:gd name="connsiteY2" fmla="*/ 0 h 26306"/>
                    <a:gd name="connsiteX3" fmla="*/ 26648 w 26647"/>
                    <a:gd name="connsiteY3" fmla="*/ 8199 h 26306"/>
                    <a:gd name="connsiteX4" fmla="*/ 17082 w 26647"/>
                    <a:gd name="connsiteY4" fmla="*/ 26306 h 26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7" h="26306">
                      <a:moveTo>
                        <a:pt x="17082" y="26306"/>
                      </a:moveTo>
                      <a:cubicBezTo>
                        <a:pt x="11616" y="23573"/>
                        <a:pt x="5808" y="21182"/>
                        <a:pt x="0" y="19473"/>
                      </a:cubicBezTo>
                      <a:lnTo>
                        <a:pt x="5808" y="0"/>
                      </a:lnTo>
                      <a:cubicBezTo>
                        <a:pt x="12982" y="2050"/>
                        <a:pt x="20157" y="4783"/>
                        <a:pt x="26648" y="8199"/>
                      </a:cubicBezTo>
                      <a:lnTo>
                        <a:pt x="17082" y="26306"/>
                      </a:lnTo>
                      <a:close/>
                    </a:path>
                  </a:pathLst>
                </a:custGeom>
                <a:solidFill>
                  <a:srgbClr val="000000"/>
                </a:solidFill>
                <a:ln w="3373" cap="flat">
                  <a:noFill/>
                  <a:prstDash val="solid"/>
                  <a:miter/>
                </a:ln>
              </p:spPr>
              <p:txBody>
                <a:bodyPr rtlCol="0" anchor="ctr"/>
                <a:lstStyle/>
                <a:p>
                  <a:endParaRPr lang="nl-NL" dirty="0"/>
                </a:p>
              </p:txBody>
            </p:sp>
            <p:sp>
              <p:nvSpPr>
                <p:cNvPr id="43" name="Freeform: Shape 42">
                  <a:extLst>
                    <a:ext uri="{FF2B5EF4-FFF2-40B4-BE49-F238E27FC236}">
                      <a16:creationId xmlns:a16="http://schemas.microsoft.com/office/drawing/2014/main" id="{309BFB11-2B66-4D90-8664-31A4B2501553}"/>
                    </a:ext>
                  </a:extLst>
                </p:cNvPr>
                <p:cNvSpPr/>
                <p:nvPr/>
              </p:nvSpPr>
              <p:spPr>
                <a:xfrm>
                  <a:off x="4715988" y="2893159"/>
                  <a:ext cx="24939" cy="24939"/>
                </a:xfrm>
                <a:custGeom>
                  <a:avLst/>
                  <a:gdLst>
                    <a:gd name="connsiteX0" fmla="*/ 20157 w 24939"/>
                    <a:gd name="connsiteY0" fmla="*/ 24940 h 24939"/>
                    <a:gd name="connsiteX1" fmla="*/ 14690 w 24939"/>
                    <a:gd name="connsiteY1" fmla="*/ 23573 h 24939"/>
                    <a:gd name="connsiteX2" fmla="*/ 0 w 24939"/>
                    <a:gd name="connsiteY2" fmla="*/ 19815 h 24939"/>
                    <a:gd name="connsiteX3" fmla="*/ 5466 w 24939"/>
                    <a:gd name="connsiteY3" fmla="*/ 0 h 24939"/>
                    <a:gd name="connsiteX4" fmla="*/ 19473 w 24939"/>
                    <a:gd name="connsiteY4" fmla="*/ 3758 h 24939"/>
                    <a:gd name="connsiteX5" fmla="*/ 24940 w 24939"/>
                    <a:gd name="connsiteY5" fmla="*/ 5125 h 24939"/>
                    <a:gd name="connsiteX6" fmla="*/ 20157 w 24939"/>
                    <a:gd name="connsiteY6" fmla="*/ 24940 h 2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39" h="24939">
                      <a:moveTo>
                        <a:pt x="20157" y="24940"/>
                      </a:moveTo>
                      <a:lnTo>
                        <a:pt x="14690" y="23573"/>
                      </a:lnTo>
                      <a:cubicBezTo>
                        <a:pt x="9907" y="22206"/>
                        <a:pt x="4783" y="21182"/>
                        <a:pt x="0" y="19815"/>
                      </a:cubicBezTo>
                      <a:lnTo>
                        <a:pt x="5466" y="0"/>
                      </a:lnTo>
                      <a:cubicBezTo>
                        <a:pt x="9907" y="1367"/>
                        <a:pt x="14690" y="2391"/>
                        <a:pt x="19473" y="3758"/>
                      </a:cubicBezTo>
                      <a:lnTo>
                        <a:pt x="24940" y="5125"/>
                      </a:lnTo>
                      <a:lnTo>
                        <a:pt x="20157" y="24940"/>
                      </a:lnTo>
                      <a:close/>
                    </a:path>
                  </a:pathLst>
                </a:custGeom>
                <a:solidFill>
                  <a:srgbClr val="000000"/>
                </a:solidFill>
                <a:ln w="3373" cap="flat">
                  <a:noFill/>
                  <a:prstDash val="solid"/>
                  <a:miter/>
                </a:ln>
              </p:spPr>
              <p:txBody>
                <a:bodyPr rtlCol="0" anchor="ctr"/>
                <a:lstStyle/>
                <a:p>
                  <a:endParaRPr lang="nl-NL" dirty="0"/>
                </a:p>
              </p:txBody>
            </p:sp>
            <p:sp>
              <p:nvSpPr>
                <p:cNvPr id="44" name="Freeform: Shape 43">
                  <a:extLst>
                    <a:ext uri="{FF2B5EF4-FFF2-40B4-BE49-F238E27FC236}">
                      <a16:creationId xmlns:a16="http://schemas.microsoft.com/office/drawing/2014/main" id="{56985579-2FEC-4AEF-AE1D-33CA88838489}"/>
                    </a:ext>
                  </a:extLst>
                </p:cNvPr>
                <p:cNvSpPr/>
                <p:nvPr/>
              </p:nvSpPr>
              <p:spPr>
                <a:xfrm>
                  <a:off x="4680800" y="2881543"/>
                  <a:ext cx="28697" cy="26647"/>
                </a:xfrm>
                <a:custGeom>
                  <a:avLst/>
                  <a:gdLst>
                    <a:gd name="connsiteX0" fmla="*/ 21182 w 28697"/>
                    <a:gd name="connsiteY0" fmla="*/ 26648 h 26647"/>
                    <a:gd name="connsiteX1" fmla="*/ 0 w 28697"/>
                    <a:gd name="connsiteY1" fmla="*/ 11616 h 26647"/>
                    <a:gd name="connsiteX2" fmla="*/ 16740 w 28697"/>
                    <a:gd name="connsiteY2" fmla="*/ 0 h 26647"/>
                    <a:gd name="connsiteX3" fmla="*/ 28698 w 28697"/>
                    <a:gd name="connsiteY3" fmla="*/ 7858 h 26647"/>
                    <a:gd name="connsiteX4" fmla="*/ 21182 w 28697"/>
                    <a:gd name="connsiteY4" fmla="*/ 26648 h 2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7" h="26647">
                      <a:moveTo>
                        <a:pt x="21182" y="26648"/>
                      </a:moveTo>
                      <a:cubicBezTo>
                        <a:pt x="12982" y="23573"/>
                        <a:pt x="5466" y="18448"/>
                        <a:pt x="0" y="11616"/>
                      </a:cubicBezTo>
                      <a:lnTo>
                        <a:pt x="16740" y="0"/>
                      </a:lnTo>
                      <a:cubicBezTo>
                        <a:pt x="19815" y="3758"/>
                        <a:pt x="24256" y="6491"/>
                        <a:pt x="28698" y="7858"/>
                      </a:cubicBezTo>
                      <a:lnTo>
                        <a:pt x="21182" y="26648"/>
                      </a:lnTo>
                      <a:close/>
                    </a:path>
                  </a:pathLst>
                </a:custGeom>
                <a:solidFill>
                  <a:srgbClr val="000000"/>
                </a:solidFill>
                <a:ln w="3373" cap="flat">
                  <a:noFill/>
                  <a:prstDash val="solid"/>
                  <a:miter/>
                </a:ln>
              </p:spPr>
              <p:txBody>
                <a:bodyPr rtlCol="0" anchor="ctr"/>
                <a:lstStyle/>
                <a:p>
                  <a:endParaRPr lang="nl-NL" dirty="0"/>
                </a:p>
              </p:txBody>
            </p:sp>
            <p:sp>
              <p:nvSpPr>
                <p:cNvPr id="45" name="Freeform: Shape 44">
                  <a:extLst>
                    <a:ext uri="{FF2B5EF4-FFF2-40B4-BE49-F238E27FC236}">
                      <a16:creationId xmlns:a16="http://schemas.microsoft.com/office/drawing/2014/main" id="{55317E63-B57B-4507-8B5D-19756D9BB0EE}"/>
                    </a:ext>
                  </a:extLst>
                </p:cNvPr>
                <p:cNvSpPr/>
                <p:nvPr/>
              </p:nvSpPr>
              <p:spPr>
                <a:xfrm>
                  <a:off x="4675675" y="2848746"/>
                  <a:ext cx="26647" cy="25964"/>
                </a:xfrm>
                <a:custGeom>
                  <a:avLst/>
                  <a:gdLst>
                    <a:gd name="connsiteX0" fmla="*/ 20498 w 26647"/>
                    <a:gd name="connsiteY0" fmla="*/ 25964 h 25964"/>
                    <a:gd name="connsiteX1" fmla="*/ 0 w 26647"/>
                    <a:gd name="connsiteY1" fmla="*/ 24598 h 25964"/>
                    <a:gd name="connsiteX2" fmla="*/ 14007 w 26647"/>
                    <a:gd name="connsiteY2" fmla="*/ 0 h 25964"/>
                    <a:gd name="connsiteX3" fmla="*/ 26648 w 26647"/>
                    <a:gd name="connsiteY3" fmla="*/ 16057 h 25964"/>
                    <a:gd name="connsiteX4" fmla="*/ 20498 w 26647"/>
                    <a:gd name="connsiteY4" fmla="*/ 25964 h 25964"/>
                    <a:gd name="connsiteX5" fmla="*/ 20498 w 26647"/>
                    <a:gd name="connsiteY5" fmla="*/ 25964 h 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47" h="25964">
                      <a:moveTo>
                        <a:pt x="20498" y="25964"/>
                      </a:moveTo>
                      <a:lnTo>
                        <a:pt x="0" y="24598"/>
                      </a:lnTo>
                      <a:cubicBezTo>
                        <a:pt x="683" y="14690"/>
                        <a:pt x="6149" y="5808"/>
                        <a:pt x="14007" y="0"/>
                      </a:cubicBezTo>
                      <a:lnTo>
                        <a:pt x="26648" y="16057"/>
                      </a:lnTo>
                      <a:cubicBezTo>
                        <a:pt x="20498" y="21182"/>
                        <a:pt x="20498" y="24940"/>
                        <a:pt x="20498" y="25964"/>
                      </a:cubicBezTo>
                      <a:lnTo>
                        <a:pt x="20498" y="25964"/>
                      </a:lnTo>
                      <a:close/>
                    </a:path>
                  </a:pathLst>
                </a:custGeom>
                <a:solidFill>
                  <a:srgbClr val="000000"/>
                </a:solidFill>
                <a:ln w="3373" cap="flat">
                  <a:noFill/>
                  <a:prstDash val="solid"/>
                  <a:miter/>
                </a:ln>
              </p:spPr>
              <p:txBody>
                <a:bodyPr rtlCol="0" anchor="ctr"/>
                <a:lstStyle/>
                <a:p>
                  <a:endParaRPr lang="nl-NL" dirty="0"/>
                </a:p>
              </p:txBody>
            </p:sp>
            <p:sp>
              <p:nvSpPr>
                <p:cNvPr id="46" name="Freeform: Shape 45">
                  <a:extLst>
                    <a:ext uri="{FF2B5EF4-FFF2-40B4-BE49-F238E27FC236}">
                      <a16:creationId xmlns:a16="http://schemas.microsoft.com/office/drawing/2014/main" id="{60D317E4-A18B-4063-A8C0-B474303D7198}"/>
                    </a:ext>
                  </a:extLst>
                </p:cNvPr>
                <p:cNvSpPr/>
                <p:nvPr/>
              </p:nvSpPr>
              <p:spPr>
                <a:xfrm>
                  <a:off x="4703689" y="2833714"/>
                  <a:ext cx="25964" cy="25964"/>
                </a:xfrm>
                <a:custGeom>
                  <a:avLst/>
                  <a:gdLst>
                    <a:gd name="connsiteX0" fmla="*/ 8199 w 25964"/>
                    <a:gd name="connsiteY0" fmla="*/ 25964 h 25964"/>
                    <a:gd name="connsiteX1" fmla="*/ 0 w 25964"/>
                    <a:gd name="connsiteY1" fmla="*/ 7174 h 25964"/>
                    <a:gd name="connsiteX2" fmla="*/ 21182 w 25964"/>
                    <a:gd name="connsiteY2" fmla="*/ 0 h 25964"/>
                    <a:gd name="connsiteX3" fmla="*/ 25964 w 25964"/>
                    <a:gd name="connsiteY3" fmla="*/ 19815 h 25964"/>
                    <a:gd name="connsiteX4" fmla="*/ 8199 w 25964"/>
                    <a:gd name="connsiteY4" fmla="*/ 25964 h 25964"/>
                    <a:gd name="connsiteX5" fmla="*/ 8199 w 25964"/>
                    <a:gd name="connsiteY5" fmla="*/ 25964 h 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4" h="25964">
                      <a:moveTo>
                        <a:pt x="8199" y="25964"/>
                      </a:moveTo>
                      <a:lnTo>
                        <a:pt x="0" y="7174"/>
                      </a:lnTo>
                      <a:cubicBezTo>
                        <a:pt x="6833" y="4100"/>
                        <a:pt x="14007" y="1708"/>
                        <a:pt x="21182" y="0"/>
                      </a:cubicBezTo>
                      <a:lnTo>
                        <a:pt x="25964" y="19815"/>
                      </a:lnTo>
                      <a:cubicBezTo>
                        <a:pt x="19815" y="21523"/>
                        <a:pt x="14007" y="23573"/>
                        <a:pt x="8199" y="25964"/>
                      </a:cubicBezTo>
                      <a:lnTo>
                        <a:pt x="8199" y="25964"/>
                      </a:lnTo>
                      <a:close/>
                    </a:path>
                  </a:pathLst>
                </a:custGeom>
                <a:solidFill>
                  <a:srgbClr val="000000"/>
                </a:solidFill>
                <a:ln w="3373" cap="flat">
                  <a:noFill/>
                  <a:prstDash val="solid"/>
                  <a:miter/>
                </a:ln>
              </p:spPr>
              <p:txBody>
                <a:bodyPr rtlCol="0" anchor="ctr"/>
                <a:lstStyle/>
                <a:p>
                  <a:endParaRPr lang="nl-NL" dirty="0"/>
                </a:p>
              </p:txBody>
            </p:sp>
            <p:sp>
              <p:nvSpPr>
                <p:cNvPr id="49" name="Freeform: Shape 48">
                  <a:extLst>
                    <a:ext uri="{FF2B5EF4-FFF2-40B4-BE49-F238E27FC236}">
                      <a16:creationId xmlns:a16="http://schemas.microsoft.com/office/drawing/2014/main" id="{3CADE232-8188-46D7-A5B7-44790232A467}"/>
                    </a:ext>
                  </a:extLst>
                </p:cNvPr>
                <p:cNvSpPr/>
                <p:nvPr/>
              </p:nvSpPr>
              <p:spPr>
                <a:xfrm>
                  <a:off x="4738878" y="2828248"/>
                  <a:ext cx="22889" cy="22889"/>
                </a:xfrm>
                <a:custGeom>
                  <a:avLst/>
                  <a:gdLst>
                    <a:gd name="connsiteX0" fmla="*/ 3416 w 22889"/>
                    <a:gd name="connsiteY0" fmla="*/ 22890 h 22889"/>
                    <a:gd name="connsiteX1" fmla="*/ 0 w 22889"/>
                    <a:gd name="connsiteY1" fmla="*/ 2733 h 22889"/>
                    <a:gd name="connsiteX2" fmla="*/ 21182 w 22889"/>
                    <a:gd name="connsiteY2" fmla="*/ 0 h 22889"/>
                    <a:gd name="connsiteX3" fmla="*/ 22890 w 22889"/>
                    <a:gd name="connsiteY3" fmla="*/ 20498 h 22889"/>
                    <a:gd name="connsiteX4" fmla="*/ 3416 w 22889"/>
                    <a:gd name="connsiteY4" fmla="*/ 22890 h 22889"/>
                    <a:gd name="connsiteX5" fmla="*/ 3416 w 22889"/>
                    <a:gd name="connsiteY5" fmla="*/ 22890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89" h="22889">
                      <a:moveTo>
                        <a:pt x="3416" y="22890"/>
                      </a:moveTo>
                      <a:lnTo>
                        <a:pt x="0" y="2733"/>
                      </a:lnTo>
                      <a:cubicBezTo>
                        <a:pt x="8883" y="1367"/>
                        <a:pt x="16399" y="342"/>
                        <a:pt x="21182" y="0"/>
                      </a:cubicBezTo>
                      <a:lnTo>
                        <a:pt x="22890" y="20498"/>
                      </a:lnTo>
                      <a:cubicBezTo>
                        <a:pt x="19473" y="20840"/>
                        <a:pt x="11957" y="21523"/>
                        <a:pt x="3416" y="22890"/>
                      </a:cubicBezTo>
                      <a:lnTo>
                        <a:pt x="3416" y="22890"/>
                      </a:lnTo>
                      <a:close/>
                    </a:path>
                  </a:pathLst>
                </a:custGeom>
                <a:solidFill>
                  <a:srgbClr val="000000"/>
                </a:solidFill>
                <a:ln w="3373" cap="flat">
                  <a:noFill/>
                  <a:prstDash val="solid"/>
                  <a:miter/>
                </a:ln>
              </p:spPr>
              <p:txBody>
                <a:bodyPr rtlCol="0" anchor="ctr"/>
                <a:lstStyle/>
                <a:p>
                  <a:endParaRPr lang="nl-NL" dirty="0"/>
                </a:p>
              </p:txBody>
            </p:sp>
          </p:grpSp>
          <p:grpSp>
            <p:nvGrpSpPr>
              <p:cNvPr id="22" name="Group 21">
                <a:extLst>
                  <a:ext uri="{FF2B5EF4-FFF2-40B4-BE49-F238E27FC236}">
                    <a16:creationId xmlns:a16="http://schemas.microsoft.com/office/drawing/2014/main" id="{E524469E-22C5-4B90-AE96-7CC6DF21E939}"/>
                  </a:ext>
                </a:extLst>
              </p:cNvPr>
              <p:cNvGrpSpPr/>
              <p:nvPr/>
            </p:nvGrpSpPr>
            <p:grpSpPr>
              <a:xfrm>
                <a:off x="3673530" y="3432772"/>
                <a:ext cx="1053278" cy="1150228"/>
                <a:chOff x="3673530" y="3432772"/>
                <a:chExt cx="1053278" cy="1150228"/>
              </a:xfrm>
            </p:grpSpPr>
            <p:pic>
              <p:nvPicPr>
                <p:cNvPr id="31" name="Graphic 30" descr="Smart Phone outline">
                  <a:extLst>
                    <a:ext uri="{FF2B5EF4-FFF2-40B4-BE49-F238E27FC236}">
                      <a16:creationId xmlns:a16="http://schemas.microsoft.com/office/drawing/2014/main" id="{DBC82A67-DC14-46CC-97A0-0DDC8B3850B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812408" y="3432772"/>
                  <a:ext cx="914400" cy="914400"/>
                </a:xfrm>
                <a:prstGeom prst="rect">
                  <a:avLst/>
                </a:prstGeom>
              </p:spPr>
            </p:pic>
            <p:pic>
              <p:nvPicPr>
                <p:cNvPr id="23" name="Graphic 22" descr="Right pointing backhand index with solid fill">
                  <a:extLst>
                    <a:ext uri="{FF2B5EF4-FFF2-40B4-BE49-F238E27FC236}">
                      <a16:creationId xmlns:a16="http://schemas.microsoft.com/office/drawing/2014/main" id="{F21FC656-2244-417E-BCDC-30587A6EFF6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rot="19357473">
                  <a:off x="3673530" y="3920600"/>
                  <a:ext cx="662400" cy="662400"/>
                </a:xfrm>
                <a:prstGeom prst="rect">
                  <a:avLst/>
                </a:prstGeom>
              </p:spPr>
            </p:pic>
          </p:grpSp>
        </p:grpSp>
      </p:grpSp>
      <p:sp>
        <p:nvSpPr>
          <p:cNvPr id="192" name="Isosceles Triangle 191">
            <a:extLst>
              <a:ext uri="{FF2B5EF4-FFF2-40B4-BE49-F238E27FC236}">
                <a16:creationId xmlns:a16="http://schemas.microsoft.com/office/drawing/2014/main" id="{E931689A-D19A-422A-8EF0-B35933FD49F6}"/>
              </a:ext>
            </a:extLst>
          </p:cNvPr>
          <p:cNvSpPr/>
          <p:nvPr/>
        </p:nvSpPr>
        <p:spPr>
          <a:xfrm rot="907290" flipV="1">
            <a:off x="10997728" y="5577990"/>
            <a:ext cx="135935" cy="117185"/>
          </a:xfrm>
          <a:prstGeom prst="triangle">
            <a:avLst/>
          </a:prstGeom>
          <a:solidFill>
            <a:schemeClr val="tx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94" name="Isosceles Triangle 193">
            <a:extLst>
              <a:ext uri="{FF2B5EF4-FFF2-40B4-BE49-F238E27FC236}">
                <a16:creationId xmlns:a16="http://schemas.microsoft.com/office/drawing/2014/main" id="{2C2C0598-6F24-46C3-9FAE-2DAC8C196234}"/>
              </a:ext>
            </a:extLst>
          </p:cNvPr>
          <p:cNvSpPr/>
          <p:nvPr/>
        </p:nvSpPr>
        <p:spPr>
          <a:xfrm rot="10219849" flipV="1">
            <a:off x="9331325" y="3262313"/>
            <a:ext cx="136525" cy="117475"/>
          </a:xfrm>
          <a:prstGeom prst="triangle">
            <a:avLst/>
          </a:prstGeom>
          <a:solidFill>
            <a:schemeClr val="tx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95" name="Isosceles Triangle 194">
            <a:extLst>
              <a:ext uri="{FF2B5EF4-FFF2-40B4-BE49-F238E27FC236}">
                <a16:creationId xmlns:a16="http://schemas.microsoft.com/office/drawing/2014/main" id="{645FBDF8-A9D7-4624-BAF6-211F08FB13AC}"/>
              </a:ext>
            </a:extLst>
          </p:cNvPr>
          <p:cNvSpPr/>
          <p:nvPr/>
        </p:nvSpPr>
        <p:spPr>
          <a:xfrm rot="16200000" flipV="1">
            <a:off x="8512027" y="2171871"/>
            <a:ext cx="135935" cy="117185"/>
          </a:xfrm>
          <a:prstGeom prst="triangle">
            <a:avLst/>
          </a:prstGeom>
          <a:solidFill>
            <a:schemeClr val="tx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1" name="Content Placeholder 2">
            <a:extLst>
              <a:ext uri="{FF2B5EF4-FFF2-40B4-BE49-F238E27FC236}">
                <a16:creationId xmlns:a16="http://schemas.microsoft.com/office/drawing/2014/main" id="{2E965CAB-91A4-47BB-9192-E0B4CBC4B240}"/>
              </a:ext>
            </a:extLst>
          </p:cNvPr>
          <p:cNvSpPr txBox="1">
            <a:spLocks/>
          </p:cNvSpPr>
          <p:nvPr/>
        </p:nvSpPr>
        <p:spPr>
          <a:xfrm>
            <a:off x="6115866" y="1597840"/>
            <a:ext cx="3510769" cy="350393"/>
          </a:xfrm>
          <a:prstGeom prst="rect">
            <a:avLst/>
          </a:prstGeom>
          <a:noFill/>
          <a:ln w="19050">
            <a:noFill/>
          </a:ln>
          <a:extLst>
            <a:ext uri="{909E8E84-426E-40DD-AFC4-6F175D3DCCD1}">
              <a14:hiddenFill xmlns:a14="http://schemas.microsoft.com/office/drawing/2010/main">
                <a:solidFill>
                  <a:srgbClr val="22777B"/>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b="1" dirty="0">
                <a:solidFill>
                  <a:srgbClr val="22777B"/>
                </a:solidFill>
              </a:rPr>
              <a:t>Voorbeeld MaaS-app: GOAN!</a:t>
            </a:r>
          </a:p>
        </p:txBody>
      </p:sp>
      <p:grpSp>
        <p:nvGrpSpPr>
          <p:cNvPr id="143" name="Group 142">
            <a:extLst>
              <a:ext uri="{FF2B5EF4-FFF2-40B4-BE49-F238E27FC236}">
                <a16:creationId xmlns:a16="http://schemas.microsoft.com/office/drawing/2014/main" id="{72D9BF67-E2EC-454A-B910-6FAE1CD87173}"/>
              </a:ext>
            </a:extLst>
          </p:cNvPr>
          <p:cNvGrpSpPr/>
          <p:nvPr/>
        </p:nvGrpSpPr>
        <p:grpSpPr>
          <a:xfrm>
            <a:off x="701659" y="55733"/>
            <a:ext cx="2040807" cy="176387"/>
            <a:chOff x="701659" y="55733"/>
            <a:chExt cx="2040807" cy="176387"/>
          </a:xfrm>
        </p:grpSpPr>
        <p:sp>
          <p:nvSpPr>
            <p:cNvPr id="144" name="Rectangle: Rounded Corners 143">
              <a:extLst>
                <a:ext uri="{FF2B5EF4-FFF2-40B4-BE49-F238E27FC236}">
                  <a16:creationId xmlns:a16="http://schemas.microsoft.com/office/drawing/2014/main" id="{981A0BC6-71A8-4F0D-98A9-9E120A49C6A5}"/>
                </a:ext>
              </a:extLst>
            </p:cNvPr>
            <p:cNvSpPr/>
            <p:nvPr/>
          </p:nvSpPr>
          <p:spPr>
            <a:xfrm>
              <a:off x="93125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a:t>
              </a:r>
            </a:p>
          </p:txBody>
        </p:sp>
        <p:sp>
          <p:nvSpPr>
            <p:cNvPr id="145" name="Rectangle: Rounded Corners 144">
              <a:extLst>
                <a:ext uri="{FF2B5EF4-FFF2-40B4-BE49-F238E27FC236}">
                  <a16:creationId xmlns:a16="http://schemas.microsoft.com/office/drawing/2014/main" id="{2E2E1A0F-3983-41B5-8E90-FA45A945432E}"/>
                </a:ext>
              </a:extLst>
            </p:cNvPr>
            <p:cNvSpPr/>
            <p:nvPr/>
          </p:nvSpPr>
          <p:spPr>
            <a:xfrm>
              <a:off x="116084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2</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46" name="Rectangle: Rounded Corners 145">
              <a:extLst>
                <a:ext uri="{FF2B5EF4-FFF2-40B4-BE49-F238E27FC236}">
                  <a16:creationId xmlns:a16="http://schemas.microsoft.com/office/drawing/2014/main" id="{4972242F-0962-40E0-97F1-6775334B462A}"/>
                </a:ext>
              </a:extLst>
            </p:cNvPr>
            <p:cNvSpPr/>
            <p:nvPr/>
          </p:nvSpPr>
          <p:spPr>
            <a:xfrm>
              <a:off x="1390441"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3</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47" name="Rectangle: Rounded Corners 146">
              <a:extLst>
                <a:ext uri="{FF2B5EF4-FFF2-40B4-BE49-F238E27FC236}">
                  <a16:creationId xmlns:a16="http://schemas.microsoft.com/office/drawing/2014/main" id="{17FA510F-0209-42CC-851C-E923DB19B444}"/>
                </a:ext>
              </a:extLst>
            </p:cNvPr>
            <p:cNvSpPr/>
            <p:nvPr/>
          </p:nvSpPr>
          <p:spPr>
            <a:xfrm>
              <a:off x="1620035"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4</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48" name="Rectangle: Rounded Corners 147">
              <a:extLst>
                <a:ext uri="{FF2B5EF4-FFF2-40B4-BE49-F238E27FC236}">
                  <a16:creationId xmlns:a16="http://schemas.microsoft.com/office/drawing/2014/main" id="{5A2812B2-F596-4F47-A2F0-285A72376E01}"/>
                </a:ext>
              </a:extLst>
            </p:cNvPr>
            <p:cNvSpPr/>
            <p:nvPr/>
          </p:nvSpPr>
          <p:spPr>
            <a:xfrm>
              <a:off x="184962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5</a:t>
              </a:r>
            </a:p>
          </p:txBody>
        </p:sp>
        <p:sp>
          <p:nvSpPr>
            <p:cNvPr id="150" name="Rectangle: Rounded Corners 149">
              <a:extLst>
                <a:ext uri="{FF2B5EF4-FFF2-40B4-BE49-F238E27FC236}">
                  <a16:creationId xmlns:a16="http://schemas.microsoft.com/office/drawing/2014/main" id="{DA492E13-8C1F-49A1-BFEA-C6C8C5CD60FC}"/>
                </a:ext>
              </a:extLst>
            </p:cNvPr>
            <p:cNvSpPr/>
            <p:nvPr/>
          </p:nvSpPr>
          <p:spPr>
            <a:xfrm>
              <a:off x="207922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6</a:t>
              </a:r>
            </a:p>
          </p:txBody>
        </p:sp>
        <p:sp>
          <p:nvSpPr>
            <p:cNvPr id="152" name="Rectangle: Rounded Corners 151">
              <a:extLst>
                <a:ext uri="{FF2B5EF4-FFF2-40B4-BE49-F238E27FC236}">
                  <a16:creationId xmlns:a16="http://schemas.microsoft.com/office/drawing/2014/main" id="{A465C12D-2173-4212-B068-65297EBBAE1E}"/>
                </a:ext>
              </a:extLst>
            </p:cNvPr>
            <p:cNvSpPr/>
            <p:nvPr/>
          </p:nvSpPr>
          <p:spPr>
            <a:xfrm>
              <a:off x="2308817" y="55733"/>
              <a:ext cx="204053" cy="176387"/>
            </a:xfrm>
            <a:prstGeom prst="roundRect">
              <a:avLst/>
            </a:prstGeom>
            <a:solidFill>
              <a:srgbClr val="EC6224"/>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7</a:t>
              </a:r>
            </a:p>
          </p:txBody>
        </p:sp>
        <p:sp>
          <p:nvSpPr>
            <p:cNvPr id="155" name="Rectangle: Rounded Corners 154">
              <a:extLst>
                <a:ext uri="{FF2B5EF4-FFF2-40B4-BE49-F238E27FC236}">
                  <a16:creationId xmlns:a16="http://schemas.microsoft.com/office/drawing/2014/main" id="{C6BB6185-BC5A-4951-B232-36B99DB6896B}"/>
                </a:ext>
              </a:extLst>
            </p:cNvPr>
            <p:cNvSpPr/>
            <p:nvPr/>
          </p:nvSpPr>
          <p:spPr>
            <a:xfrm>
              <a:off x="253841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8</a:t>
              </a:r>
            </a:p>
          </p:txBody>
        </p:sp>
        <p:grpSp>
          <p:nvGrpSpPr>
            <p:cNvPr id="156" name="Group 155">
              <a:extLst>
                <a:ext uri="{FF2B5EF4-FFF2-40B4-BE49-F238E27FC236}">
                  <a16:creationId xmlns:a16="http://schemas.microsoft.com/office/drawing/2014/main" id="{0628A44E-8CFE-45B3-BC63-3143CD57FC6D}"/>
                </a:ext>
              </a:extLst>
            </p:cNvPr>
            <p:cNvGrpSpPr/>
            <p:nvPr/>
          </p:nvGrpSpPr>
          <p:grpSpPr>
            <a:xfrm>
              <a:off x="701659" y="55733"/>
              <a:ext cx="204053" cy="176387"/>
              <a:chOff x="701659" y="55733"/>
              <a:chExt cx="204053" cy="176387"/>
            </a:xfrm>
          </p:grpSpPr>
          <p:sp>
            <p:nvSpPr>
              <p:cNvPr id="157" name="Rectangle: Rounded Corners 156">
                <a:extLst>
                  <a:ext uri="{FF2B5EF4-FFF2-40B4-BE49-F238E27FC236}">
                    <a16:creationId xmlns:a16="http://schemas.microsoft.com/office/drawing/2014/main" id="{FE1D913E-FD46-4ED5-BFDD-F9DC24359157}"/>
                  </a:ext>
                </a:extLst>
              </p:cNvPr>
              <p:cNvSpPr/>
              <p:nvPr/>
            </p:nvSpPr>
            <p:spPr>
              <a:xfrm>
                <a:off x="70165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158" name="Graphic 157" descr="Home with solid fill">
                <a:hlinkClick r:id="rId23" action="ppaction://hlinksldjump"/>
                <a:extLst>
                  <a:ext uri="{FF2B5EF4-FFF2-40B4-BE49-F238E27FC236}">
                    <a16:creationId xmlns:a16="http://schemas.microsoft.com/office/drawing/2014/main" id="{AC3A6A5B-9F7C-4646-9BCE-F91382D49D61}"/>
                  </a:ext>
                </a:extLst>
              </p:cNvPr>
              <p:cNvPicPr>
                <a:picLocks noChangeAspect="1"/>
              </p:cNvPicPr>
              <p:nvPr/>
            </p:nvPicPr>
            <p:blipFill>
              <a:blip r:embed="rId24" cstate="print">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734263" y="63707"/>
                <a:ext cx="136149" cy="136149"/>
              </a:xfrm>
              <a:prstGeom prst="rect">
                <a:avLst/>
              </a:prstGeom>
            </p:spPr>
          </p:pic>
        </p:grpSp>
      </p:grpSp>
      <p:sp>
        <p:nvSpPr>
          <p:cNvPr id="13" name="Freeform: Shape 12">
            <a:extLst>
              <a:ext uri="{FF2B5EF4-FFF2-40B4-BE49-F238E27FC236}">
                <a16:creationId xmlns:a16="http://schemas.microsoft.com/office/drawing/2014/main" id="{5A9E6B51-AAA5-4A0A-9B0A-9D131E89AE6A}"/>
              </a:ext>
            </a:extLst>
          </p:cNvPr>
          <p:cNvSpPr/>
          <p:nvPr/>
        </p:nvSpPr>
        <p:spPr>
          <a:xfrm>
            <a:off x="8281051" y="3668819"/>
            <a:ext cx="381000" cy="647909"/>
          </a:xfrm>
          <a:custGeom>
            <a:avLst/>
            <a:gdLst>
              <a:gd name="connsiteX0" fmla="*/ 19050 w 381000"/>
              <a:gd name="connsiteY0" fmla="*/ 0 h 647909"/>
              <a:gd name="connsiteX1" fmla="*/ 0 w 381000"/>
              <a:gd name="connsiteY1" fmla="*/ 0 h 647909"/>
              <a:gd name="connsiteX2" fmla="*/ 0 w 381000"/>
              <a:gd name="connsiteY2" fmla="*/ 647910 h 647909"/>
              <a:gd name="connsiteX3" fmla="*/ 381000 w 381000"/>
              <a:gd name="connsiteY3" fmla="*/ 647910 h 647909"/>
              <a:gd name="connsiteX4" fmla="*/ 381000 w 381000"/>
              <a:gd name="connsiteY4" fmla="*/ 0 h 647909"/>
              <a:gd name="connsiteX5" fmla="*/ 19050 w 381000"/>
              <a:gd name="connsiteY5" fmla="*/ 0 h 647909"/>
              <a:gd name="connsiteX6" fmla="*/ 361950 w 381000"/>
              <a:gd name="connsiteY6" fmla="*/ 628860 h 647909"/>
              <a:gd name="connsiteX7" fmla="*/ 19050 w 381000"/>
              <a:gd name="connsiteY7" fmla="*/ 628860 h 647909"/>
              <a:gd name="connsiteX8" fmla="*/ 19050 w 381000"/>
              <a:gd name="connsiteY8" fmla="*/ 19050 h 647909"/>
              <a:gd name="connsiteX9" fmla="*/ 361950 w 381000"/>
              <a:gd name="connsiteY9" fmla="*/ 19050 h 647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647909">
                <a:moveTo>
                  <a:pt x="19050" y="0"/>
                </a:moveTo>
                <a:lnTo>
                  <a:pt x="0" y="0"/>
                </a:lnTo>
                <a:lnTo>
                  <a:pt x="0" y="647910"/>
                </a:lnTo>
                <a:lnTo>
                  <a:pt x="381000" y="647910"/>
                </a:lnTo>
                <a:lnTo>
                  <a:pt x="381000" y="0"/>
                </a:lnTo>
                <a:lnTo>
                  <a:pt x="19050" y="0"/>
                </a:lnTo>
                <a:close/>
                <a:moveTo>
                  <a:pt x="361950" y="628860"/>
                </a:moveTo>
                <a:lnTo>
                  <a:pt x="19050" y="628860"/>
                </a:lnTo>
                <a:lnTo>
                  <a:pt x="19050" y="19050"/>
                </a:lnTo>
                <a:lnTo>
                  <a:pt x="361950" y="19050"/>
                </a:lnTo>
                <a:close/>
              </a:path>
            </a:pathLst>
          </a:custGeom>
          <a:solidFill>
            <a:srgbClr val="000000"/>
          </a:solidFill>
          <a:ln w="9525" cap="flat">
            <a:noFill/>
            <a:prstDash val="solid"/>
            <a:miter/>
          </a:ln>
        </p:spPr>
        <p:txBody>
          <a:bodyPr rtlCol="0" anchor="ctr"/>
          <a:lstStyle/>
          <a:p>
            <a:endParaRPr lang="nl-NL" dirty="0"/>
          </a:p>
        </p:txBody>
      </p:sp>
      <p:sp>
        <p:nvSpPr>
          <p:cNvPr id="16" name="Freeform: Shape 15">
            <a:extLst>
              <a:ext uri="{FF2B5EF4-FFF2-40B4-BE49-F238E27FC236}">
                <a16:creationId xmlns:a16="http://schemas.microsoft.com/office/drawing/2014/main" id="{E6C86706-8032-449C-BF12-890EBDDF2742}"/>
              </a:ext>
            </a:extLst>
          </p:cNvPr>
          <p:cNvSpPr/>
          <p:nvPr/>
        </p:nvSpPr>
        <p:spPr>
          <a:xfrm>
            <a:off x="8233426" y="3573569"/>
            <a:ext cx="476250" cy="838438"/>
          </a:xfrm>
          <a:custGeom>
            <a:avLst/>
            <a:gdLst>
              <a:gd name="connsiteX0" fmla="*/ 457200 w 476250"/>
              <a:gd name="connsiteY0" fmla="*/ 0 h 838438"/>
              <a:gd name="connsiteX1" fmla="*/ 19050 w 476250"/>
              <a:gd name="connsiteY1" fmla="*/ 0 h 838438"/>
              <a:gd name="connsiteX2" fmla="*/ 0 w 476250"/>
              <a:gd name="connsiteY2" fmla="*/ 19050 h 838438"/>
              <a:gd name="connsiteX3" fmla="*/ 0 w 476250"/>
              <a:gd name="connsiteY3" fmla="*/ 819388 h 838438"/>
              <a:gd name="connsiteX4" fmla="*/ 19050 w 476250"/>
              <a:gd name="connsiteY4" fmla="*/ 838438 h 838438"/>
              <a:gd name="connsiteX5" fmla="*/ 457200 w 476250"/>
              <a:gd name="connsiteY5" fmla="*/ 838438 h 838438"/>
              <a:gd name="connsiteX6" fmla="*/ 476250 w 476250"/>
              <a:gd name="connsiteY6" fmla="*/ 819388 h 838438"/>
              <a:gd name="connsiteX7" fmla="*/ 476250 w 476250"/>
              <a:gd name="connsiteY7" fmla="*/ 19050 h 838438"/>
              <a:gd name="connsiteX8" fmla="*/ 457200 w 476250"/>
              <a:gd name="connsiteY8" fmla="*/ 0 h 838438"/>
              <a:gd name="connsiteX9" fmla="*/ 457200 w 476250"/>
              <a:gd name="connsiteY9" fmla="*/ 819388 h 838438"/>
              <a:gd name="connsiteX10" fmla="*/ 19050 w 476250"/>
              <a:gd name="connsiteY10" fmla="*/ 819388 h 838438"/>
              <a:gd name="connsiteX11" fmla="*/ 19050 w 476250"/>
              <a:gd name="connsiteY11" fmla="*/ 19050 h 838438"/>
              <a:gd name="connsiteX12" fmla="*/ 457200 w 476250"/>
              <a:gd name="connsiteY12" fmla="*/ 19050 h 83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6250" h="838438">
                <a:moveTo>
                  <a:pt x="457200" y="0"/>
                </a:moveTo>
                <a:lnTo>
                  <a:pt x="19050" y="0"/>
                </a:lnTo>
                <a:cubicBezTo>
                  <a:pt x="8542" y="31"/>
                  <a:pt x="31" y="8542"/>
                  <a:pt x="0" y="19050"/>
                </a:cubicBezTo>
                <a:lnTo>
                  <a:pt x="0" y="819388"/>
                </a:lnTo>
                <a:cubicBezTo>
                  <a:pt x="36" y="829894"/>
                  <a:pt x="8544" y="838402"/>
                  <a:pt x="19050" y="838438"/>
                </a:cubicBezTo>
                <a:lnTo>
                  <a:pt x="457200" y="838438"/>
                </a:lnTo>
                <a:cubicBezTo>
                  <a:pt x="467703" y="838396"/>
                  <a:pt x="476208" y="829891"/>
                  <a:pt x="476250" y="819388"/>
                </a:cubicBezTo>
                <a:lnTo>
                  <a:pt x="476250" y="19050"/>
                </a:lnTo>
                <a:cubicBezTo>
                  <a:pt x="476214" y="8544"/>
                  <a:pt x="467706" y="37"/>
                  <a:pt x="457200" y="0"/>
                </a:cubicBezTo>
                <a:close/>
                <a:moveTo>
                  <a:pt x="457200" y="819388"/>
                </a:moveTo>
                <a:lnTo>
                  <a:pt x="19050" y="819388"/>
                </a:lnTo>
                <a:lnTo>
                  <a:pt x="19050" y="19050"/>
                </a:lnTo>
                <a:lnTo>
                  <a:pt x="457200" y="19050"/>
                </a:lnTo>
                <a:close/>
              </a:path>
            </a:pathLst>
          </a:custGeom>
          <a:solidFill>
            <a:srgbClr val="000000"/>
          </a:solidFill>
          <a:ln w="9525" cap="flat">
            <a:noFill/>
            <a:prstDash val="solid"/>
            <a:miter/>
          </a:ln>
        </p:spPr>
        <p:txBody>
          <a:bodyPr rtlCol="0" anchor="ctr"/>
          <a:lstStyle/>
          <a:p>
            <a:endParaRPr lang="nl-NL" dirty="0"/>
          </a:p>
        </p:txBody>
      </p:sp>
      <p:sp>
        <p:nvSpPr>
          <p:cNvPr id="18" name="Freeform: Shape 17">
            <a:extLst>
              <a:ext uri="{FF2B5EF4-FFF2-40B4-BE49-F238E27FC236}">
                <a16:creationId xmlns:a16="http://schemas.microsoft.com/office/drawing/2014/main" id="{157665E6-E357-4EBE-95DC-69E081EB3551}"/>
              </a:ext>
            </a:extLst>
          </p:cNvPr>
          <p:cNvSpPr/>
          <p:nvPr/>
        </p:nvSpPr>
        <p:spPr>
          <a:xfrm>
            <a:off x="8423926" y="3621194"/>
            <a:ext cx="104775" cy="19050"/>
          </a:xfrm>
          <a:custGeom>
            <a:avLst/>
            <a:gdLst>
              <a:gd name="connsiteX0" fmla="*/ 9525 w 104775"/>
              <a:gd name="connsiteY0" fmla="*/ 19050 h 19050"/>
              <a:gd name="connsiteX1" fmla="*/ 95250 w 104775"/>
              <a:gd name="connsiteY1" fmla="*/ 19050 h 19050"/>
              <a:gd name="connsiteX2" fmla="*/ 104775 w 104775"/>
              <a:gd name="connsiteY2" fmla="*/ 9525 h 19050"/>
              <a:gd name="connsiteX3" fmla="*/ 95250 w 104775"/>
              <a:gd name="connsiteY3" fmla="*/ 0 h 19050"/>
              <a:gd name="connsiteX4" fmla="*/ 9525 w 104775"/>
              <a:gd name="connsiteY4" fmla="*/ 0 h 19050"/>
              <a:gd name="connsiteX5" fmla="*/ 0 w 104775"/>
              <a:gd name="connsiteY5" fmla="*/ 9525 h 19050"/>
              <a:gd name="connsiteX6" fmla="*/ 9525 w 104775"/>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19050">
                <a:moveTo>
                  <a:pt x="9525" y="19050"/>
                </a:moveTo>
                <a:lnTo>
                  <a:pt x="95250" y="19050"/>
                </a:lnTo>
                <a:cubicBezTo>
                  <a:pt x="100511" y="19050"/>
                  <a:pt x="104775" y="14786"/>
                  <a:pt x="104775" y="9525"/>
                </a:cubicBezTo>
                <a:cubicBezTo>
                  <a:pt x="104775" y="4264"/>
                  <a:pt x="100511" y="0"/>
                  <a:pt x="95250" y="0"/>
                </a:cubicBezTo>
                <a:lnTo>
                  <a:pt x="9525" y="0"/>
                </a:lnTo>
                <a:cubicBezTo>
                  <a:pt x="4264" y="0"/>
                  <a:pt x="0" y="4264"/>
                  <a:pt x="0" y="9525"/>
                </a:cubicBezTo>
                <a:cubicBezTo>
                  <a:pt x="0" y="14786"/>
                  <a:pt x="4264" y="19050"/>
                  <a:pt x="9525" y="19050"/>
                </a:cubicBezTo>
                <a:close/>
              </a:path>
            </a:pathLst>
          </a:custGeom>
          <a:solidFill>
            <a:srgbClr val="000000"/>
          </a:solidFill>
          <a:ln w="9525" cap="flat">
            <a:noFill/>
            <a:prstDash val="solid"/>
            <a:miter/>
          </a:ln>
        </p:spPr>
        <p:txBody>
          <a:bodyPr rtlCol="0" anchor="ctr"/>
          <a:lstStyle/>
          <a:p>
            <a:endParaRPr lang="nl-NL" dirty="0"/>
          </a:p>
        </p:txBody>
      </p:sp>
      <p:sp>
        <p:nvSpPr>
          <p:cNvPr id="172" name="Flowchart: Stored Data 171">
            <a:extLst>
              <a:ext uri="{FF2B5EF4-FFF2-40B4-BE49-F238E27FC236}">
                <a16:creationId xmlns:a16="http://schemas.microsoft.com/office/drawing/2014/main" id="{8629CDC9-4167-41C5-8AE2-E06F23337B6F}"/>
              </a:ext>
            </a:extLst>
          </p:cNvPr>
          <p:cNvSpPr/>
          <p:nvPr/>
        </p:nvSpPr>
        <p:spPr>
          <a:xfrm rot="15913320">
            <a:off x="6997705" y="3165485"/>
            <a:ext cx="23119" cy="27742"/>
          </a:xfrm>
          <a:prstGeom prst="flowChartOnlineStorage">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pSp>
        <p:nvGrpSpPr>
          <p:cNvPr id="15" name="Group 14">
            <a:extLst>
              <a:ext uri="{FF2B5EF4-FFF2-40B4-BE49-F238E27FC236}">
                <a16:creationId xmlns:a16="http://schemas.microsoft.com/office/drawing/2014/main" id="{38BB2FF4-0177-40CC-84E9-DF2EE130F5DE}"/>
              </a:ext>
            </a:extLst>
          </p:cNvPr>
          <p:cNvGrpSpPr/>
          <p:nvPr/>
        </p:nvGrpSpPr>
        <p:grpSpPr>
          <a:xfrm rot="1322886">
            <a:off x="6560453" y="1891077"/>
            <a:ext cx="648251" cy="648251"/>
            <a:chOff x="-350880" y="4388972"/>
            <a:chExt cx="914400" cy="914400"/>
          </a:xfrm>
        </p:grpSpPr>
        <p:pic>
          <p:nvPicPr>
            <p:cNvPr id="11" name="Graphic 10" descr="Thought bubble with solid fill">
              <a:extLst>
                <a:ext uri="{FF2B5EF4-FFF2-40B4-BE49-F238E27FC236}">
                  <a16:creationId xmlns:a16="http://schemas.microsoft.com/office/drawing/2014/main" id="{76D3F905-6728-4DDE-B4F4-3230D75F00E0}"/>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350880" y="4388972"/>
              <a:ext cx="914400" cy="914400"/>
            </a:xfrm>
            <a:prstGeom prst="rect">
              <a:avLst/>
            </a:prstGeom>
          </p:spPr>
        </p:pic>
        <p:pic>
          <p:nvPicPr>
            <p:cNvPr id="14" name="Graphic 13" descr="House with solid fill">
              <a:extLst>
                <a:ext uri="{FF2B5EF4-FFF2-40B4-BE49-F238E27FC236}">
                  <a16:creationId xmlns:a16="http://schemas.microsoft.com/office/drawing/2014/main" id="{87EA8F4D-8A38-4284-9315-C223F8B176C5}"/>
                </a:ext>
              </a:extLst>
            </p:cNvPr>
            <p:cNvPicPr>
              <a:picLocks noChangeAspect="1"/>
            </p:cNvPicPr>
            <p:nvPr/>
          </p:nvPicPr>
          <p:blipFill>
            <a:blip r:embed="rId28" cstate="print">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70548" y="4576212"/>
              <a:ext cx="344358" cy="344358"/>
            </a:xfrm>
            <a:prstGeom prst="rect">
              <a:avLst/>
            </a:prstGeom>
          </p:spPr>
        </p:pic>
      </p:grpSp>
      <p:grpSp>
        <p:nvGrpSpPr>
          <p:cNvPr id="2" name="Group 1">
            <a:extLst>
              <a:ext uri="{FF2B5EF4-FFF2-40B4-BE49-F238E27FC236}">
                <a16:creationId xmlns:a16="http://schemas.microsoft.com/office/drawing/2014/main" id="{C7F62618-4ED6-47E2-BC15-23C223E68FCF}"/>
              </a:ext>
            </a:extLst>
          </p:cNvPr>
          <p:cNvGrpSpPr/>
          <p:nvPr/>
        </p:nvGrpSpPr>
        <p:grpSpPr>
          <a:xfrm>
            <a:off x="6255586" y="2133554"/>
            <a:ext cx="587210" cy="635417"/>
            <a:chOff x="6473003" y="3908845"/>
            <a:chExt cx="587210" cy="635417"/>
          </a:xfrm>
        </p:grpSpPr>
        <p:pic>
          <p:nvPicPr>
            <p:cNvPr id="171" name="Graphic 170" descr="Person in wheelchair with solid fill">
              <a:extLst>
                <a:ext uri="{FF2B5EF4-FFF2-40B4-BE49-F238E27FC236}">
                  <a16:creationId xmlns:a16="http://schemas.microsoft.com/office/drawing/2014/main" id="{58A97F98-7F4E-4EA7-9420-A6B2C92BA6AD}"/>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6473003" y="3957052"/>
              <a:ext cx="587210" cy="587210"/>
            </a:xfrm>
            <a:prstGeom prst="rect">
              <a:avLst/>
            </a:prstGeom>
          </p:spPr>
        </p:pic>
        <p:grpSp>
          <p:nvGrpSpPr>
            <p:cNvPr id="215" name="Group 214">
              <a:extLst>
                <a:ext uri="{FF2B5EF4-FFF2-40B4-BE49-F238E27FC236}">
                  <a16:creationId xmlns:a16="http://schemas.microsoft.com/office/drawing/2014/main" id="{DED198BD-630A-495C-B6CA-DC21FA34A68C}"/>
                </a:ext>
              </a:extLst>
            </p:cNvPr>
            <p:cNvGrpSpPr/>
            <p:nvPr/>
          </p:nvGrpSpPr>
          <p:grpSpPr>
            <a:xfrm rot="20542492">
              <a:off x="6622813" y="3908845"/>
              <a:ext cx="180000" cy="180000"/>
              <a:chOff x="6243008" y="2492337"/>
              <a:chExt cx="434301" cy="434301"/>
            </a:xfrm>
            <a:solidFill>
              <a:schemeClr val="tx1"/>
            </a:solidFill>
          </p:grpSpPr>
          <p:sp>
            <p:nvSpPr>
              <p:cNvPr id="216" name="Freeform 332">
                <a:extLst>
                  <a:ext uri="{FF2B5EF4-FFF2-40B4-BE49-F238E27FC236}">
                    <a16:creationId xmlns:a16="http://schemas.microsoft.com/office/drawing/2014/main" id="{F34C53E1-4E87-43D0-B878-3FA885629DE6}"/>
                  </a:ext>
                </a:extLst>
              </p:cNvPr>
              <p:cNvSpPr>
                <a:spLocks noChangeArrowheads="1"/>
              </p:cNvSpPr>
              <p:nvPr/>
            </p:nvSpPr>
            <p:spPr bwMode="auto">
              <a:xfrm>
                <a:off x="6268013" y="2618932"/>
                <a:ext cx="298651" cy="304413"/>
              </a:xfrm>
              <a:custGeom>
                <a:avLst/>
                <a:gdLst>
                  <a:gd name="T0" fmla="*/ 180 w 362"/>
                  <a:gd name="T1" fmla="*/ 0 h 361"/>
                  <a:gd name="T2" fmla="*/ 180 w 362"/>
                  <a:gd name="T3" fmla="*/ 0 h 361"/>
                  <a:gd name="T4" fmla="*/ 0 w 362"/>
                  <a:gd name="T5" fmla="*/ 180 h 361"/>
                  <a:gd name="T6" fmla="*/ 180 w 362"/>
                  <a:gd name="T7" fmla="*/ 360 h 361"/>
                  <a:gd name="T8" fmla="*/ 361 w 362"/>
                  <a:gd name="T9" fmla="*/ 180 h 361"/>
                  <a:gd name="T10" fmla="*/ 180 w 362"/>
                  <a:gd name="T11" fmla="*/ 0 h 361"/>
                </a:gdLst>
                <a:ahLst/>
                <a:cxnLst>
                  <a:cxn ang="0">
                    <a:pos x="T0" y="T1"/>
                  </a:cxn>
                  <a:cxn ang="0">
                    <a:pos x="T2" y="T3"/>
                  </a:cxn>
                  <a:cxn ang="0">
                    <a:pos x="T4" y="T5"/>
                  </a:cxn>
                  <a:cxn ang="0">
                    <a:pos x="T6" y="T7"/>
                  </a:cxn>
                  <a:cxn ang="0">
                    <a:pos x="T8" y="T9"/>
                  </a:cxn>
                  <a:cxn ang="0">
                    <a:pos x="T10" y="T11"/>
                  </a:cxn>
                </a:cxnLst>
                <a:rect l="0" t="0" r="r" b="b"/>
                <a:pathLst>
                  <a:path w="362" h="361">
                    <a:moveTo>
                      <a:pt x="180" y="0"/>
                    </a:moveTo>
                    <a:lnTo>
                      <a:pt x="180" y="0"/>
                    </a:lnTo>
                    <a:cubicBezTo>
                      <a:pt x="84" y="0"/>
                      <a:pt x="0" y="72"/>
                      <a:pt x="0" y="180"/>
                    </a:cubicBezTo>
                    <a:cubicBezTo>
                      <a:pt x="0" y="276"/>
                      <a:pt x="84" y="360"/>
                      <a:pt x="180" y="360"/>
                    </a:cubicBezTo>
                    <a:cubicBezTo>
                      <a:pt x="265" y="360"/>
                      <a:pt x="337" y="276"/>
                      <a:pt x="361" y="180"/>
                    </a:cubicBezTo>
                    <a:cubicBezTo>
                      <a:pt x="361" y="96"/>
                      <a:pt x="289" y="24"/>
                      <a:pt x="18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Arial" panose="020B0604020202020204" pitchFamily="34" charset="0"/>
                </a:endParaRPr>
              </a:p>
            </p:txBody>
          </p:sp>
          <p:pic>
            <p:nvPicPr>
              <p:cNvPr id="217" name="Graphic 216" descr="Baseball hat with solid fill">
                <a:extLst>
                  <a:ext uri="{FF2B5EF4-FFF2-40B4-BE49-F238E27FC236}">
                    <a16:creationId xmlns:a16="http://schemas.microsoft.com/office/drawing/2014/main" id="{42FD4A34-6BA7-408F-BF9F-59184F3C142A}"/>
                  </a:ext>
                </a:extLst>
              </p:cNvPr>
              <p:cNvPicPr>
                <a:picLocks noChangeAspect="1"/>
              </p:cNvPicPr>
              <p:nvPr/>
            </p:nvPicPr>
            <p:blipFill>
              <a:blip r:embed="rId32" cstate="print">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6243008" y="2492337"/>
                <a:ext cx="434301" cy="434301"/>
              </a:xfrm>
              <a:prstGeom prst="rect">
                <a:avLst/>
              </a:prstGeom>
            </p:spPr>
          </p:pic>
        </p:grpSp>
      </p:grpSp>
      <p:grpSp>
        <p:nvGrpSpPr>
          <p:cNvPr id="222" name="Group 221">
            <a:extLst>
              <a:ext uri="{FF2B5EF4-FFF2-40B4-BE49-F238E27FC236}">
                <a16:creationId xmlns:a16="http://schemas.microsoft.com/office/drawing/2014/main" id="{8F399761-A621-40CF-867A-431A00BD0C9F}"/>
              </a:ext>
            </a:extLst>
          </p:cNvPr>
          <p:cNvGrpSpPr/>
          <p:nvPr/>
        </p:nvGrpSpPr>
        <p:grpSpPr>
          <a:xfrm>
            <a:off x="10504274" y="5091890"/>
            <a:ext cx="587210" cy="635417"/>
            <a:chOff x="6473003" y="3908845"/>
            <a:chExt cx="587210" cy="635417"/>
          </a:xfrm>
        </p:grpSpPr>
        <p:pic>
          <p:nvPicPr>
            <p:cNvPr id="224" name="Graphic 223" descr="Person in wheelchair with solid fill">
              <a:extLst>
                <a:ext uri="{FF2B5EF4-FFF2-40B4-BE49-F238E27FC236}">
                  <a16:creationId xmlns:a16="http://schemas.microsoft.com/office/drawing/2014/main" id="{4E407124-FBAA-4A98-894C-B1715DE77E86}"/>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6473003" y="3957052"/>
              <a:ext cx="587210" cy="587210"/>
            </a:xfrm>
            <a:prstGeom prst="rect">
              <a:avLst/>
            </a:prstGeom>
          </p:spPr>
        </p:pic>
        <p:grpSp>
          <p:nvGrpSpPr>
            <p:cNvPr id="233" name="Group 232">
              <a:extLst>
                <a:ext uri="{FF2B5EF4-FFF2-40B4-BE49-F238E27FC236}">
                  <a16:creationId xmlns:a16="http://schemas.microsoft.com/office/drawing/2014/main" id="{FE444979-41A7-430D-9C96-FF576372EC7D}"/>
                </a:ext>
              </a:extLst>
            </p:cNvPr>
            <p:cNvGrpSpPr/>
            <p:nvPr/>
          </p:nvGrpSpPr>
          <p:grpSpPr>
            <a:xfrm rot="20542492">
              <a:off x="6622813" y="3908845"/>
              <a:ext cx="180000" cy="180000"/>
              <a:chOff x="6243008" y="2492337"/>
              <a:chExt cx="434301" cy="434301"/>
            </a:xfrm>
            <a:solidFill>
              <a:schemeClr val="tx1"/>
            </a:solidFill>
          </p:grpSpPr>
          <p:sp>
            <p:nvSpPr>
              <p:cNvPr id="234" name="Freeform 332">
                <a:extLst>
                  <a:ext uri="{FF2B5EF4-FFF2-40B4-BE49-F238E27FC236}">
                    <a16:creationId xmlns:a16="http://schemas.microsoft.com/office/drawing/2014/main" id="{EFAB5188-0A1E-49A2-8137-E0C36767D311}"/>
                  </a:ext>
                </a:extLst>
              </p:cNvPr>
              <p:cNvSpPr>
                <a:spLocks noChangeArrowheads="1"/>
              </p:cNvSpPr>
              <p:nvPr/>
            </p:nvSpPr>
            <p:spPr bwMode="auto">
              <a:xfrm>
                <a:off x="6268013" y="2618932"/>
                <a:ext cx="298651" cy="304413"/>
              </a:xfrm>
              <a:custGeom>
                <a:avLst/>
                <a:gdLst>
                  <a:gd name="T0" fmla="*/ 180 w 362"/>
                  <a:gd name="T1" fmla="*/ 0 h 361"/>
                  <a:gd name="T2" fmla="*/ 180 w 362"/>
                  <a:gd name="T3" fmla="*/ 0 h 361"/>
                  <a:gd name="T4" fmla="*/ 0 w 362"/>
                  <a:gd name="T5" fmla="*/ 180 h 361"/>
                  <a:gd name="T6" fmla="*/ 180 w 362"/>
                  <a:gd name="T7" fmla="*/ 360 h 361"/>
                  <a:gd name="T8" fmla="*/ 361 w 362"/>
                  <a:gd name="T9" fmla="*/ 180 h 361"/>
                  <a:gd name="T10" fmla="*/ 180 w 362"/>
                  <a:gd name="T11" fmla="*/ 0 h 361"/>
                </a:gdLst>
                <a:ahLst/>
                <a:cxnLst>
                  <a:cxn ang="0">
                    <a:pos x="T0" y="T1"/>
                  </a:cxn>
                  <a:cxn ang="0">
                    <a:pos x="T2" y="T3"/>
                  </a:cxn>
                  <a:cxn ang="0">
                    <a:pos x="T4" y="T5"/>
                  </a:cxn>
                  <a:cxn ang="0">
                    <a:pos x="T6" y="T7"/>
                  </a:cxn>
                  <a:cxn ang="0">
                    <a:pos x="T8" y="T9"/>
                  </a:cxn>
                  <a:cxn ang="0">
                    <a:pos x="T10" y="T11"/>
                  </a:cxn>
                </a:cxnLst>
                <a:rect l="0" t="0" r="r" b="b"/>
                <a:pathLst>
                  <a:path w="362" h="361">
                    <a:moveTo>
                      <a:pt x="180" y="0"/>
                    </a:moveTo>
                    <a:lnTo>
                      <a:pt x="180" y="0"/>
                    </a:lnTo>
                    <a:cubicBezTo>
                      <a:pt x="84" y="0"/>
                      <a:pt x="0" y="72"/>
                      <a:pt x="0" y="180"/>
                    </a:cubicBezTo>
                    <a:cubicBezTo>
                      <a:pt x="0" y="276"/>
                      <a:pt x="84" y="360"/>
                      <a:pt x="180" y="360"/>
                    </a:cubicBezTo>
                    <a:cubicBezTo>
                      <a:pt x="265" y="360"/>
                      <a:pt x="337" y="276"/>
                      <a:pt x="361" y="180"/>
                    </a:cubicBezTo>
                    <a:cubicBezTo>
                      <a:pt x="361" y="96"/>
                      <a:pt x="289" y="24"/>
                      <a:pt x="18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Arial" panose="020B0604020202020204" pitchFamily="34" charset="0"/>
                </a:endParaRPr>
              </a:p>
            </p:txBody>
          </p:sp>
          <p:pic>
            <p:nvPicPr>
              <p:cNvPr id="237" name="Graphic 236" descr="Baseball hat with solid fill">
                <a:extLst>
                  <a:ext uri="{FF2B5EF4-FFF2-40B4-BE49-F238E27FC236}">
                    <a16:creationId xmlns:a16="http://schemas.microsoft.com/office/drawing/2014/main" id="{4010E876-5C3A-4F67-AD44-4A780ED8C572}"/>
                  </a:ext>
                </a:extLst>
              </p:cNvPr>
              <p:cNvPicPr>
                <a:picLocks noChangeAspect="1"/>
              </p:cNvPicPr>
              <p:nvPr/>
            </p:nvPicPr>
            <p:blipFill>
              <a:blip r:embed="rId32" cstate="print">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6243008" y="2492337"/>
                <a:ext cx="434301" cy="434301"/>
              </a:xfrm>
              <a:prstGeom prst="rect">
                <a:avLst/>
              </a:prstGeom>
            </p:spPr>
          </p:pic>
        </p:grpSp>
      </p:grpSp>
      <p:grpSp>
        <p:nvGrpSpPr>
          <p:cNvPr id="56" name="Group 55">
            <a:extLst>
              <a:ext uri="{FF2B5EF4-FFF2-40B4-BE49-F238E27FC236}">
                <a16:creationId xmlns:a16="http://schemas.microsoft.com/office/drawing/2014/main" id="{989328F3-BF93-4DD4-9F14-1424202BAB7B}"/>
              </a:ext>
            </a:extLst>
          </p:cNvPr>
          <p:cNvGrpSpPr/>
          <p:nvPr/>
        </p:nvGrpSpPr>
        <p:grpSpPr>
          <a:xfrm>
            <a:off x="7341833" y="4694238"/>
            <a:ext cx="897600" cy="1156971"/>
            <a:chOff x="7341833" y="4694238"/>
            <a:chExt cx="897600" cy="1156971"/>
          </a:xfrm>
        </p:grpSpPr>
        <p:sp>
          <p:nvSpPr>
            <p:cNvPr id="193" name="Isosceles Triangle 192">
              <a:extLst>
                <a:ext uri="{FF2B5EF4-FFF2-40B4-BE49-F238E27FC236}">
                  <a16:creationId xmlns:a16="http://schemas.microsoft.com/office/drawing/2014/main" id="{960E9785-6D67-4776-B863-412ED0F70EF6}"/>
                </a:ext>
              </a:extLst>
            </p:cNvPr>
            <p:cNvSpPr/>
            <p:nvPr/>
          </p:nvSpPr>
          <p:spPr>
            <a:xfrm rot="10219849" flipV="1">
              <a:off x="7462838" y="4694238"/>
              <a:ext cx="136525" cy="117475"/>
            </a:xfrm>
            <a:prstGeom prst="triangle">
              <a:avLst/>
            </a:prstGeom>
            <a:solidFill>
              <a:schemeClr val="tx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56" name="Freeform 333">
              <a:extLst>
                <a:ext uri="{FF2B5EF4-FFF2-40B4-BE49-F238E27FC236}">
                  <a16:creationId xmlns:a16="http://schemas.microsoft.com/office/drawing/2014/main" id="{8221A973-64BE-404C-BE8D-9DC6F0CCA834}"/>
                </a:ext>
              </a:extLst>
            </p:cNvPr>
            <p:cNvSpPr>
              <a:spLocks noChangeArrowheads="1"/>
            </p:cNvSpPr>
            <p:nvPr/>
          </p:nvSpPr>
          <p:spPr bwMode="auto">
            <a:xfrm>
              <a:off x="7812646" y="5321482"/>
              <a:ext cx="91842" cy="161855"/>
            </a:xfrm>
            <a:custGeom>
              <a:avLst/>
              <a:gdLst>
                <a:gd name="T0" fmla="*/ 469 w 470"/>
                <a:gd name="T1" fmla="*/ 252 h 818"/>
                <a:gd name="T2" fmla="*/ 469 w 470"/>
                <a:gd name="T3" fmla="*/ 252 h 818"/>
                <a:gd name="T4" fmla="*/ 445 w 470"/>
                <a:gd name="T5" fmla="*/ 204 h 818"/>
                <a:gd name="T6" fmla="*/ 445 w 470"/>
                <a:gd name="T7" fmla="*/ 204 h 818"/>
                <a:gd name="T8" fmla="*/ 385 w 470"/>
                <a:gd name="T9" fmla="*/ 72 h 818"/>
                <a:gd name="T10" fmla="*/ 204 w 470"/>
                <a:gd name="T11" fmla="*/ 0 h 818"/>
                <a:gd name="T12" fmla="*/ 24 w 470"/>
                <a:gd name="T13" fmla="*/ 156 h 818"/>
                <a:gd name="T14" fmla="*/ 0 w 470"/>
                <a:gd name="T15" fmla="*/ 637 h 818"/>
                <a:gd name="T16" fmla="*/ 180 w 470"/>
                <a:gd name="T17" fmla="*/ 817 h 818"/>
                <a:gd name="T18" fmla="*/ 385 w 470"/>
                <a:gd name="T19" fmla="*/ 661 h 818"/>
                <a:gd name="T20" fmla="*/ 385 w 470"/>
                <a:gd name="T21" fmla="*/ 360 h 818"/>
                <a:gd name="T22" fmla="*/ 469 w 470"/>
                <a:gd name="T23" fmla="*/ 252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818">
                  <a:moveTo>
                    <a:pt x="469" y="252"/>
                  </a:moveTo>
                  <a:lnTo>
                    <a:pt x="469" y="252"/>
                  </a:lnTo>
                  <a:cubicBezTo>
                    <a:pt x="469" y="252"/>
                    <a:pt x="469" y="228"/>
                    <a:pt x="445" y="204"/>
                  </a:cubicBezTo>
                  <a:lnTo>
                    <a:pt x="445" y="204"/>
                  </a:lnTo>
                  <a:cubicBezTo>
                    <a:pt x="385" y="72"/>
                    <a:pt x="385" y="72"/>
                    <a:pt x="385" y="72"/>
                  </a:cubicBezTo>
                  <a:cubicBezTo>
                    <a:pt x="337" y="24"/>
                    <a:pt x="289" y="0"/>
                    <a:pt x="204" y="0"/>
                  </a:cubicBezTo>
                  <a:cubicBezTo>
                    <a:pt x="108" y="0"/>
                    <a:pt x="24" y="48"/>
                    <a:pt x="24" y="156"/>
                  </a:cubicBezTo>
                  <a:cubicBezTo>
                    <a:pt x="0" y="637"/>
                    <a:pt x="0" y="637"/>
                    <a:pt x="0" y="637"/>
                  </a:cubicBezTo>
                  <a:cubicBezTo>
                    <a:pt x="0" y="745"/>
                    <a:pt x="84" y="793"/>
                    <a:pt x="180" y="817"/>
                  </a:cubicBezTo>
                  <a:cubicBezTo>
                    <a:pt x="289" y="817"/>
                    <a:pt x="361" y="745"/>
                    <a:pt x="385" y="661"/>
                  </a:cubicBezTo>
                  <a:cubicBezTo>
                    <a:pt x="385" y="360"/>
                    <a:pt x="385" y="360"/>
                    <a:pt x="385" y="360"/>
                  </a:cubicBezTo>
                  <a:cubicBezTo>
                    <a:pt x="445" y="336"/>
                    <a:pt x="469" y="300"/>
                    <a:pt x="469" y="252"/>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Arial" panose="020B0604020202020204" pitchFamily="34" charset="0"/>
              </a:endParaRPr>
            </a:p>
          </p:txBody>
        </p:sp>
        <p:sp>
          <p:nvSpPr>
            <p:cNvPr id="257" name="Freeform 333">
              <a:extLst>
                <a:ext uri="{FF2B5EF4-FFF2-40B4-BE49-F238E27FC236}">
                  <a16:creationId xmlns:a16="http://schemas.microsoft.com/office/drawing/2014/main" id="{95AA3334-362F-4F30-ABD9-C4415ABB0305}"/>
                </a:ext>
              </a:extLst>
            </p:cNvPr>
            <p:cNvSpPr>
              <a:spLocks noChangeArrowheads="1"/>
            </p:cNvSpPr>
            <p:nvPr/>
          </p:nvSpPr>
          <p:spPr bwMode="auto">
            <a:xfrm>
              <a:off x="8058063" y="5392511"/>
              <a:ext cx="91842" cy="90826"/>
            </a:xfrm>
            <a:custGeom>
              <a:avLst/>
              <a:gdLst>
                <a:gd name="T0" fmla="*/ 469 w 470"/>
                <a:gd name="T1" fmla="*/ 252 h 818"/>
                <a:gd name="T2" fmla="*/ 469 w 470"/>
                <a:gd name="T3" fmla="*/ 252 h 818"/>
                <a:gd name="T4" fmla="*/ 445 w 470"/>
                <a:gd name="T5" fmla="*/ 204 h 818"/>
                <a:gd name="T6" fmla="*/ 445 w 470"/>
                <a:gd name="T7" fmla="*/ 204 h 818"/>
                <a:gd name="T8" fmla="*/ 385 w 470"/>
                <a:gd name="T9" fmla="*/ 72 h 818"/>
                <a:gd name="T10" fmla="*/ 204 w 470"/>
                <a:gd name="T11" fmla="*/ 0 h 818"/>
                <a:gd name="T12" fmla="*/ 24 w 470"/>
                <a:gd name="T13" fmla="*/ 156 h 818"/>
                <a:gd name="T14" fmla="*/ 0 w 470"/>
                <a:gd name="T15" fmla="*/ 637 h 818"/>
                <a:gd name="T16" fmla="*/ 180 w 470"/>
                <a:gd name="T17" fmla="*/ 817 h 818"/>
                <a:gd name="T18" fmla="*/ 385 w 470"/>
                <a:gd name="T19" fmla="*/ 661 h 818"/>
                <a:gd name="T20" fmla="*/ 385 w 470"/>
                <a:gd name="T21" fmla="*/ 360 h 818"/>
                <a:gd name="T22" fmla="*/ 469 w 470"/>
                <a:gd name="T23" fmla="*/ 252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818">
                  <a:moveTo>
                    <a:pt x="469" y="252"/>
                  </a:moveTo>
                  <a:lnTo>
                    <a:pt x="469" y="252"/>
                  </a:lnTo>
                  <a:cubicBezTo>
                    <a:pt x="469" y="252"/>
                    <a:pt x="469" y="228"/>
                    <a:pt x="445" y="204"/>
                  </a:cubicBezTo>
                  <a:lnTo>
                    <a:pt x="445" y="204"/>
                  </a:lnTo>
                  <a:cubicBezTo>
                    <a:pt x="385" y="72"/>
                    <a:pt x="385" y="72"/>
                    <a:pt x="385" y="72"/>
                  </a:cubicBezTo>
                  <a:cubicBezTo>
                    <a:pt x="337" y="24"/>
                    <a:pt x="289" y="0"/>
                    <a:pt x="204" y="0"/>
                  </a:cubicBezTo>
                  <a:cubicBezTo>
                    <a:pt x="108" y="0"/>
                    <a:pt x="24" y="48"/>
                    <a:pt x="24" y="156"/>
                  </a:cubicBezTo>
                  <a:cubicBezTo>
                    <a:pt x="0" y="637"/>
                    <a:pt x="0" y="637"/>
                    <a:pt x="0" y="637"/>
                  </a:cubicBezTo>
                  <a:cubicBezTo>
                    <a:pt x="0" y="745"/>
                    <a:pt x="84" y="793"/>
                    <a:pt x="180" y="817"/>
                  </a:cubicBezTo>
                  <a:cubicBezTo>
                    <a:pt x="289" y="817"/>
                    <a:pt x="361" y="745"/>
                    <a:pt x="385" y="661"/>
                  </a:cubicBezTo>
                  <a:cubicBezTo>
                    <a:pt x="385" y="360"/>
                    <a:pt x="385" y="360"/>
                    <a:pt x="385" y="360"/>
                  </a:cubicBezTo>
                  <a:cubicBezTo>
                    <a:pt x="445" y="336"/>
                    <a:pt x="469" y="300"/>
                    <a:pt x="469" y="252"/>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Arial" panose="020B0604020202020204" pitchFamily="34" charset="0"/>
              </a:endParaRPr>
            </a:p>
          </p:txBody>
        </p:sp>
        <p:grpSp>
          <p:nvGrpSpPr>
            <p:cNvPr id="258" name="Graphic 260" descr="Bus with solid fill">
              <a:extLst>
                <a:ext uri="{FF2B5EF4-FFF2-40B4-BE49-F238E27FC236}">
                  <a16:creationId xmlns:a16="http://schemas.microsoft.com/office/drawing/2014/main" id="{954E7246-FC2F-4D56-AB36-457859D134C6}"/>
                </a:ext>
              </a:extLst>
            </p:cNvPr>
            <p:cNvGrpSpPr/>
            <p:nvPr/>
          </p:nvGrpSpPr>
          <p:grpSpPr>
            <a:xfrm>
              <a:off x="7341833" y="4953609"/>
              <a:ext cx="897600" cy="897600"/>
              <a:chOff x="4309156" y="2175674"/>
              <a:chExt cx="3808715" cy="3808715"/>
            </a:xfrm>
          </p:grpSpPr>
          <p:sp>
            <p:nvSpPr>
              <p:cNvPr id="270" name="Freeform: Shape 269">
                <a:extLst>
                  <a:ext uri="{FF2B5EF4-FFF2-40B4-BE49-F238E27FC236}">
                    <a16:creationId xmlns:a16="http://schemas.microsoft.com/office/drawing/2014/main" id="{EDC1A622-CCAE-46A5-8699-E01EB994F93B}"/>
                  </a:ext>
                </a:extLst>
              </p:cNvPr>
              <p:cNvSpPr/>
              <p:nvPr/>
            </p:nvSpPr>
            <p:spPr>
              <a:xfrm>
                <a:off x="4467852" y="3123885"/>
                <a:ext cx="3491322" cy="1749628"/>
              </a:xfrm>
              <a:custGeom>
                <a:avLst/>
                <a:gdLst>
                  <a:gd name="connsiteX0" fmla="*/ 158696 w 3491322"/>
                  <a:gd name="connsiteY0" fmla="*/ 242012 h 1749628"/>
                  <a:gd name="connsiteX1" fmla="*/ 238045 w 3491322"/>
                  <a:gd name="connsiteY1" fmla="*/ 162664 h 1749628"/>
                  <a:gd name="connsiteX2" fmla="*/ 793482 w 3491322"/>
                  <a:gd name="connsiteY2" fmla="*/ 162664 h 1749628"/>
                  <a:gd name="connsiteX3" fmla="*/ 793482 w 3491322"/>
                  <a:gd name="connsiteY3" fmla="*/ 797450 h 1749628"/>
                  <a:gd name="connsiteX4" fmla="*/ 158696 w 3491322"/>
                  <a:gd name="connsiteY4" fmla="*/ 797450 h 1749628"/>
                  <a:gd name="connsiteX5" fmla="*/ 158696 w 3491322"/>
                  <a:gd name="connsiteY5" fmla="*/ 242012 h 1749628"/>
                  <a:gd name="connsiteX6" fmla="*/ 952179 w 3491322"/>
                  <a:gd name="connsiteY6" fmla="*/ 162664 h 1749628"/>
                  <a:gd name="connsiteX7" fmla="*/ 1586965 w 3491322"/>
                  <a:gd name="connsiteY7" fmla="*/ 162664 h 1749628"/>
                  <a:gd name="connsiteX8" fmla="*/ 1586965 w 3491322"/>
                  <a:gd name="connsiteY8" fmla="*/ 797450 h 1749628"/>
                  <a:gd name="connsiteX9" fmla="*/ 952179 w 3491322"/>
                  <a:gd name="connsiteY9" fmla="*/ 797450 h 1749628"/>
                  <a:gd name="connsiteX10" fmla="*/ 952179 w 3491322"/>
                  <a:gd name="connsiteY10" fmla="*/ 162664 h 1749628"/>
                  <a:gd name="connsiteX11" fmla="*/ 1745661 w 3491322"/>
                  <a:gd name="connsiteY11" fmla="*/ 162664 h 1749628"/>
                  <a:gd name="connsiteX12" fmla="*/ 2380447 w 3491322"/>
                  <a:gd name="connsiteY12" fmla="*/ 162664 h 1749628"/>
                  <a:gd name="connsiteX13" fmla="*/ 2380447 w 3491322"/>
                  <a:gd name="connsiteY13" fmla="*/ 797450 h 1749628"/>
                  <a:gd name="connsiteX14" fmla="*/ 1745661 w 3491322"/>
                  <a:gd name="connsiteY14" fmla="*/ 797450 h 1749628"/>
                  <a:gd name="connsiteX15" fmla="*/ 1745661 w 3491322"/>
                  <a:gd name="connsiteY15" fmla="*/ 162664 h 1749628"/>
                  <a:gd name="connsiteX16" fmla="*/ 2539143 w 3491322"/>
                  <a:gd name="connsiteY16" fmla="*/ 162664 h 1749628"/>
                  <a:gd name="connsiteX17" fmla="*/ 3066809 w 3491322"/>
                  <a:gd name="connsiteY17" fmla="*/ 162664 h 1749628"/>
                  <a:gd name="connsiteX18" fmla="*/ 3221538 w 3491322"/>
                  <a:gd name="connsiteY18" fmla="*/ 293588 h 1749628"/>
                  <a:gd name="connsiteX19" fmla="*/ 3312789 w 3491322"/>
                  <a:gd name="connsiteY19" fmla="*/ 856961 h 1749628"/>
                  <a:gd name="connsiteX20" fmla="*/ 3328658 w 3491322"/>
                  <a:gd name="connsiteY20" fmla="*/ 1035494 h 1749628"/>
                  <a:gd name="connsiteX21" fmla="*/ 2777188 w 3491322"/>
                  <a:gd name="connsiteY21" fmla="*/ 1035494 h 1749628"/>
                  <a:gd name="connsiteX22" fmla="*/ 2539143 w 3491322"/>
                  <a:gd name="connsiteY22" fmla="*/ 797450 h 1749628"/>
                  <a:gd name="connsiteX23" fmla="*/ 2539143 w 3491322"/>
                  <a:gd name="connsiteY23" fmla="*/ 162664 h 1749628"/>
                  <a:gd name="connsiteX24" fmla="*/ 0 w 3491322"/>
                  <a:gd name="connsiteY24" fmla="*/ 162664 h 1749628"/>
                  <a:gd name="connsiteX25" fmla="*/ 0 w 3491322"/>
                  <a:gd name="connsiteY25" fmla="*/ 1590932 h 1749628"/>
                  <a:gd name="connsiteX26" fmla="*/ 158696 w 3491322"/>
                  <a:gd name="connsiteY26" fmla="*/ 1749629 h 1749628"/>
                  <a:gd name="connsiteX27" fmla="*/ 166631 w 3491322"/>
                  <a:gd name="connsiteY27" fmla="*/ 1749629 h 1749628"/>
                  <a:gd name="connsiteX28" fmla="*/ 158696 w 3491322"/>
                  <a:gd name="connsiteY28" fmla="*/ 1670280 h 1749628"/>
                  <a:gd name="connsiteX29" fmla="*/ 555438 w 3491322"/>
                  <a:gd name="connsiteY29" fmla="*/ 1273539 h 1749628"/>
                  <a:gd name="connsiteX30" fmla="*/ 952179 w 3491322"/>
                  <a:gd name="connsiteY30" fmla="*/ 1670280 h 1749628"/>
                  <a:gd name="connsiteX31" fmla="*/ 944244 w 3491322"/>
                  <a:gd name="connsiteY31" fmla="*/ 1749629 h 1749628"/>
                  <a:gd name="connsiteX32" fmla="*/ 2388382 w 3491322"/>
                  <a:gd name="connsiteY32" fmla="*/ 1749629 h 1749628"/>
                  <a:gd name="connsiteX33" fmla="*/ 2380447 w 3491322"/>
                  <a:gd name="connsiteY33" fmla="*/ 1670280 h 1749628"/>
                  <a:gd name="connsiteX34" fmla="*/ 2777188 w 3491322"/>
                  <a:gd name="connsiteY34" fmla="*/ 1273539 h 1749628"/>
                  <a:gd name="connsiteX35" fmla="*/ 3173929 w 3491322"/>
                  <a:gd name="connsiteY35" fmla="*/ 1670280 h 1749628"/>
                  <a:gd name="connsiteX36" fmla="*/ 3165995 w 3491322"/>
                  <a:gd name="connsiteY36" fmla="*/ 1749629 h 1749628"/>
                  <a:gd name="connsiteX37" fmla="*/ 3332626 w 3491322"/>
                  <a:gd name="connsiteY37" fmla="*/ 1749629 h 1749628"/>
                  <a:gd name="connsiteX38" fmla="*/ 3491322 w 3491322"/>
                  <a:gd name="connsiteY38" fmla="*/ 1590932 h 1749628"/>
                  <a:gd name="connsiteX39" fmla="*/ 3491322 w 3491322"/>
                  <a:gd name="connsiteY39" fmla="*/ 1083103 h 1749628"/>
                  <a:gd name="connsiteX40" fmla="*/ 3471485 w 3491322"/>
                  <a:gd name="connsiteY40" fmla="*/ 829189 h 1749628"/>
                  <a:gd name="connsiteX41" fmla="*/ 3380235 w 3491322"/>
                  <a:gd name="connsiteY41" fmla="*/ 261849 h 1749628"/>
                  <a:gd name="connsiteX42" fmla="*/ 3066809 w 3491322"/>
                  <a:gd name="connsiteY42" fmla="*/ 0 h 1749628"/>
                  <a:gd name="connsiteX43" fmla="*/ 158696 w 3491322"/>
                  <a:gd name="connsiteY43" fmla="*/ 0 h 1749628"/>
                  <a:gd name="connsiteX44" fmla="*/ 0 w 3491322"/>
                  <a:gd name="connsiteY44" fmla="*/ 162664 h 1749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491322" h="1749628">
                    <a:moveTo>
                      <a:pt x="158696" y="242012"/>
                    </a:moveTo>
                    <a:cubicBezTo>
                      <a:pt x="158696" y="198371"/>
                      <a:pt x="194403" y="162664"/>
                      <a:pt x="238045" y="162664"/>
                    </a:cubicBezTo>
                    <a:lnTo>
                      <a:pt x="793482" y="162664"/>
                    </a:lnTo>
                    <a:lnTo>
                      <a:pt x="793482" y="797450"/>
                    </a:lnTo>
                    <a:lnTo>
                      <a:pt x="158696" y="797450"/>
                    </a:lnTo>
                    <a:lnTo>
                      <a:pt x="158696" y="242012"/>
                    </a:lnTo>
                    <a:close/>
                    <a:moveTo>
                      <a:pt x="952179" y="162664"/>
                    </a:moveTo>
                    <a:lnTo>
                      <a:pt x="1586965" y="162664"/>
                    </a:lnTo>
                    <a:lnTo>
                      <a:pt x="1586965" y="797450"/>
                    </a:lnTo>
                    <a:lnTo>
                      <a:pt x="952179" y="797450"/>
                    </a:lnTo>
                    <a:lnTo>
                      <a:pt x="952179" y="162664"/>
                    </a:lnTo>
                    <a:close/>
                    <a:moveTo>
                      <a:pt x="1745661" y="162664"/>
                    </a:moveTo>
                    <a:lnTo>
                      <a:pt x="2380447" y="162664"/>
                    </a:lnTo>
                    <a:lnTo>
                      <a:pt x="2380447" y="797450"/>
                    </a:lnTo>
                    <a:lnTo>
                      <a:pt x="1745661" y="797450"/>
                    </a:lnTo>
                    <a:lnTo>
                      <a:pt x="1745661" y="162664"/>
                    </a:lnTo>
                    <a:close/>
                    <a:moveTo>
                      <a:pt x="2539143" y="162664"/>
                    </a:moveTo>
                    <a:lnTo>
                      <a:pt x="3066809" y="162664"/>
                    </a:lnTo>
                    <a:cubicBezTo>
                      <a:pt x="3142190" y="162664"/>
                      <a:pt x="3209636" y="218208"/>
                      <a:pt x="3221538" y="293588"/>
                    </a:cubicBezTo>
                    <a:lnTo>
                      <a:pt x="3312789" y="856961"/>
                    </a:lnTo>
                    <a:cubicBezTo>
                      <a:pt x="3320723" y="916472"/>
                      <a:pt x="3328658" y="975983"/>
                      <a:pt x="3328658" y="1035494"/>
                    </a:cubicBezTo>
                    <a:lnTo>
                      <a:pt x="2777188" y="1035494"/>
                    </a:lnTo>
                    <a:lnTo>
                      <a:pt x="2539143" y="797450"/>
                    </a:lnTo>
                    <a:lnTo>
                      <a:pt x="2539143" y="162664"/>
                    </a:lnTo>
                    <a:close/>
                    <a:moveTo>
                      <a:pt x="0" y="162664"/>
                    </a:moveTo>
                    <a:lnTo>
                      <a:pt x="0" y="1590932"/>
                    </a:lnTo>
                    <a:cubicBezTo>
                      <a:pt x="0" y="1678215"/>
                      <a:pt x="71413" y="1749629"/>
                      <a:pt x="158696" y="1749629"/>
                    </a:cubicBezTo>
                    <a:lnTo>
                      <a:pt x="166631" y="1749629"/>
                    </a:lnTo>
                    <a:cubicBezTo>
                      <a:pt x="162664" y="1725824"/>
                      <a:pt x="158696" y="1698052"/>
                      <a:pt x="158696" y="1670280"/>
                    </a:cubicBezTo>
                    <a:cubicBezTo>
                      <a:pt x="158696" y="1452073"/>
                      <a:pt x="337230" y="1273539"/>
                      <a:pt x="555438" y="1273539"/>
                    </a:cubicBezTo>
                    <a:cubicBezTo>
                      <a:pt x="773645" y="1273539"/>
                      <a:pt x="952179" y="1452073"/>
                      <a:pt x="952179" y="1670280"/>
                    </a:cubicBezTo>
                    <a:cubicBezTo>
                      <a:pt x="952179" y="1698052"/>
                      <a:pt x="948211" y="1725824"/>
                      <a:pt x="944244" y="1749629"/>
                    </a:cubicBezTo>
                    <a:lnTo>
                      <a:pt x="2388382" y="1749629"/>
                    </a:lnTo>
                    <a:cubicBezTo>
                      <a:pt x="2384414" y="1725824"/>
                      <a:pt x="2380447" y="1698052"/>
                      <a:pt x="2380447" y="1670280"/>
                    </a:cubicBezTo>
                    <a:cubicBezTo>
                      <a:pt x="2380447" y="1452073"/>
                      <a:pt x="2558981" y="1273539"/>
                      <a:pt x="2777188" y="1273539"/>
                    </a:cubicBezTo>
                    <a:cubicBezTo>
                      <a:pt x="2995396" y="1273539"/>
                      <a:pt x="3173929" y="1452073"/>
                      <a:pt x="3173929" y="1670280"/>
                    </a:cubicBezTo>
                    <a:cubicBezTo>
                      <a:pt x="3173929" y="1698052"/>
                      <a:pt x="3169962" y="1725824"/>
                      <a:pt x="3165995" y="1749629"/>
                    </a:cubicBezTo>
                    <a:lnTo>
                      <a:pt x="3332626" y="1749629"/>
                    </a:lnTo>
                    <a:cubicBezTo>
                      <a:pt x="3419909" y="1749629"/>
                      <a:pt x="3491322" y="1678215"/>
                      <a:pt x="3491322" y="1590932"/>
                    </a:cubicBezTo>
                    <a:lnTo>
                      <a:pt x="3491322" y="1083103"/>
                    </a:lnTo>
                    <a:cubicBezTo>
                      <a:pt x="3491322" y="999788"/>
                      <a:pt x="3483388" y="912505"/>
                      <a:pt x="3471485" y="829189"/>
                    </a:cubicBezTo>
                    <a:lnTo>
                      <a:pt x="3380235" y="261849"/>
                    </a:lnTo>
                    <a:cubicBezTo>
                      <a:pt x="3352463" y="111088"/>
                      <a:pt x="3221538" y="0"/>
                      <a:pt x="3066809" y="0"/>
                    </a:cubicBezTo>
                    <a:lnTo>
                      <a:pt x="158696" y="0"/>
                    </a:lnTo>
                    <a:cubicBezTo>
                      <a:pt x="71413" y="3967"/>
                      <a:pt x="0" y="75381"/>
                      <a:pt x="0" y="162664"/>
                    </a:cubicBezTo>
                    <a:close/>
                  </a:path>
                </a:pathLst>
              </a:custGeom>
              <a:solidFill>
                <a:srgbClr val="000000"/>
              </a:solidFill>
              <a:ln w="39588" cap="flat">
                <a:noFill/>
                <a:prstDash val="solid"/>
                <a:miter/>
              </a:ln>
            </p:spPr>
            <p:txBody>
              <a:bodyPr rtlCol="0" anchor="ctr"/>
              <a:lstStyle/>
              <a:p>
                <a:endParaRPr lang="nl-NL"/>
              </a:p>
            </p:txBody>
          </p:sp>
          <p:sp>
            <p:nvSpPr>
              <p:cNvPr id="271" name="Freeform: Shape 270">
                <a:extLst>
                  <a:ext uri="{FF2B5EF4-FFF2-40B4-BE49-F238E27FC236}">
                    <a16:creationId xmlns:a16="http://schemas.microsoft.com/office/drawing/2014/main" id="{3E4C7808-948F-43E3-95ED-6C03CB41E294}"/>
                  </a:ext>
                </a:extLst>
              </p:cNvPr>
              <p:cNvSpPr/>
              <p:nvPr/>
            </p:nvSpPr>
            <p:spPr>
              <a:xfrm>
                <a:off x="6967321" y="4516446"/>
                <a:ext cx="555437" cy="555437"/>
              </a:xfrm>
              <a:custGeom>
                <a:avLst/>
                <a:gdLst>
                  <a:gd name="connsiteX0" fmla="*/ 555438 w 555437"/>
                  <a:gd name="connsiteY0" fmla="*/ 277719 h 555437"/>
                  <a:gd name="connsiteX1" fmla="*/ 277719 w 555437"/>
                  <a:gd name="connsiteY1" fmla="*/ 555438 h 555437"/>
                  <a:gd name="connsiteX2" fmla="*/ 0 w 555437"/>
                  <a:gd name="connsiteY2" fmla="*/ 277719 h 555437"/>
                  <a:gd name="connsiteX3" fmla="*/ 277719 w 555437"/>
                  <a:gd name="connsiteY3" fmla="*/ 0 h 555437"/>
                  <a:gd name="connsiteX4" fmla="*/ 555438 w 555437"/>
                  <a:gd name="connsiteY4" fmla="*/ 277719 h 555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437" h="555437">
                    <a:moveTo>
                      <a:pt x="555438" y="277719"/>
                    </a:moveTo>
                    <a:cubicBezTo>
                      <a:pt x="555438" y="431099"/>
                      <a:pt x="431099" y="555438"/>
                      <a:pt x="277719" y="555438"/>
                    </a:cubicBezTo>
                    <a:cubicBezTo>
                      <a:pt x="124339" y="555438"/>
                      <a:pt x="0" y="431099"/>
                      <a:pt x="0" y="277719"/>
                    </a:cubicBezTo>
                    <a:cubicBezTo>
                      <a:pt x="0" y="124339"/>
                      <a:pt x="124339" y="0"/>
                      <a:pt x="277719" y="0"/>
                    </a:cubicBezTo>
                    <a:cubicBezTo>
                      <a:pt x="431099" y="0"/>
                      <a:pt x="555438" y="124339"/>
                      <a:pt x="555438" y="277719"/>
                    </a:cubicBezTo>
                    <a:close/>
                  </a:path>
                </a:pathLst>
              </a:custGeom>
              <a:solidFill>
                <a:srgbClr val="000000"/>
              </a:solidFill>
              <a:ln w="39588" cap="flat">
                <a:noFill/>
                <a:prstDash val="solid"/>
                <a:miter/>
              </a:ln>
            </p:spPr>
            <p:txBody>
              <a:bodyPr rtlCol="0" anchor="ctr"/>
              <a:lstStyle/>
              <a:p>
                <a:endParaRPr lang="nl-NL"/>
              </a:p>
            </p:txBody>
          </p:sp>
          <p:sp>
            <p:nvSpPr>
              <p:cNvPr id="272" name="Freeform: Shape 271">
                <a:extLst>
                  <a:ext uri="{FF2B5EF4-FFF2-40B4-BE49-F238E27FC236}">
                    <a16:creationId xmlns:a16="http://schemas.microsoft.com/office/drawing/2014/main" id="{E6C8615D-E50F-4BC6-8017-C75ACA74BBF8}"/>
                  </a:ext>
                </a:extLst>
              </p:cNvPr>
              <p:cNvSpPr/>
              <p:nvPr/>
            </p:nvSpPr>
            <p:spPr>
              <a:xfrm>
                <a:off x="4745571" y="4516446"/>
                <a:ext cx="555437" cy="555437"/>
              </a:xfrm>
              <a:custGeom>
                <a:avLst/>
                <a:gdLst>
                  <a:gd name="connsiteX0" fmla="*/ 555438 w 555437"/>
                  <a:gd name="connsiteY0" fmla="*/ 277719 h 555437"/>
                  <a:gd name="connsiteX1" fmla="*/ 277719 w 555437"/>
                  <a:gd name="connsiteY1" fmla="*/ 555438 h 555437"/>
                  <a:gd name="connsiteX2" fmla="*/ 0 w 555437"/>
                  <a:gd name="connsiteY2" fmla="*/ 277719 h 555437"/>
                  <a:gd name="connsiteX3" fmla="*/ 277719 w 555437"/>
                  <a:gd name="connsiteY3" fmla="*/ 0 h 555437"/>
                  <a:gd name="connsiteX4" fmla="*/ 555438 w 555437"/>
                  <a:gd name="connsiteY4" fmla="*/ 277719 h 555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437" h="555437">
                    <a:moveTo>
                      <a:pt x="555438" y="277719"/>
                    </a:moveTo>
                    <a:cubicBezTo>
                      <a:pt x="555438" y="431099"/>
                      <a:pt x="431099" y="555438"/>
                      <a:pt x="277719" y="555438"/>
                    </a:cubicBezTo>
                    <a:cubicBezTo>
                      <a:pt x="124339" y="555438"/>
                      <a:pt x="0" y="431099"/>
                      <a:pt x="0" y="277719"/>
                    </a:cubicBezTo>
                    <a:cubicBezTo>
                      <a:pt x="0" y="124339"/>
                      <a:pt x="124339" y="0"/>
                      <a:pt x="277719" y="0"/>
                    </a:cubicBezTo>
                    <a:cubicBezTo>
                      <a:pt x="431099" y="0"/>
                      <a:pt x="555438" y="124339"/>
                      <a:pt x="555438" y="277719"/>
                    </a:cubicBezTo>
                    <a:close/>
                  </a:path>
                </a:pathLst>
              </a:custGeom>
              <a:solidFill>
                <a:srgbClr val="000000"/>
              </a:solidFill>
              <a:ln w="39588" cap="flat">
                <a:noFill/>
                <a:prstDash val="solid"/>
                <a:miter/>
              </a:ln>
            </p:spPr>
            <p:txBody>
              <a:bodyPr rtlCol="0" anchor="ctr"/>
              <a:lstStyle/>
              <a:p>
                <a:endParaRPr lang="nl-NL"/>
              </a:p>
            </p:txBody>
          </p:sp>
        </p:grpSp>
        <p:sp>
          <p:nvSpPr>
            <p:cNvPr id="259" name="Freeform 332">
              <a:extLst>
                <a:ext uri="{FF2B5EF4-FFF2-40B4-BE49-F238E27FC236}">
                  <a16:creationId xmlns:a16="http://schemas.microsoft.com/office/drawing/2014/main" id="{89631899-980C-46BE-9448-359FBE214855}"/>
                </a:ext>
              </a:extLst>
            </p:cNvPr>
            <p:cNvSpPr>
              <a:spLocks noChangeArrowheads="1"/>
            </p:cNvSpPr>
            <p:nvPr/>
          </p:nvSpPr>
          <p:spPr bwMode="auto">
            <a:xfrm>
              <a:off x="8060663" y="5316396"/>
              <a:ext cx="70383" cy="71741"/>
            </a:xfrm>
            <a:custGeom>
              <a:avLst/>
              <a:gdLst>
                <a:gd name="T0" fmla="*/ 180 w 362"/>
                <a:gd name="T1" fmla="*/ 0 h 361"/>
                <a:gd name="T2" fmla="*/ 180 w 362"/>
                <a:gd name="T3" fmla="*/ 0 h 361"/>
                <a:gd name="T4" fmla="*/ 0 w 362"/>
                <a:gd name="T5" fmla="*/ 180 h 361"/>
                <a:gd name="T6" fmla="*/ 180 w 362"/>
                <a:gd name="T7" fmla="*/ 360 h 361"/>
                <a:gd name="T8" fmla="*/ 361 w 362"/>
                <a:gd name="T9" fmla="*/ 180 h 361"/>
                <a:gd name="T10" fmla="*/ 180 w 362"/>
                <a:gd name="T11" fmla="*/ 0 h 361"/>
              </a:gdLst>
              <a:ahLst/>
              <a:cxnLst>
                <a:cxn ang="0">
                  <a:pos x="T0" y="T1"/>
                </a:cxn>
                <a:cxn ang="0">
                  <a:pos x="T2" y="T3"/>
                </a:cxn>
                <a:cxn ang="0">
                  <a:pos x="T4" y="T5"/>
                </a:cxn>
                <a:cxn ang="0">
                  <a:pos x="T6" y="T7"/>
                </a:cxn>
                <a:cxn ang="0">
                  <a:pos x="T8" y="T9"/>
                </a:cxn>
                <a:cxn ang="0">
                  <a:pos x="T10" y="T11"/>
                </a:cxn>
              </a:cxnLst>
              <a:rect l="0" t="0" r="r" b="b"/>
              <a:pathLst>
                <a:path w="362" h="361">
                  <a:moveTo>
                    <a:pt x="180" y="0"/>
                  </a:moveTo>
                  <a:lnTo>
                    <a:pt x="180" y="0"/>
                  </a:lnTo>
                  <a:cubicBezTo>
                    <a:pt x="84" y="0"/>
                    <a:pt x="0" y="72"/>
                    <a:pt x="0" y="180"/>
                  </a:cubicBezTo>
                  <a:cubicBezTo>
                    <a:pt x="0" y="276"/>
                    <a:pt x="84" y="360"/>
                    <a:pt x="180" y="360"/>
                  </a:cubicBezTo>
                  <a:cubicBezTo>
                    <a:pt x="265" y="360"/>
                    <a:pt x="337" y="276"/>
                    <a:pt x="361" y="180"/>
                  </a:cubicBezTo>
                  <a:cubicBezTo>
                    <a:pt x="361" y="96"/>
                    <a:pt x="289" y="24"/>
                    <a:pt x="180"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Arial" panose="020B0604020202020204" pitchFamily="34" charset="0"/>
              </a:endParaRPr>
            </a:p>
          </p:txBody>
        </p:sp>
        <p:sp>
          <p:nvSpPr>
            <p:cNvPr id="260" name="Freeform 1">
              <a:extLst>
                <a:ext uri="{FF2B5EF4-FFF2-40B4-BE49-F238E27FC236}">
                  <a16:creationId xmlns:a16="http://schemas.microsoft.com/office/drawing/2014/main" id="{17932FB0-F7B7-40B1-A776-5F9A8AA1DF44}"/>
                </a:ext>
              </a:extLst>
            </p:cNvPr>
            <p:cNvSpPr>
              <a:spLocks noChangeArrowheads="1"/>
            </p:cNvSpPr>
            <p:nvPr/>
          </p:nvSpPr>
          <p:spPr bwMode="auto">
            <a:xfrm>
              <a:off x="7807019" y="5251211"/>
              <a:ext cx="70383" cy="77421"/>
            </a:xfrm>
            <a:custGeom>
              <a:avLst/>
              <a:gdLst>
                <a:gd name="T0" fmla="*/ 1062 w 1251"/>
                <a:gd name="T1" fmla="*/ 188 h 1033"/>
                <a:gd name="T2" fmla="*/ 1062 w 1251"/>
                <a:gd name="T3" fmla="*/ 188 h 1033"/>
                <a:gd name="T4" fmla="*/ 499 w 1251"/>
                <a:gd name="T5" fmla="*/ 94 h 1033"/>
                <a:gd name="T6" fmla="*/ 281 w 1251"/>
                <a:gd name="T7" fmla="*/ 0 h 1033"/>
                <a:gd name="T8" fmla="*/ 0 w 1251"/>
                <a:gd name="T9" fmla="*/ 282 h 1033"/>
                <a:gd name="T10" fmla="*/ 250 w 1251"/>
                <a:gd name="T11" fmla="*/ 532 h 1033"/>
                <a:gd name="T12" fmla="*/ 375 w 1251"/>
                <a:gd name="T13" fmla="*/ 844 h 1033"/>
                <a:gd name="T14" fmla="*/ 1062 w 1251"/>
                <a:gd name="T15" fmla="*/ 844 h 1033"/>
                <a:gd name="T16" fmla="*/ 1062 w 1251"/>
                <a:gd name="T17" fmla="*/ 188 h 1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1" h="1033">
                  <a:moveTo>
                    <a:pt x="1062" y="188"/>
                  </a:moveTo>
                  <a:lnTo>
                    <a:pt x="1062" y="188"/>
                  </a:lnTo>
                  <a:cubicBezTo>
                    <a:pt x="906" y="32"/>
                    <a:pt x="687" y="0"/>
                    <a:pt x="499" y="94"/>
                  </a:cubicBezTo>
                  <a:cubicBezTo>
                    <a:pt x="437" y="32"/>
                    <a:pt x="375" y="0"/>
                    <a:pt x="281" y="0"/>
                  </a:cubicBezTo>
                  <a:cubicBezTo>
                    <a:pt x="125" y="0"/>
                    <a:pt x="0" y="126"/>
                    <a:pt x="0" y="282"/>
                  </a:cubicBezTo>
                  <a:cubicBezTo>
                    <a:pt x="0" y="407"/>
                    <a:pt x="125" y="532"/>
                    <a:pt x="250" y="532"/>
                  </a:cubicBezTo>
                  <a:cubicBezTo>
                    <a:pt x="250" y="657"/>
                    <a:pt x="312" y="751"/>
                    <a:pt x="375" y="844"/>
                  </a:cubicBezTo>
                  <a:cubicBezTo>
                    <a:pt x="562" y="1032"/>
                    <a:pt x="875" y="1032"/>
                    <a:pt x="1062" y="844"/>
                  </a:cubicBezTo>
                  <a:cubicBezTo>
                    <a:pt x="1250" y="657"/>
                    <a:pt x="1250" y="376"/>
                    <a:pt x="1062" y="188"/>
                  </a:cubicBezTo>
                </a:path>
              </a:pathLst>
            </a:custGeom>
            <a:solidFill>
              <a:srgbClr val="22777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nl-NL" dirty="0"/>
            </a:p>
          </p:txBody>
        </p:sp>
        <p:grpSp>
          <p:nvGrpSpPr>
            <p:cNvPr id="261" name="Group 260">
              <a:extLst>
                <a:ext uri="{FF2B5EF4-FFF2-40B4-BE49-F238E27FC236}">
                  <a16:creationId xmlns:a16="http://schemas.microsoft.com/office/drawing/2014/main" id="{7256B84D-B797-431D-9231-18568EF25048}"/>
                </a:ext>
              </a:extLst>
            </p:cNvPr>
            <p:cNvGrpSpPr/>
            <p:nvPr/>
          </p:nvGrpSpPr>
          <p:grpSpPr>
            <a:xfrm>
              <a:off x="7606056" y="5272126"/>
              <a:ext cx="111254" cy="141641"/>
              <a:chOff x="5945860" y="2075620"/>
              <a:chExt cx="468164" cy="596036"/>
            </a:xfrm>
          </p:grpSpPr>
          <p:pic>
            <p:nvPicPr>
              <p:cNvPr id="267" name="Graphic 266" descr="Moustache with solid fill">
                <a:extLst>
                  <a:ext uri="{FF2B5EF4-FFF2-40B4-BE49-F238E27FC236}">
                    <a16:creationId xmlns:a16="http://schemas.microsoft.com/office/drawing/2014/main" id="{05F14091-50C4-44F8-A845-3BEF2C0AC495}"/>
                  </a:ext>
                </a:extLst>
              </p:cNvPr>
              <p:cNvPicPr>
                <a:picLocks noChangeAspect="1"/>
              </p:cNvPicPr>
              <p:nvPr/>
            </p:nvPicPr>
            <p:blipFill rotWithShape="1">
              <a:blip r:embed="rId34" cstate="print">
                <a:extLst>
                  <a:ext uri="{28A0092B-C50C-407E-A947-70E740481C1C}">
                    <a14:useLocalDpi xmlns:a14="http://schemas.microsoft.com/office/drawing/2010/main"/>
                  </a:ext>
                  <a:ext uri="{96DAC541-7B7A-43D3-8B79-37D633B846F1}">
                    <asvg:svgBlip xmlns:asvg="http://schemas.microsoft.com/office/drawing/2016/SVG/main" r:embed="rId35"/>
                  </a:ext>
                </a:extLst>
              </a:blip>
              <a:srcRect r="48063"/>
              <a:stretch/>
            </p:blipFill>
            <p:spPr>
              <a:xfrm rot="19111111">
                <a:off x="5945860" y="2075620"/>
                <a:ext cx="309564" cy="596036"/>
              </a:xfrm>
              <a:prstGeom prst="rect">
                <a:avLst/>
              </a:prstGeom>
            </p:spPr>
          </p:pic>
          <p:sp>
            <p:nvSpPr>
              <p:cNvPr id="268" name="Freeform: Shape 267">
                <a:extLst>
                  <a:ext uri="{FF2B5EF4-FFF2-40B4-BE49-F238E27FC236}">
                    <a16:creationId xmlns:a16="http://schemas.microsoft.com/office/drawing/2014/main" id="{C125B546-1B33-40B5-90FC-A06D82CC1636}"/>
                  </a:ext>
                </a:extLst>
              </p:cNvPr>
              <p:cNvSpPr/>
              <p:nvPr/>
            </p:nvSpPr>
            <p:spPr>
              <a:xfrm>
                <a:off x="6205267" y="2250566"/>
                <a:ext cx="208757" cy="208757"/>
              </a:xfrm>
              <a:custGeom>
                <a:avLst/>
                <a:gdLst>
                  <a:gd name="connsiteX0" fmla="*/ 97868 w 97868"/>
                  <a:gd name="connsiteY0" fmla="*/ 48934 h 97868"/>
                  <a:gd name="connsiteX1" fmla="*/ 48934 w 97868"/>
                  <a:gd name="connsiteY1" fmla="*/ 97868 h 97868"/>
                  <a:gd name="connsiteX2" fmla="*/ 0 w 97868"/>
                  <a:gd name="connsiteY2" fmla="*/ 48934 h 97868"/>
                  <a:gd name="connsiteX3" fmla="*/ 48934 w 97868"/>
                  <a:gd name="connsiteY3" fmla="*/ 0 h 97868"/>
                  <a:gd name="connsiteX4" fmla="*/ 97868 w 97868"/>
                  <a:gd name="connsiteY4" fmla="*/ 48934 h 9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868" h="97868">
                    <a:moveTo>
                      <a:pt x="97868" y="48934"/>
                    </a:moveTo>
                    <a:cubicBezTo>
                      <a:pt x="97868" y="75960"/>
                      <a:pt x="75960" y="97868"/>
                      <a:pt x="48934" y="97868"/>
                    </a:cubicBezTo>
                    <a:cubicBezTo>
                      <a:pt x="21909" y="97868"/>
                      <a:pt x="0" y="75960"/>
                      <a:pt x="0" y="48934"/>
                    </a:cubicBezTo>
                    <a:cubicBezTo>
                      <a:pt x="0" y="21909"/>
                      <a:pt x="21909" y="0"/>
                      <a:pt x="48934" y="0"/>
                    </a:cubicBezTo>
                    <a:cubicBezTo>
                      <a:pt x="75960" y="0"/>
                      <a:pt x="97868" y="21909"/>
                      <a:pt x="97868" y="48934"/>
                    </a:cubicBezTo>
                    <a:close/>
                  </a:path>
                </a:pathLst>
              </a:custGeom>
              <a:solidFill>
                <a:srgbClr val="22777B"/>
              </a:solidFill>
              <a:ln w="6052" cap="flat">
                <a:noFill/>
                <a:prstDash val="solid"/>
                <a:miter/>
              </a:ln>
            </p:spPr>
            <p:txBody>
              <a:bodyPr rtlCol="0" anchor="ctr"/>
              <a:lstStyle/>
              <a:p>
                <a:endParaRPr lang="nl-NL" dirty="0"/>
              </a:p>
            </p:txBody>
          </p:sp>
          <p:sp>
            <p:nvSpPr>
              <p:cNvPr id="269" name="Rectangle 268">
                <a:extLst>
                  <a:ext uri="{FF2B5EF4-FFF2-40B4-BE49-F238E27FC236}">
                    <a16:creationId xmlns:a16="http://schemas.microsoft.com/office/drawing/2014/main" id="{03D01D3E-3D25-4B01-914E-7C0231216778}"/>
                  </a:ext>
                </a:extLst>
              </p:cNvPr>
              <p:cNvSpPr/>
              <p:nvPr/>
            </p:nvSpPr>
            <p:spPr>
              <a:xfrm rot="6484563">
                <a:off x="6195524" y="2243886"/>
                <a:ext cx="61340" cy="83313"/>
              </a:xfrm>
              <a:prstGeom prst="rect">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pSp>
        <p:grpSp>
          <p:nvGrpSpPr>
            <p:cNvPr id="262" name="Group 261">
              <a:extLst>
                <a:ext uri="{FF2B5EF4-FFF2-40B4-BE49-F238E27FC236}">
                  <a16:creationId xmlns:a16="http://schemas.microsoft.com/office/drawing/2014/main" id="{F5A8C728-42E6-48E0-9C40-0FE6A341C910}"/>
                </a:ext>
              </a:extLst>
            </p:cNvPr>
            <p:cNvGrpSpPr/>
            <p:nvPr/>
          </p:nvGrpSpPr>
          <p:grpSpPr>
            <a:xfrm rot="20542492">
              <a:off x="7434875" y="5260026"/>
              <a:ext cx="102352" cy="102352"/>
              <a:chOff x="6237533" y="2490598"/>
              <a:chExt cx="434301" cy="434301"/>
            </a:xfrm>
          </p:grpSpPr>
          <p:sp>
            <p:nvSpPr>
              <p:cNvPr id="265" name="Freeform 332">
                <a:extLst>
                  <a:ext uri="{FF2B5EF4-FFF2-40B4-BE49-F238E27FC236}">
                    <a16:creationId xmlns:a16="http://schemas.microsoft.com/office/drawing/2014/main" id="{3EE1B673-6100-4CEF-842E-E0579D98B183}"/>
                  </a:ext>
                </a:extLst>
              </p:cNvPr>
              <p:cNvSpPr>
                <a:spLocks noChangeArrowheads="1"/>
              </p:cNvSpPr>
              <p:nvPr/>
            </p:nvSpPr>
            <p:spPr bwMode="auto">
              <a:xfrm>
                <a:off x="6268013" y="2618932"/>
                <a:ext cx="298651" cy="304413"/>
              </a:xfrm>
              <a:custGeom>
                <a:avLst/>
                <a:gdLst>
                  <a:gd name="T0" fmla="*/ 180 w 362"/>
                  <a:gd name="T1" fmla="*/ 0 h 361"/>
                  <a:gd name="T2" fmla="*/ 180 w 362"/>
                  <a:gd name="T3" fmla="*/ 0 h 361"/>
                  <a:gd name="T4" fmla="*/ 0 w 362"/>
                  <a:gd name="T5" fmla="*/ 180 h 361"/>
                  <a:gd name="T6" fmla="*/ 180 w 362"/>
                  <a:gd name="T7" fmla="*/ 360 h 361"/>
                  <a:gd name="T8" fmla="*/ 361 w 362"/>
                  <a:gd name="T9" fmla="*/ 180 h 361"/>
                  <a:gd name="T10" fmla="*/ 180 w 362"/>
                  <a:gd name="T11" fmla="*/ 0 h 361"/>
                </a:gdLst>
                <a:ahLst/>
                <a:cxnLst>
                  <a:cxn ang="0">
                    <a:pos x="T0" y="T1"/>
                  </a:cxn>
                  <a:cxn ang="0">
                    <a:pos x="T2" y="T3"/>
                  </a:cxn>
                  <a:cxn ang="0">
                    <a:pos x="T4" y="T5"/>
                  </a:cxn>
                  <a:cxn ang="0">
                    <a:pos x="T6" y="T7"/>
                  </a:cxn>
                  <a:cxn ang="0">
                    <a:pos x="T8" y="T9"/>
                  </a:cxn>
                  <a:cxn ang="0">
                    <a:pos x="T10" y="T11"/>
                  </a:cxn>
                </a:cxnLst>
                <a:rect l="0" t="0" r="r" b="b"/>
                <a:pathLst>
                  <a:path w="362" h="361">
                    <a:moveTo>
                      <a:pt x="180" y="0"/>
                    </a:moveTo>
                    <a:lnTo>
                      <a:pt x="180" y="0"/>
                    </a:lnTo>
                    <a:cubicBezTo>
                      <a:pt x="84" y="0"/>
                      <a:pt x="0" y="72"/>
                      <a:pt x="0" y="180"/>
                    </a:cubicBezTo>
                    <a:cubicBezTo>
                      <a:pt x="0" y="276"/>
                      <a:pt x="84" y="360"/>
                      <a:pt x="180" y="360"/>
                    </a:cubicBezTo>
                    <a:cubicBezTo>
                      <a:pt x="265" y="360"/>
                      <a:pt x="337" y="276"/>
                      <a:pt x="361" y="180"/>
                    </a:cubicBezTo>
                    <a:cubicBezTo>
                      <a:pt x="361" y="96"/>
                      <a:pt x="289" y="24"/>
                      <a:pt x="180"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Arial" panose="020B0604020202020204" pitchFamily="34" charset="0"/>
                </a:endParaRPr>
              </a:p>
            </p:txBody>
          </p:sp>
          <p:pic>
            <p:nvPicPr>
              <p:cNvPr id="266" name="Graphic 265" descr="Baseball hat with solid fill">
                <a:extLst>
                  <a:ext uri="{FF2B5EF4-FFF2-40B4-BE49-F238E27FC236}">
                    <a16:creationId xmlns:a16="http://schemas.microsoft.com/office/drawing/2014/main" id="{BF6530B2-E775-4A2C-A9D6-B06CA9093FF1}"/>
                  </a:ext>
                </a:extLst>
              </p:cNvPr>
              <p:cNvPicPr>
                <a:picLocks noChangeAspect="1"/>
              </p:cNvPicPr>
              <p:nvPr/>
            </p:nvPicPr>
            <p:blipFill>
              <a:blip r:embed="rId32" cstate="print">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6237533" y="2490598"/>
                <a:ext cx="434301" cy="434301"/>
              </a:xfrm>
              <a:prstGeom prst="rect">
                <a:avLst/>
              </a:prstGeom>
            </p:spPr>
          </p:pic>
        </p:grpSp>
        <p:sp>
          <p:nvSpPr>
            <p:cNvPr id="263" name="Freeform 332">
              <a:extLst>
                <a:ext uri="{FF2B5EF4-FFF2-40B4-BE49-F238E27FC236}">
                  <a16:creationId xmlns:a16="http://schemas.microsoft.com/office/drawing/2014/main" id="{935AD818-605A-4A78-BBFE-6973B8E13CA7}"/>
                </a:ext>
              </a:extLst>
            </p:cNvPr>
            <p:cNvSpPr>
              <a:spLocks noChangeArrowheads="1"/>
            </p:cNvSpPr>
            <p:nvPr/>
          </p:nvSpPr>
          <p:spPr bwMode="auto">
            <a:xfrm>
              <a:off x="7997263" y="5534802"/>
              <a:ext cx="70383" cy="71741"/>
            </a:xfrm>
            <a:custGeom>
              <a:avLst/>
              <a:gdLst>
                <a:gd name="T0" fmla="*/ 180 w 362"/>
                <a:gd name="T1" fmla="*/ 0 h 361"/>
                <a:gd name="T2" fmla="*/ 180 w 362"/>
                <a:gd name="T3" fmla="*/ 0 h 361"/>
                <a:gd name="T4" fmla="*/ 0 w 362"/>
                <a:gd name="T5" fmla="*/ 180 h 361"/>
                <a:gd name="T6" fmla="*/ 180 w 362"/>
                <a:gd name="T7" fmla="*/ 360 h 361"/>
                <a:gd name="T8" fmla="*/ 361 w 362"/>
                <a:gd name="T9" fmla="*/ 180 h 361"/>
                <a:gd name="T10" fmla="*/ 180 w 362"/>
                <a:gd name="T11" fmla="*/ 0 h 361"/>
              </a:gdLst>
              <a:ahLst/>
              <a:cxnLst>
                <a:cxn ang="0">
                  <a:pos x="T0" y="T1"/>
                </a:cxn>
                <a:cxn ang="0">
                  <a:pos x="T2" y="T3"/>
                </a:cxn>
                <a:cxn ang="0">
                  <a:pos x="T4" y="T5"/>
                </a:cxn>
                <a:cxn ang="0">
                  <a:pos x="T6" y="T7"/>
                </a:cxn>
                <a:cxn ang="0">
                  <a:pos x="T8" y="T9"/>
                </a:cxn>
                <a:cxn ang="0">
                  <a:pos x="T10" y="T11"/>
                </a:cxn>
              </a:cxnLst>
              <a:rect l="0" t="0" r="r" b="b"/>
              <a:pathLst>
                <a:path w="362" h="361">
                  <a:moveTo>
                    <a:pt x="180" y="0"/>
                  </a:moveTo>
                  <a:lnTo>
                    <a:pt x="180" y="0"/>
                  </a:lnTo>
                  <a:cubicBezTo>
                    <a:pt x="84" y="0"/>
                    <a:pt x="0" y="72"/>
                    <a:pt x="0" y="180"/>
                  </a:cubicBezTo>
                  <a:cubicBezTo>
                    <a:pt x="0" y="276"/>
                    <a:pt x="84" y="360"/>
                    <a:pt x="180" y="360"/>
                  </a:cubicBezTo>
                  <a:cubicBezTo>
                    <a:pt x="265" y="360"/>
                    <a:pt x="337" y="276"/>
                    <a:pt x="361" y="180"/>
                  </a:cubicBezTo>
                  <a:cubicBezTo>
                    <a:pt x="361" y="96"/>
                    <a:pt x="289" y="24"/>
                    <a:pt x="180"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Arial" panose="020B0604020202020204" pitchFamily="34" charset="0"/>
              </a:endParaRPr>
            </a:p>
          </p:txBody>
        </p:sp>
        <p:sp>
          <p:nvSpPr>
            <p:cNvPr id="264" name="Freeform 332">
              <a:extLst>
                <a:ext uri="{FF2B5EF4-FFF2-40B4-BE49-F238E27FC236}">
                  <a16:creationId xmlns:a16="http://schemas.microsoft.com/office/drawing/2014/main" id="{28BFABD1-13F5-4D18-A369-EB4EA95006FE}"/>
                </a:ext>
              </a:extLst>
            </p:cNvPr>
            <p:cNvSpPr>
              <a:spLocks noChangeArrowheads="1"/>
            </p:cNvSpPr>
            <p:nvPr/>
          </p:nvSpPr>
          <p:spPr bwMode="auto">
            <a:xfrm>
              <a:off x="7473096" y="5534802"/>
              <a:ext cx="70383" cy="71741"/>
            </a:xfrm>
            <a:custGeom>
              <a:avLst/>
              <a:gdLst>
                <a:gd name="T0" fmla="*/ 180 w 362"/>
                <a:gd name="T1" fmla="*/ 0 h 361"/>
                <a:gd name="T2" fmla="*/ 180 w 362"/>
                <a:gd name="T3" fmla="*/ 0 h 361"/>
                <a:gd name="T4" fmla="*/ 0 w 362"/>
                <a:gd name="T5" fmla="*/ 180 h 361"/>
                <a:gd name="T6" fmla="*/ 180 w 362"/>
                <a:gd name="T7" fmla="*/ 360 h 361"/>
                <a:gd name="T8" fmla="*/ 361 w 362"/>
                <a:gd name="T9" fmla="*/ 180 h 361"/>
                <a:gd name="T10" fmla="*/ 180 w 362"/>
                <a:gd name="T11" fmla="*/ 0 h 361"/>
              </a:gdLst>
              <a:ahLst/>
              <a:cxnLst>
                <a:cxn ang="0">
                  <a:pos x="T0" y="T1"/>
                </a:cxn>
                <a:cxn ang="0">
                  <a:pos x="T2" y="T3"/>
                </a:cxn>
                <a:cxn ang="0">
                  <a:pos x="T4" y="T5"/>
                </a:cxn>
                <a:cxn ang="0">
                  <a:pos x="T6" y="T7"/>
                </a:cxn>
                <a:cxn ang="0">
                  <a:pos x="T8" y="T9"/>
                </a:cxn>
                <a:cxn ang="0">
                  <a:pos x="T10" y="T11"/>
                </a:cxn>
              </a:cxnLst>
              <a:rect l="0" t="0" r="r" b="b"/>
              <a:pathLst>
                <a:path w="362" h="361">
                  <a:moveTo>
                    <a:pt x="180" y="0"/>
                  </a:moveTo>
                  <a:lnTo>
                    <a:pt x="180" y="0"/>
                  </a:lnTo>
                  <a:cubicBezTo>
                    <a:pt x="84" y="0"/>
                    <a:pt x="0" y="72"/>
                    <a:pt x="0" y="180"/>
                  </a:cubicBezTo>
                  <a:cubicBezTo>
                    <a:pt x="0" y="276"/>
                    <a:pt x="84" y="360"/>
                    <a:pt x="180" y="360"/>
                  </a:cubicBezTo>
                  <a:cubicBezTo>
                    <a:pt x="265" y="360"/>
                    <a:pt x="337" y="276"/>
                    <a:pt x="361" y="180"/>
                  </a:cubicBezTo>
                  <a:cubicBezTo>
                    <a:pt x="361" y="96"/>
                    <a:pt x="289" y="24"/>
                    <a:pt x="180"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Arial" panose="020B0604020202020204" pitchFamily="34" charset="0"/>
              </a:endParaRPr>
            </a:p>
          </p:txBody>
        </p:sp>
      </p:grpSp>
      <p:grpSp>
        <p:nvGrpSpPr>
          <p:cNvPr id="57" name="Group 56">
            <a:extLst>
              <a:ext uri="{FF2B5EF4-FFF2-40B4-BE49-F238E27FC236}">
                <a16:creationId xmlns:a16="http://schemas.microsoft.com/office/drawing/2014/main" id="{C089C0FA-8A6F-4130-8DA1-85FE7D575B9E}"/>
              </a:ext>
            </a:extLst>
          </p:cNvPr>
          <p:cNvGrpSpPr/>
          <p:nvPr/>
        </p:nvGrpSpPr>
        <p:grpSpPr>
          <a:xfrm>
            <a:off x="9305049" y="5271733"/>
            <a:ext cx="699600" cy="420846"/>
            <a:chOff x="9305049" y="5271733"/>
            <a:chExt cx="699600" cy="420846"/>
          </a:xfrm>
        </p:grpSpPr>
        <p:sp>
          <p:nvSpPr>
            <p:cNvPr id="317" name="Freeform 333">
              <a:extLst>
                <a:ext uri="{FF2B5EF4-FFF2-40B4-BE49-F238E27FC236}">
                  <a16:creationId xmlns:a16="http://schemas.microsoft.com/office/drawing/2014/main" id="{C16046ED-14DD-4789-969F-702B1945ECB6}"/>
                </a:ext>
              </a:extLst>
            </p:cNvPr>
            <p:cNvSpPr>
              <a:spLocks noChangeArrowheads="1"/>
            </p:cNvSpPr>
            <p:nvPr/>
          </p:nvSpPr>
          <p:spPr bwMode="auto">
            <a:xfrm rot="20585546">
              <a:off x="9669209" y="5446163"/>
              <a:ext cx="83787" cy="144866"/>
            </a:xfrm>
            <a:custGeom>
              <a:avLst/>
              <a:gdLst>
                <a:gd name="T0" fmla="*/ 469 w 470"/>
                <a:gd name="T1" fmla="*/ 252 h 818"/>
                <a:gd name="T2" fmla="*/ 469 w 470"/>
                <a:gd name="T3" fmla="*/ 252 h 818"/>
                <a:gd name="T4" fmla="*/ 445 w 470"/>
                <a:gd name="T5" fmla="*/ 204 h 818"/>
                <a:gd name="T6" fmla="*/ 445 w 470"/>
                <a:gd name="T7" fmla="*/ 204 h 818"/>
                <a:gd name="T8" fmla="*/ 385 w 470"/>
                <a:gd name="T9" fmla="*/ 72 h 818"/>
                <a:gd name="T10" fmla="*/ 204 w 470"/>
                <a:gd name="T11" fmla="*/ 0 h 818"/>
                <a:gd name="T12" fmla="*/ 24 w 470"/>
                <a:gd name="T13" fmla="*/ 156 h 818"/>
                <a:gd name="T14" fmla="*/ 0 w 470"/>
                <a:gd name="T15" fmla="*/ 637 h 818"/>
                <a:gd name="T16" fmla="*/ 180 w 470"/>
                <a:gd name="T17" fmla="*/ 817 h 818"/>
                <a:gd name="T18" fmla="*/ 385 w 470"/>
                <a:gd name="T19" fmla="*/ 661 h 818"/>
                <a:gd name="T20" fmla="*/ 385 w 470"/>
                <a:gd name="T21" fmla="*/ 360 h 818"/>
                <a:gd name="T22" fmla="*/ 469 w 470"/>
                <a:gd name="T23" fmla="*/ 252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818">
                  <a:moveTo>
                    <a:pt x="469" y="252"/>
                  </a:moveTo>
                  <a:lnTo>
                    <a:pt x="469" y="252"/>
                  </a:lnTo>
                  <a:cubicBezTo>
                    <a:pt x="469" y="252"/>
                    <a:pt x="469" y="228"/>
                    <a:pt x="445" y="204"/>
                  </a:cubicBezTo>
                  <a:lnTo>
                    <a:pt x="445" y="204"/>
                  </a:lnTo>
                  <a:cubicBezTo>
                    <a:pt x="385" y="72"/>
                    <a:pt x="385" y="72"/>
                    <a:pt x="385" y="72"/>
                  </a:cubicBezTo>
                  <a:cubicBezTo>
                    <a:pt x="337" y="24"/>
                    <a:pt x="289" y="0"/>
                    <a:pt x="204" y="0"/>
                  </a:cubicBezTo>
                  <a:cubicBezTo>
                    <a:pt x="108" y="0"/>
                    <a:pt x="24" y="48"/>
                    <a:pt x="24" y="156"/>
                  </a:cubicBezTo>
                  <a:cubicBezTo>
                    <a:pt x="0" y="637"/>
                    <a:pt x="0" y="637"/>
                    <a:pt x="0" y="637"/>
                  </a:cubicBezTo>
                  <a:cubicBezTo>
                    <a:pt x="0" y="745"/>
                    <a:pt x="84" y="793"/>
                    <a:pt x="180" y="817"/>
                  </a:cubicBezTo>
                  <a:cubicBezTo>
                    <a:pt x="289" y="817"/>
                    <a:pt x="361" y="745"/>
                    <a:pt x="385" y="661"/>
                  </a:cubicBezTo>
                  <a:cubicBezTo>
                    <a:pt x="385" y="360"/>
                    <a:pt x="385" y="360"/>
                    <a:pt x="385" y="360"/>
                  </a:cubicBezTo>
                  <a:cubicBezTo>
                    <a:pt x="445" y="336"/>
                    <a:pt x="469" y="300"/>
                    <a:pt x="469" y="252"/>
                  </a:cubicBezTo>
                </a:path>
              </a:pathLst>
            </a:custGeom>
            <a:solidFill>
              <a:srgbClr val="22777B"/>
            </a:solidFill>
            <a:ln>
              <a:noFill/>
            </a:ln>
            <a:effec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312" name="Rectangle: Rounded Corners 311">
              <a:extLst>
                <a:ext uri="{FF2B5EF4-FFF2-40B4-BE49-F238E27FC236}">
                  <a16:creationId xmlns:a16="http://schemas.microsoft.com/office/drawing/2014/main" id="{7A31B42E-9980-45F9-8650-E83BB0CA2FE4}"/>
                </a:ext>
              </a:extLst>
            </p:cNvPr>
            <p:cNvSpPr/>
            <p:nvPr/>
          </p:nvSpPr>
          <p:spPr>
            <a:xfrm rot="21485546">
              <a:off x="9573619" y="5271733"/>
              <a:ext cx="108000" cy="72000"/>
            </a:xfrm>
            <a:prstGeom prst="roundRect">
              <a:avLst/>
            </a:prstGeom>
            <a:solidFill>
              <a:schemeClr val="tx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16" name="Freeform 332">
              <a:extLst>
                <a:ext uri="{FF2B5EF4-FFF2-40B4-BE49-F238E27FC236}">
                  <a16:creationId xmlns:a16="http://schemas.microsoft.com/office/drawing/2014/main" id="{B73FEBB5-98C4-44F9-BB21-70546D4E649B}"/>
                </a:ext>
              </a:extLst>
            </p:cNvPr>
            <p:cNvSpPr>
              <a:spLocks noChangeArrowheads="1"/>
            </p:cNvSpPr>
            <p:nvPr/>
          </p:nvSpPr>
          <p:spPr bwMode="auto">
            <a:xfrm rot="20585546">
              <a:off x="9638404" y="5382120"/>
              <a:ext cx="64211" cy="64211"/>
            </a:xfrm>
            <a:custGeom>
              <a:avLst/>
              <a:gdLst>
                <a:gd name="T0" fmla="*/ 180 w 362"/>
                <a:gd name="T1" fmla="*/ 0 h 361"/>
                <a:gd name="T2" fmla="*/ 180 w 362"/>
                <a:gd name="T3" fmla="*/ 0 h 361"/>
                <a:gd name="T4" fmla="*/ 0 w 362"/>
                <a:gd name="T5" fmla="*/ 180 h 361"/>
                <a:gd name="T6" fmla="*/ 180 w 362"/>
                <a:gd name="T7" fmla="*/ 360 h 361"/>
                <a:gd name="T8" fmla="*/ 361 w 362"/>
                <a:gd name="T9" fmla="*/ 180 h 361"/>
                <a:gd name="T10" fmla="*/ 180 w 362"/>
                <a:gd name="T11" fmla="*/ 0 h 361"/>
              </a:gdLst>
              <a:ahLst/>
              <a:cxnLst>
                <a:cxn ang="0">
                  <a:pos x="T0" y="T1"/>
                </a:cxn>
                <a:cxn ang="0">
                  <a:pos x="T2" y="T3"/>
                </a:cxn>
                <a:cxn ang="0">
                  <a:pos x="T4" y="T5"/>
                </a:cxn>
                <a:cxn ang="0">
                  <a:pos x="T6" y="T7"/>
                </a:cxn>
                <a:cxn ang="0">
                  <a:pos x="T8" y="T9"/>
                </a:cxn>
                <a:cxn ang="0">
                  <a:pos x="T10" y="T11"/>
                </a:cxn>
              </a:cxnLst>
              <a:rect l="0" t="0" r="r" b="b"/>
              <a:pathLst>
                <a:path w="362" h="361">
                  <a:moveTo>
                    <a:pt x="180" y="0"/>
                  </a:moveTo>
                  <a:lnTo>
                    <a:pt x="180" y="0"/>
                  </a:lnTo>
                  <a:cubicBezTo>
                    <a:pt x="84" y="0"/>
                    <a:pt x="0" y="72"/>
                    <a:pt x="0" y="180"/>
                  </a:cubicBezTo>
                  <a:cubicBezTo>
                    <a:pt x="0" y="276"/>
                    <a:pt x="84" y="360"/>
                    <a:pt x="180" y="360"/>
                  </a:cubicBezTo>
                  <a:cubicBezTo>
                    <a:pt x="265" y="360"/>
                    <a:pt x="337" y="276"/>
                    <a:pt x="361" y="180"/>
                  </a:cubicBezTo>
                  <a:cubicBezTo>
                    <a:pt x="361" y="96"/>
                    <a:pt x="289" y="24"/>
                    <a:pt x="180" y="0"/>
                  </a:cubicBezTo>
                </a:path>
              </a:pathLst>
            </a:custGeom>
            <a:solidFill>
              <a:srgbClr val="22777B"/>
            </a:solidFill>
            <a:ln>
              <a:noFill/>
            </a:ln>
            <a:effec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mn-cs"/>
              </a:endParaRPr>
            </a:p>
          </p:txBody>
        </p:sp>
        <p:grpSp>
          <p:nvGrpSpPr>
            <p:cNvPr id="275" name="Group 274">
              <a:extLst>
                <a:ext uri="{FF2B5EF4-FFF2-40B4-BE49-F238E27FC236}">
                  <a16:creationId xmlns:a16="http://schemas.microsoft.com/office/drawing/2014/main" id="{0705D9FB-9DF9-4F5F-8AD1-1EA9D8F915B3}"/>
                </a:ext>
              </a:extLst>
            </p:cNvPr>
            <p:cNvGrpSpPr/>
            <p:nvPr/>
          </p:nvGrpSpPr>
          <p:grpSpPr>
            <a:xfrm rot="20542492">
              <a:off x="9421775" y="5363822"/>
              <a:ext cx="102352" cy="102352"/>
              <a:chOff x="6237533" y="2490598"/>
              <a:chExt cx="434301" cy="434301"/>
            </a:xfrm>
          </p:grpSpPr>
          <p:sp>
            <p:nvSpPr>
              <p:cNvPr id="276" name="Freeform 332">
                <a:extLst>
                  <a:ext uri="{FF2B5EF4-FFF2-40B4-BE49-F238E27FC236}">
                    <a16:creationId xmlns:a16="http://schemas.microsoft.com/office/drawing/2014/main" id="{280FFA1F-AD86-4FA3-BE28-B70A5A6B080D}"/>
                  </a:ext>
                </a:extLst>
              </p:cNvPr>
              <p:cNvSpPr>
                <a:spLocks noChangeArrowheads="1"/>
              </p:cNvSpPr>
              <p:nvPr/>
            </p:nvSpPr>
            <p:spPr bwMode="auto">
              <a:xfrm>
                <a:off x="6268013" y="2618932"/>
                <a:ext cx="298651" cy="304413"/>
              </a:xfrm>
              <a:custGeom>
                <a:avLst/>
                <a:gdLst>
                  <a:gd name="T0" fmla="*/ 180 w 362"/>
                  <a:gd name="T1" fmla="*/ 0 h 361"/>
                  <a:gd name="T2" fmla="*/ 180 w 362"/>
                  <a:gd name="T3" fmla="*/ 0 h 361"/>
                  <a:gd name="T4" fmla="*/ 0 w 362"/>
                  <a:gd name="T5" fmla="*/ 180 h 361"/>
                  <a:gd name="T6" fmla="*/ 180 w 362"/>
                  <a:gd name="T7" fmla="*/ 360 h 361"/>
                  <a:gd name="T8" fmla="*/ 361 w 362"/>
                  <a:gd name="T9" fmla="*/ 180 h 361"/>
                  <a:gd name="T10" fmla="*/ 180 w 362"/>
                  <a:gd name="T11" fmla="*/ 0 h 361"/>
                </a:gdLst>
                <a:ahLst/>
                <a:cxnLst>
                  <a:cxn ang="0">
                    <a:pos x="T0" y="T1"/>
                  </a:cxn>
                  <a:cxn ang="0">
                    <a:pos x="T2" y="T3"/>
                  </a:cxn>
                  <a:cxn ang="0">
                    <a:pos x="T4" y="T5"/>
                  </a:cxn>
                  <a:cxn ang="0">
                    <a:pos x="T6" y="T7"/>
                  </a:cxn>
                  <a:cxn ang="0">
                    <a:pos x="T8" y="T9"/>
                  </a:cxn>
                  <a:cxn ang="0">
                    <a:pos x="T10" y="T11"/>
                  </a:cxn>
                </a:cxnLst>
                <a:rect l="0" t="0" r="r" b="b"/>
                <a:pathLst>
                  <a:path w="362" h="361">
                    <a:moveTo>
                      <a:pt x="180" y="0"/>
                    </a:moveTo>
                    <a:lnTo>
                      <a:pt x="180" y="0"/>
                    </a:lnTo>
                    <a:cubicBezTo>
                      <a:pt x="84" y="0"/>
                      <a:pt x="0" y="72"/>
                      <a:pt x="0" y="180"/>
                    </a:cubicBezTo>
                    <a:cubicBezTo>
                      <a:pt x="0" y="276"/>
                      <a:pt x="84" y="360"/>
                      <a:pt x="180" y="360"/>
                    </a:cubicBezTo>
                    <a:cubicBezTo>
                      <a:pt x="265" y="360"/>
                      <a:pt x="337" y="276"/>
                      <a:pt x="361" y="180"/>
                    </a:cubicBezTo>
                    <a:cubicBezTo>
                      <a:pt x="361" y="96"/>
                      <a:pt x="289" y="24"/>
                      <a:pt x="180"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Arial" panose="020B0604020202020204" pitchFamily="34" charset="0"/>
                </a:endParaRPr>
              </a:p>
            </p:txBody>
          </p:sp>
          <p:pic>
            <p:nvPicPr>
              <p:cNvPr id="277" name="Graphic 276" descr="Baseball hat with solid fill">
                <a:extLst>
                  <a:ext uri="{FF2B5EF4-FFF2-40B4-BE49-F238E27FC236}">
                    <a16:creationId xmlns:a16="http://schemas.microsoft.com/office/drawing/2014/main" id="{A58C4F4F-1391-4789-AC36-5DE38B1F985D}"/>
                  </a:ext>
                </a:extLst>
              </p:cNvPr>
              <p:cNvPicPr>
                <a:picLocks noChangeAspect="1"/>
              </p:cNvPicPr>
              <p:nvPr/>
            </p:nvPicPr>
            <p:blipFill>
              <a:blip r:embed="rId32" cstate="print">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6237533" y="2490598"/>
                <a:ext cx="434301" cy="434301"/>
              </a:xfrm>
              <a:prstGeom prst="rect">
                <a:avLst/>
              </a:prstGeom>
            </p:spPr>
          </p:pic>
        </p:grpSp>
        <p:sp>
          <p:nvSpPr>
            <p:cNvPr id="53" name="Freeform: Shape 52">
              <a:extLst>
                <a:ext uri="{FF2B5EF4-FFF2-40B4-BE49-F238E27FC236}">
                  <a16:creationId xmlns:a16="http://schemas.microsoft.com/office/drawing/2014/main" id="{2DF5BC3B-B1FF-4451-82F8-A7F08C4B1696}"/>
                </a:ext>
              </a:extLst>
            </p:cNvPr>
            <p:cNvSpPr/>
            <p:nvPr/>
          </p:nvSpPr>
          <p:spPr>
            <a:xfrm rot="21462151">
              <a:off x="9406339" y="5565379"/>
              <a:ext cx="127200" cy="127200"/>
            </a:xfrm>
            <a:custGeom>
              <a:avLst/>
              <a:gdLst>
                <a:gd name="connsiteX0" fmla="*/ 127200 w 127200"/>
                <a:gd name="connsiteY0" fmla="*/ 63600 h 127200"/>
                <a:gd name="connsiteX1" fmla="*/ 63600 w 127200"/>
                <a:gd name="connsiteY1" fmla="*/ 127200 h 127200"/>
                <a:gd name="connsiteX2" fmla="*/ 0 w 127200"/>
                <a:gd name="connsiteY2" fmla="*/ 63600 h 127200"/>
                <a:gd name="connsiteX3" fmla="*/ 63600 w 127200"/>
                <a:gd name="connsiteY3" fmla="*/ 0 h 127200"/>
                <a:gd name="connsiteX4" fmla="*/ 127200 w 127200"/>
                <a:gd name="connsiteY4" fmla="*/ 63600 h 12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200" h="127200">
                  <a:moveTo>
                    <a:pt x="127200" y="63600"/>
                  </a:moveTo>
                  <a:cubicBezTo>
                    <a:pt x="127200" y="98725"/>
                    <a:pt x="98725" y="127200"/>
                    <a:pt x="63600" y="127200"/>
                  </a:cubicBezTo>
                  <a:cubicBezTo>
                    <a:pt x="28475" y="127200"/>
                    <a:pt x="0" y="98725"/>
                    <a:pt x="0" y="63600"/>
                  </a:cubicBezTo>
                  <a:cubicBezTo>
                    <a:pt x="0" y="28475"/>
                    <a:pt x="28475" y="0"/>
                    <a:pt x="63600" y="0"/>
                  </a:cubicBezTo>
                  <a:cubicBezTo>
                    <a:pt x="98725" y="0"/>
                    <a:pt x="127200" y="28475"/>
                    <a:pt x="127200" y="63600"/>
                  </a:cubicBezTo>
                  <a:close/>
                </a:path>
              </a:pathLst>
            </a:custGeom>
            <a:solidFill>
              <a:srgbClr val="000000"/>
            </a:solidFill>
            <a:ln w="7938" cap="flat">
              <a:noFill/>
              <a:prstDash val="solid"/>
              <a:miter/>
            </a:ln>
          </p:spPr>
          <p:txBody>
            <a:bodyPr rtlCol="0" anchor="ctr"/>
            <a:lstStyle/>
            <a:p>
              <a:endParaRPr lang="nl-NL"/>
            </a:p>
          </p:txBody>
        </p:sp>
        <p:sp>
          <p:nvSpPr>
            <p:cNvPr id="54" name="Freeform: Shape 53">
              <a:extLst>
                <a:ext uri="{FF2B5EF4-FFF2-40B4-BE49-F238E27FC236}">
                  <a16:creationId xmlns:a16="http://schemas.microsoft.com/office/drawing/2014/main" id="{550DAECE-428C-4FB2-AB19-B349CDA30228}"/>
                </a:ext>
              </a:extLst>
            </p:cNvPr>
            <p:cNvSpPr/>
            <p:nvPr/>
          </p:nvSpPr>
          <p:spPr>
            <a:xfrm rot="21462151">
              <a:off x="9787632" y="5550082"/>
              <a:ext cx="127200" cy="127200"/>
            </a:xfrm>
            <a:custGeom>
              <a:avLst/>
              <a:gdLst>
                <a:gd name="connsiteX0" fmla="*/ 127200 w 127200"/>
                <a:gd name="connsiteY0" fmla="*/ 63600 h 127200"/>
                <a:gd name="connsiteX1" fmla="*/ 63600 w 127200"/>
                <a:gd name="connsiteY1" fmla="*/ 127200 h 127200"/>
                <a:gd name="connsiteX2" fmla="*/ 0 w 127200"/>
                <a:gd name="connsiteY2" fmla="*/ 63600 h 127200"/>
                <a:gd name="connsiteX3" fmla="*/ 63600 w 127200"/>
                <a:gd name="connsiteY3" fmla="*/ 0 h 127200"/>
                <a:gd name="connsiteX4" fmla="*/ 127200 w 127200"/>
                <a:gd name="connsiteY4" fmla="*/ 63600 h 12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200" h="127200">
                  <a:moveTo>
                    <a:pt x="127200" y="63600"/>
                  </a:moveTo>
                  <a:cubicBezTo>
                    <a:pt x="127200" y="98725"/>
                    <a:pt x="98725" y="127200"/>
                    <a:pt x="63600" y="127200"/>
                  </a:cubicBezTo>
                  <a:cubicBezTo>
                    <a:pt x="28475" y="127200"/>
                    <a:pt x="0" y="98725"/>
                    <a:pt x="0" y="63600"/>
                  </a:cubicBezTo>
                  <a:cubicBezTo>
                    <a:pt x="0" y="28475"/>
                    <a:pt x="28475" y="0"/>
                    <a:pt x="63600" y="0"/>
                  </a:cubicBezTo>
                  <a:cubicBezTo>
                    <a:pt x="98725" y="0"/>
                    <a:pt x="127200" y="28475"/>
                    <a:pt x="127200" y="63600"/>
                  </a:cubicBezTo>
                  <a:close/>
                </a:path>
              </a:pathLst>
            </a:custGeom>
            <a:solidFill>
              <a:srgbClr val="000000"/>
            </a:solidFill>
            <a:ln w="7938" cap="flat">
              <a:noFill/>
              <a:prstDash val="solid"/>
              <a:miter/>
            </a:ln>
          </p:spPr>
          <p:txBody>
            <a:bodyPr rtlCol="0" anchor="ctr"/>
            <a:lstStyle/>
            <a:p>
              <a:endParaRPr lang="nl-NL"/>
            </a:p>
          </p:txBody>
        </p:sp>
        <p:sp>
          <p:nvSpPr>
            <p:cNvPr id="55" name="Freeform: Shape 54">
              <a:extLst>
                <a:ext uri="{FF2B5EF4-FFF2-40B4-BE49-F238E27FC236}">
                  <a16:creationId xmlns:a16="http://schemas.microsoft.com/office/drawing/2014/main" id="{86E07360-942D-46C3-BB48-6636D37AFA4C}"/>
                </a:ext>
              </a:extLst>
            </p:cNvPr>
            <p:cNvSpPr/>
            <p:nvPr/>
          </p:nvSpPr>
          <p:spPr>
            <a:xfrm rot="21462151">
              <a:off x="9305049" y="5335246"/>
              <a:ext cx="699600" cy="286200"/>
            </a:xfrm>
            <a:custGeom>
              <a:avLst/>
              <a:gdLst>
                <a:gd name="connsiteX0" fmla="*/ 278250 w 699600"/>
                <a:gd name="connsiteY0" fmla="*/ 127200 h 286200"/>
                <a:gd name="connsiteX1" fmla="*/ 278250 w 699600"/>
                <a:gd name="connsiteY1" fmla="*/ 31800 h 286200"/>
                <a:gd name="connsiteX2" fmla="*/ 387165 w 699600"/>
                <a:gd name="connsiteY2" fmla="*/ 31800 h 286200"/>
                <a:gd name="connsiteX3" fmla="*/ 409425 w 699600"/>
                <a:gd name="connsiteY3" fmla="*/ 41340 h 286200"/>
                <a:gd name="connsiteX4" fmla="*/ 495285 w 699600"/>
                <a:gd name="connsiteY4" fmla="*/ 127200 h 286200"/>
                <a:gd name="connsiteX5" fmla="*/ 278250 w 699600"/>
                <a:gd name="connsiteY5" fmla="*/ 127200 h 286200"/>
                <a:gd name="connsiteX6" fmla="*/ 246450 w 699600"/>
                <a:gd name="connsiteY6" fmla="*/ 127200 h 286200"/>
                <a:gd name="connsiteX7" fmla="*/ 45315 w 699600"/>
                <a:gd name="connsiteY7" fmla="*/ 127200 h 286200"/>
                <a:gd name="connsiteX8" fmla="*/ 131175 w 699600"/>
                <a:gd name="connsiteY8" fmla="*/ 41340 h 286200"/>
                <a:gd name="connsiteX9" fmla="*/ 153435 w 699600"/>
                <a:gd name="connsiteY9" fmla="*/ 31800 h 286200"/>
                <a:gd name="connsiteX10" fmla="*/ 246450 w 699600"/>
                <a:gd name="connsiteY10" fmla="*/ 31800 h 286200"/>
                <a:gd name="connsiteX11" fmla="*/ 246450 w 699600"/>
                <a:gd name="connsiteY11" fmla="*/ 127200 h 286200"/>
                <a:gd name="connsiteX12" fmla="*/ 620100 w 699600"/>
                <a:gd name="connsiteY12" fmla="*/ 127200 h 286200"/>
                <a:gd name="connsiteX13" fmla="*/ 554115 w 699600"/>
                <a:gd name="connsiteY13" fmla="*/ 127200 h 286200"/>
                <a:gd name="connsiteX14" fmla="*/ 531855 w 699600"/>
                <a:gd name="connsiteY14" fmla="*/ 117660 h 286200"/>
                <a:gd name="connsiteX15" fmla="*/ 431685 w 699600"/>
                <a:gd name="connsiteY15" fmla="*/ 18285 h 286200"/>
                <a:gd name="connsiteX16" fmla="*/ 386370 w 699600"/>
                <a:gd name="connsiteY16" fmla="*/ 0 h 286200"/>
                <a:gd name="connsiteX17" fmla="*/ 153435 w 699600"/>
                <a:gd name="connsiteY17" fmla="*/ 0 h 286200"/>
                <a:gd name="connsiteX18" fmla="*/ 108120 w 699600"/>
                <a:gd name="connsiteY18" fmla="*/ 18285 h 286200"/>
                <a:gd name="connsiteX19" fmla="*/ 9540 w 699600"/>
                <a:gd name="connsiteY19" fmla="*/ 117660 h 286200"/>
                <a:gd name="connsiteX20" fmla="*/ 0 w 699600"/>
                <a:gd name="connsiteY20" fmla="*/ 140715 h 286200"/>
                <a:gd name="connsiteX21" fmla="*/ 0 w 699600"/>
                <a:gd name="connsiteY21" fmla="*/ 222600 h 286200"/>
                <a:gd name="connsiteX22" fmla="*/ 63600 w 699600"/>
                <a:gd name="connsiteY22" fmla="*/ 286200 h 286200"/>
                <a:gd name="connsiteX23" fmla="*/ 71550 w 699600"/>
                <a:gd name="connsiteY23" fmla="*/ 286200 h 286200"/>
                <a:gd name="connsiteX24" fmla="*/ 159000 w 699600"/>
                <a:gd name="connsiteY24" fmla="*/ 198750 h 286200"/>
                <a:gd name="connsiteX25" fmla="*/ 246450 w 699600"/>
                <a:gd name="connsiteY25" fmla="*/ 286200 h 286200"/>
                <a:gd name="connsiteX26" fmla="*/ 453150 w 699600"/>
                <a:gd name="connsiteY26" fmla="*/ 286200 h 286200"/>
                <a:gd name="connsiteX27" fmla="*/ 540600 w 699600"/>
                <a:gd name="connsiteY27" fmla="*/ 198750 h 286200"/>
                <a:gd name="connsiteX28" fmla="*/ 628050 w 699600"/>
                <a:gd name="connsiteY28" fmla="*/ 286200 h 286200"/>
                <a:gd name="connsiteX29" fmla="*/ 667800 w 699600"/>
                <a:gd name="connsiteY29" fmla="*/ 286200 h 286200"/>
                <a:gd name="connsiteX30" fmla="*/ 699600 w 699600"/>
                <a:gd name="connsiteY30" fmla="*/ 254400 h 286200"/>
                <a:gd name="connsiteX31" fmla="*/ 699600 w 699600"/>
                <a:gd name="connsiteY31" fmla="*/ 206700 h 286200"/>
                <a:gd name="connsiteX32" fmla="*/ 620100 w 699600"/>
                <a:gd name="connsiteY32" fmla="*/ 127200 h 28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99600" h="286200">
                  <a:moveTo>
                    <a:pt x="278250" y="127200"/>
                  </a:moveTo>
                  <a:lnTo>
                    <a:pt x="278250" y="31800"/>
                  </a:lnTo>
                  <a:lnTo>
                    <a:pt x="387165" y="31800"/>
                  </a:lnTo>
                  <a:cubicBezTo>
                    <a:pt x="395910" y="31800"/>
                    <a:pt x="403860" y="34980"/>
                    <a:pt x="409425" y="41340"/>
                  </a:cubicBezTo>
                  <a:lnTo>
                    <a:pt x="495285" y="127200"/>
                  </a:lnTo>
                  <a:lnTo>
                    <a:pt x="278250" y="127200"/>
                  </a:lnTo>
                  <a:close/>
                  <a:moveTo>
                    <a:pt x="246450" y="127200"/>
                  </a:moveTo>
                  <a:lnTo>
                    <a:pt x="45315" y="127200"/>
                  </a:lnTo>
                  <a:lnTo>
                    <a:pt x="131175" y="41340"/>
                  </a:lnTo>
                  <a:cubicBezTo>
                    <a:pt x="137535" y="34980"/>
                    <a:pt x="145485" y="31800"/>
                    <a:pt x="153435" y="31800"/>
                  </a:cubicBezTo>
                  <a:lnTo>
                    <a:pt x="246450" y="31800"/>
                  </a:lnTo>
                  <a:lnTo>
                    <a:pt x="246450" y="127200"/>
                  </a:lnTo>
                  <a:close/>
                  <a:moveTo>
                    <a:pt x="620100" y="127200"/>
                  </a:moveTo>
                  <a:lnTo>
                    <a:pt x="554115" y="127200"/>
                  </a:lnTo>
                  <a:cubicBezTo>
                    <a:pt x="545370" y="127200"/>
                    <a:pt x="537420" y="124020"/>
                    <a:pt x="531855" y="117660"/>
                  </a:cubicBezTo>
                  <a:lnTo>
                    <a:pt x="431685" y="18285"/>
                  </a:lnTo>
                  <a:cubicBezTo>
                    <a:pt x="419760" y="6360"/>
                    <a:pt x="403860" y="0"/>
                    <a:pt x="386370" y="0"/>
                  </a:cubicBezTo>
                  <a:lnTo>
                    <a:pt x="153435" y="0"/>
                  </a:lnTo>
                  <a:cubicBezTo>
                    <a:pt x="136740" y="0"/>
                    <a:pt x="120045" y="6360"/>
                    <a:pt x="108120" y="18285"/>
                  </a:cubicBezTo>
                  <a:lnTo>
                    <a:pt x="9540" y="117660"/>
                  </a:lnTo>
                  <a:cubicBezTo>
                    <a:pt x="3180" y="124020"/>
                    <a:pt x="0" y="131970"/>
                    <a:pt x="0" y="140715"/>
                  </a:cubicBezTo>
                  <a:lnTo>
                    <a:pt x="0" y="222600"/>
                  </a:lnTo>
                  <a:cubicBezTo>
                    <a:pt x="0" y="257580"/>
                    <a:pt x="28620" y="286200"/>
                    <a:pt x="63600" y="286200"/>
                  </a:cubicBezTo>
                  <a:lnTo>
                    <a:pt x="71550" y="286200"/>
                  </a:lnTo>
                  <a:cubicBezTo>
                    <a:pt x="71550" y="237705"/>
                    <a:pt x="110505" y="198750"/>
                    <a:pt x="159000" y="198750"/>
                  </a:cubicBezTo>
                  <a:cubicBezTo>
                    <a:pt x="207495" y="198750"/>
                    <a:pt x="246450" y="237705"/>
                    <a:pt x="246450" y="286200"/>
                  </a:cubicBezTo>
                  <a:lnTo>
                    <a:pt x="453150" y="286200"/>
                  </a:lnTo>
                  <a:cubicBezTo>
                    <a:pt x="453150" y="237705"/>
                    <a:pt x="492105" y="198750"/>
                    <a:pt x="540600" y="198750"/>
                  </a:cubicBezTo>
                  <a:cubicBezTo>
                    <a:pt x="589095" y="198750"/>
                    <a:pt x="628050" y="237705"/>
                    <a:pt x="628050" y="286200"/>
                  </a:cubicBezTo>
                  <a:lnTo>
                    <a:pt x="667800" y="286200"/>
                  </a:lnTo>
                  <a:cubicBezTo>
                    <a:pt x="685290" y="286200"/>
                    <a:pt x="699600" y="271890"/>
                    <a:pt x="699600" y="254400"/>
                  </a:cubicBezTo>
                  <a:lnTo>
                    <a:pt x="699600" y="206700"/>
                  </a:lnTo>
                  <a:cubicBezTo>
                    <a:pt x="699600" y="162975"/>
                    <a:pt x="663825" y="127200"/>
                    <a:pt x="620100" y="127200"/>
                  </a:cubicBezTo>
                  <a:close/>
                </a:path>
              </a:pathLst>
            </a:custGeom>
            <a:solidFill>
              <a:srgbClr val="000000"/>
            </a:solidFill>
            <a:ln w="7938" cap="flat">
              <a:noFill/>
              <a:prstDash val="solid"/>
              <a:miter/>
            </a:ln>
          </p:spPr>
          <p:txBody>
            <a:bodyPr rtlCol="0" anchor="ctr"/>
            <a:lstStyle/>
            <a:p>
              <a:endParaRPr lang="nl-NL"/>
            </a:p>
          </p:txBody>
        </p:sp>
      </p:grpSp>
      <p:pic>
        <p:nvPicPr>
          <p:cNvPr id="63" name="Graphic 62" descr="Information with solid fill">
            <a:extLst>
              <a:ext uri="{FF2B5EF4-FFF2-40B4-BE49-F238E27FC236}">
                <a16:creationId xmlns:a16="http://schemas.microsoft.com/office/drawing/2014/main" id="{EB950CF3-9A91-4985-9763-A0073CCD5CEB}"/>
              </a:ext>
            </a:extLst>
          </p:cNvPr>
          <p:cNvPicPr>
            <a:picLocks noChangeAspect="1"/>
          </p:cNvPicPr>
          <p:nvPr/>
        </p:nvPicPr>
        <p:blipFill>
          <a:blip r:embed="rId37" cstate="print">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7742453" y="4077256"/>
            <a:ext cx="277584" cy="277584"/>
          </a:xfrm>
          <a:prstGeom prst="rect">
            <a:avLst/>
          </a:prstGeom>
        </p:spPr>
      </p:pic>
    </p:spTree>
    <p:extLst>
      <p:ext uri="{BB962C8B-B14F-4D97-AF65-F5344CB8AC3E}">
        <p14:creationId xmlns:p14="http://schemas.microsoft.com/office/powerpoint/2010/main" val="34515269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A7E2A55-853B-47A9-A999-76B509545684}"/>
              </a:ext>
            </a:extLst>
          </p:cNvPr>
          <p:cNvGraphicFramePr>
            <a:graphicFrameLocks noChangeAspect="1"/>
          </p:cNvGraphicFramePr>
          <p:nvPr>
            <p:custDataLst>
              <p:tags r:id="rId2"/>
            </p:custDataLst>
            <p:extLst>
              <p:ext uri="{D42A27DB-BD31-4B8C-83A1-F6EECF244321}">
                <p14:modId xmlns:p14="http://schemas.microsoft.com/office/powerpoint/2010/main" val="2005929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0"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DA7E2A55-853B-47A9-A999-76B5095456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Content Placeholder 2">
            <a:extLst>
              <a:ext uri="{FF2B5EF4-FFF2-40B4-BE49-F238E27FC236}">
                <a16:creationId xmlns:a16="http://schemas.microsoft.com/office/drawing/2014/main" id="{0DC537A3-6411-4B53-81E9-453D1037B7CC}"/>
              </a:ext>
            </a:extLst>
          </p:cNvPr>
          <p:cNvSpPr txBox="1">
            <a:spLocks/>
          </p:cNvSpPr>
          <p:nvPr/>
        </p:nvSpPr>
        <p:spPr>
          <a:xfrm>
            <a:off x="662780" y="1606211"/>
            <a:ext cx="3948567" cy="3247055"/>
          </a:xfrm>
          <a:prstGeom prst="rect">
            <a:avLst/>
          </a:prstGeom>
          <a:noFill/>
          <a:ln w="19050">
            <a:noFill/>
          </a:ln>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b="1" dirty="0">
                <a:solidFill>
                  <a:srgbClr val="22777B"/>
                </a:solidFill>
              </a:rPr>
              <a:t>In het kort</a:t>
            </a:r>
          </a:p>
        </p:txBody>
      </p:sp>
      <p:sp>
        <p:nvSpPr>
          <p:cNvPr id="24" name="Content Placeholder 2">
            <a:extLst>
              <a:ext uri="{FF2B5EF4-FFF2-40B4-BE49-F238E27FC236}">
                <a16:creationId xmlns:a16="http://schemas.microsoft.com/office/drawing/2014/main" id="{BDE7C46A-04E8-40EA-85D4-5D4D89988FC6}"/>
              </a:ext>
            </a:extLst>
          </p:cNvPr>
          <p:cNvSpPr txBox="1">
            <a:spLocks/>
          </p:cNvSpPr>
          <p:nvPr/>
        </p:nvSpPr>
        <p:spPr>
          <a:xfrm>
            <a:off x="700829" y="1870859"/>
            <a:ext cx="4776862" cy="4207724"/>
          </a:xfrm>
          <a:prstGeom prst="rect">
            <a:avLst/>
          </a:prstGeom>
          <a:noFill/>
          <a:ln w="9525">
            <a:noFill/>
          </a:ln>
          <a:extLst>
            <a:ext uri="{909E8E84-426E-40DD-AFC4-6F175D3DCCD1}">
              <a14:hiddenFill xmlns:a14="http://schemas.microsoft.com/office/drawing/2010/main">
                <a:solidFill>
                  <a:srgbClr val="95C5C9">
                    <a:alpha val="10000"/>
                  </a:srgb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sz="1200" dirty="0"/>
              <a:t>In de afgelopen en komende jaren zijn regio’s meer gaan samenwerken in het onderzoeken en/of realiseren van de eerdergenoemde innovaties. Deze samenwerkingsverbanden richten zich doorgaans op één of meerdere van de volgende drie thema’s:</a:t>
            </a:r>
          </a:p>
          <a:p>
            <a:r>
              <a:rPr lang="nl-NL" sz="1200" b="1" dirty="0"/>
              <a:t>Integreren contracten doelgroepenvervoer. </a:t>
            </a:r>
            <a:r>
              <a:rPr lang="nl-NL" sz="1200" dirty="0"/>
              <a:t>Sommige regio’s contracteren gezamenlijk vervoerders voor doelgroepenvervoer.  Dit levert met name schaalvoordelen op voor meer dunbevolkte gemeenten</a:t>
            </a:r>
          </a:p>
          <a:p>
            <a:r>
              <a:rPr lang="nl-NL" sz="1200" b="1" dirty="0"/>
              <a:t>Bundelen van expertise. </a:t>
            </a:r>
            <a:r>
              <a:rPr lang="nl-NL" sz="1200" dirty="0"/>
              <a:t>Andere gemeenten besteden niet alleen gezamenlijk aan maar hebben ook een overkoepelend orgaan opgericht die de aanbestedingen voor de verschillende gemeenten regelt. Zodoende bouwen deze (vaak kleinere) gemeenten expertise op van aanbesteden en contractmanagement maar krijgen ook breder zicht op de verschillende vervoersstromen in de regio</a:t>
            </a:r>
          </a:p>
          <a:p>
            <a:r>
              <a:rPr lang="nl-NL" sz="1200" b="1" dirty="0"/>
              <a:t>Samenbrengen doelgroepenvervoer en (flex-)OV. </a:t>
            </a:r>
            <a:r>
              <a:rPr lang="nl-NL" sz="1200" dirty="0"/>
              <a:t>In sommige regio’s is men aan het onderzoeken hoe niet alleen doelgroepenvervoer op regionaal niveau geïntegreerd kan worden maar ook overige vervoersvoorzieningen. Een dergelijk parternschap kan samenwerken op één of meerdere van de volgende vlakken: het combineren van aanbestedingen, het beter laten aansluiten van vervoersstromen en/of het integeren van de informatievoorziening (MaaS) van het doelgroepenvervoer, alternatief (flex-)vervoer en OV</a:t>
            </a:r>
            <a:endParaRPr lang="nl-NL" sz="1200" b="1" dirty="0"/>
          </a:p>
          <a:p>
            <a:endParaRPr lang="nl-NL" sz="1200" b="1" dirty="0"/>
          </a:p>
          <a:p>
            <a:pPr marL="0" indent="0">
              <a:buFont typeface="Wingdings" panose="05000000000000000000" pitchFamily="2" charset="2"/>
              <a:buNone/>
            </a:pPr>
            <a:endParaRPr lang="nl-NL" sz="1200" dirty="0"/>
          </a:p>
          <a:p>
            <a:endParaRPr lang="nl-NL" sz="1200" dirty="0"/>
          </a:p>
          <a:p>
            <a:endParaRPr lang="nl-NL" sz="1200" dirty="0"/>
          </a:p>
        </p:txBody>
      </p:sp>
      <p:sp>
        <p:nvSpPr>
          <p:cNvPr id="84" name="Rectangle 83">
            <a:extLst>
              <a:ext uri="{FF2B5EF4-FFF2-40B4-BE49-F238E27FC236}">
                <a16:creationId xmlns:a16="http://schemas.microsoft.com/office/drawing/2014/main" id="{A1BD0942-A641-4B94-B25F-C3CA16A90D70}"/>
              </a:ext>
            </a:extLst>
          </p:cNvPr>
          <p:cNvSpPr/>
          <p:nvPr/>
        </p:nvSpPr>
        <p:spPr>
          <a:xfrm>
            <a:off x="651593" y="1898011"/>
            <a:ext cx="5433219" cy="1483317"/>
          </a:xfrm>
          <a:prstGeom prst="rect">
            <a:avLst/>
          </a:prstGeom>
          <a:noFill/>
          <a:ln>
            <a:noFill/>
          </a:ln>
          <a:extLst>
            <a:ext uri="{909E8E84-426E-40DD-AFC4-6F175D3DCCD1}">
              <a14:hiddenFill xmlns:a14="http://schemas.microsoft.com/office/drawing/2010/main">
                <a:solidFill>
                  <a:srgbClr val="95C5C9"/>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6" name="Slide Number Placeholder 5">
            <a:extLst>
              <a:ext uri="{FF2B5EF4-FFF2-40B4-BE49-F238E27FC236}">
                <a16:creationId xmlns:a16="http://schemas.microsoft.com/office/drawing/2014/main" id="{EA5B4AF5-72CF-4819-8135-F522810EB50A}"/>
              </a:ext>
            </a:extLst>
          </p:cNvPr>
          <p:cNvSpPr>
            <a:spLocks noGrp="1"/>
          </p:cNvSpPr>
          <p:nvPr>
            <p:ph type="sldNum" sz="quarter" idx="12"/>
          </p:nvPr>
        </p:nvSpPr>
        <p:spPr/>
        <p:txBody>
          <a:bodyPr/>
          <a:lstStyle/>
          <a:p>
            <a:fld id="{992CD0B2-8AB2-4C6C-8876-E15753662C9B}" type="slidenum">
              <a:rPr lang="nl-NL" smtClean="0"/>
              <a:pPr/>
              <a:t>26</a:t>
            </a:fld>
            <a:endParaRPr lang="nl-NL" dirty="0"/>
          </a:p>
        </p:txBody>
      </p:sp>
      <p:sp>
        <p:nvSpPr>
          <p:cNvPr id="8" name="Title 7">
            <a:extLst>
              <a:ext uri="{FF2B5EF4-FFF2-40B4-BE49-F238E27FC236}">
                <a16:creationId xmlns:a16="http://schemas.microsoft.com/office/drawing/2014/main" id="{4CF772DC-DC31-4B79-9450-0687029A3727}"/>
              </a:ext>
            </a:extLst>
          </p:cNvPr>
          <p:cNvSpPr>
            <a:spLocks noGrp="1"/>
          </p:cNvSpPr>
          <p:nvPr>
            <p:ph type="title"/>
          </p:nvPr>
        </p:nvSpPr>
        <p:spPr>
          <a:xfrm>
            <a:off x="-1" y="265387"/>
            <a:ext cx="12192001" cy="942979"/>
          </a:xfrm>
          <a:solidFill>
            <a:srgbClr val="22777B"/>
          </a:solidFill>
        </p:spPr>
        <p:txBody>
          <a:bodyPr vert="horz" anchor="ctr"/>
          <a:lstStyle/>
          <a:p>
            <a:r>
              <a:rPr lang="nl-NL" sz="2400" dirty="0">
                <a:solidFill>
                  <a:srgbClr val="FFFFFF"/>
                </a:solidFill>
              </a:rPr>
              <a:t>	</a:t>
            </a:r>
          </a:p>
        </p:txBody>
      </p:sp>
      <p:grpSp>
        <p:nvGrpSpPr>
          <p:cNvPr id="11" name="Group 10">
            <a:extLst>
              <a:ext uri="{FF2B5EF4-FFF2-40B4-BE49-F238E27FC236}">
                <a16:creationId xmlns:a16="http://schemas.microsoft.com/office/drawing/2014/main" id="{B1C6B87C-E457-4DCC-9172-98716F0394F0}"/>
              </a:ext>
            </a:extLst>
          </p:cNvPr>
          <p:cNvGrpSpPr/>
          <p:nvPr/>
        </p:nvGrpSpPr>
        <p:grpSpPr>
          <a:xfrm>
            <a:off x="701659" y="55733"/>
            <a:ext cx="2040807" cy="176387"/>
            <a:chOff x="701659" y="55733"/>
            <a:chExt cx="2040807" cy="176387"/>
          </a:xfrm>
        </p:grpSpPr>
        <p:sp>
          <p:nvSpPr>
            <p:cNvPr id="12" name="Rectangle: Rounded Corners 11">
              <a:extLst>
                <a:ext uri="{FF2B5EF4-FFF2-40B4-BE49-F238E27FC236}">
                  <a16:creationId xmlns:a16="http://schemas.microsoft.com/office/drawing/2014/main" id="{E863339A-0A65-4A05-B27B-5E235F761D13}"/>
                </a:ext>
              </a:extLst>
            </p:cNvPr>
            <p:cNvSpPr/>
            <p:nvPr/>
          </p:nvSpPr>
          <p:spPr>
            <a:xfrm>
              <a:off x="93125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a:t>
              </a:r>
            </a:p>
          </p:txBody>
        </p:sp>
        <p:sp>
          <p:nvSpPr>
            <p:cNvPr id="13" name="Rectangle: Rounded Corners 12">
              <a:extLst>
                <a:ext uri="{FF2B5EF4-FFF2-40B4-BE49-F238E27FC236}">
                  <a16:creationId xmlns:a16="http://schemas.microsoft.com/office/drawing/2014/main" id="{F145D70C-2197-42D9-9FF5-273DABF9A92B}"/>
                </a:ext>
              </a:extLst>
            </p:cNvPr>
            <p:cNvSpPr/>
            <p:nvPr/>
          </p:nvSpPr>
          <p:spPr>
            <a:xfrm>
              <a:off x="116084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2</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4" name="Rectangle: Rounded Corners 13">
              <a:extLst>
                <a:ext uri="{FF2B5EF4-FFF2-40B4-BE49-F238E27FC236}">
                  <a16:creationId xmlns:a16="http://schemas.microsoft.com/office/drawing/2014/main" id="{1B6A65A8-F987-4AC6-8132-502AE5EA9ED5}"/>
                </a:ext>
              </a:extLst>
            </p:cNvPr>
            <p:cNvSpPr/>
            <p:nvPr/>
          </p:nvSpPr>
          <p:spPr>
            <a:xfrm>
              <a:off x="1390441"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3</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5" name="Rectangle: Rounded Corners 14">
              <a:extLst>
                <a:ext uri="{FF2B5EF4-FFF2-40B4-BE49-F238E27FC236}">
                  <a16:creationId xmlns:a16="http://schemas.microsoft.com/office/drawing/2014/main" id="{324AB17D-3C24-4E7B-8A62-87B466D19970}"/>
                </a:ext>
              </a:extLst>
            </p:cNvPr>
            <p:cNvSpPr/>
            <p:nvPr/>
          </p:nvSpPr>
          <p:spPr>
            <a:xfrm>
              <a:off x="1620035"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4</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6" name="Rectangle: Rounded Corners 15">
              <a:extLst>
                <a:ext uri="{FF2B5EF4-FFF2-40B4-BE49-F238E27FC236}">
                  <a16:creationId xmlns:a16="http://schemas.microsoft.com/office/drawing/2014/main" id="{5C000AD3-A479-4BF7-A72D-3DD9560983C4}"/>
                </a:ext>
              </a:extLst>
            </p:cNvPr>
            <p:cNvSpPr/>
            <p:nvPr/>
          </p:nvSpPr>
          <p:spPr>
            <a:xfrm>
              <a:off x="184962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5</a:t>
              </a:r>
            </a:p>
          </p:txBody>
        </p:sp>
        <p:sp>
          <p:nvSpPr>
            <p:cNvPr id="17" name="Rectangle: Rounded Corners 16">
              <a:extLst>
                <a:ext uri="{FF2B5EF4-FFF2-40B4-BE49-F238E27FC236}">
                  <a16:creationId xmlns:a16="http://schemas.microsoft.com/office/drawing/2014/main" id="{10B5D2EC-1D17-48CD-8B48-9B5C7D7F9F2E}"/>
                </a:ext>
              </a:extLst>
            </p:cNvPr>
            <p:cNvSpPr/>
            <p:nvPr/>
          </p:nvSpPr>
          <p:spPr>
            <a:xfrm>
              <a:off x="207922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6</a:t>
              </a:r>
            </a:p>
          </p:txBody>
        </p:sp>
        <p:sp>
          <p:nvSpPr>
            <p:cNvPr id="18" name="Rectangle: Rounded Corners 17">
              <a:extLst>
                <a:ext uri="{FF2B5EF4-FFF2-40B4-BE49-F238E27FC236}">
                  <a16:creationId xmlns:a16="http://schemas.microsoft.com/office/drawing/2014/main" id="{11795E91-94A6-43E5-9ADE-3A34B2BC7E14}"/>
                </a:ext>
              </a:extLst>
            </p:cNvPr>
            <p:cNvSpPr/>
            <p:nvPr/>
          </p:nvSpPr>
          <p:spPr>
            <a:xfrm>
              <a:off x="230881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7</a:t>
              </a:r>
            </a:p>
          </p:txBody>
        </p:sp>
        <p:sp>
          <p:nvSpPr>
            <p:cNvPr id="19" name="Rectangle: Rounded Corners 18">
              <a:extLst>
                <a:ext uri="{FF2B5EF4-FFF2-40B4-BE49-F238E27FC236}">
                  <a16:creationId xmlns:a16="http://schemas.microsoft.com/office/drawing/2014/main" id="{D8FDC16D-6881-4A6B-9CC6-E9CF45C08599}"/>
                </a:ext>
              </a:extLst>
            </p:cNvPr>
            <p:cNvSpPr/>
            <p:nvPr/>
          </p:nvSpPr>
          <p:spPr>
            <a:xfrm>
              <a:off x="2538413" y="55733"/>
              <a:ext cx="204053" cy="176387"/>
            </a:xfrm>
            <a:prstGeom prst="roundRect">
              <a:avLst/>
            </a:prstGeom>
            <a:solidFill>
              <a:srgbClr val="EC6224"/>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8</a:t>
              </a:r>
            </a:p>
          </p:txBody>
        </p:sp>
        <p:grpSp>
          <p:nvGrpSpPr>
            <p:cNvPr id="20" name="Group 19">
              <a:extLst>
                <a:ext uri="{FF2B5EF4-FFF2-40B4-BE49-F238E27FC236}">
                  <a16:creationId xmlns:a16="http://schemas.microsoft.com/office/drawing/2014/main" id="{13A90D14-8929-49FE-BCEA-8F6AC5595E23}"/>
                </a:ext>
              </a:extLst>
            </p:cNvPr>
            <p:cNvGrpSpPr/>
            <p:nvPr/>
          </p:nvGrpSpPr>
          <p:grpSpPr>
            <a:xfrm>
              <a:off x="701659" y="55733"/>
              <a:ext cx="204053" cy="176387"/>
              <a:chOff x="701659" y="55733"/>
              <a:chExt cx="204053" cy="176387"/>
            </a:xfrm>
          </p:grpSpPr>
          <p:sp>
            <p:nvSpPr>
              <p:cNvPr id="21" name="Rectangle: Rounded Corners 20">
                <a:extLst>
                  <a:ext uri="{FF2B5EF4-FFF2-40B4-BE49-F238E27FC236}">
                    <a16:creationId xmlns:a16="http://schemas.microsoft.com/office/drawing/2014/main" id="{1DD29C2E-92B2-415D-8336-9EB68B20E6DF}"/>
                  </a:ext>
                </a:extLst>
              </p:cNvPr>
              <p:cNvSpPr/>
              <p:nvPr/>
            </p:nvSpPr>
            <p:spPr>
              <a:xfrm>
                <a:off x="70165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22" name="Graphic 21" descr="Home with solid fill">
                <a:hlinkClick r:id="rId7" action="ppaction://hlinksldjump"/>
                <a:extLst>
                  <a:ext uri="{FF2B5EF4-FFF2-40B4-BE49-F238E27FC236}">
                    <a16:creationId xmlns:a16="http://schemas.microsoft.com/office/drawing/2014/main" id="{9CF7D58B-02F0-4A5A-8660-860A2DFC8557}"/>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34263" y="63707"/>
                <a:ext cx="136149" cy="136149"/>
              </a:xfrm>
              <a:prstGeom prst="rect">
                <a:avLst/>
              </a:prstGeom>
            </p:spPr>
          </p:pic>
        </p:grpSp>
      </p:grpSp>
      <p:sp>
        <p:nvSpPr>
          <p:cNvPr id="162" name="TextBox 161">
            <a:extLst>
              <a:ext uri="{FF2B5EF4-FFF2-40B4-BE49-F238E27FC236}">
                <a16:creationId xmlns:a16="http://schemas.microsoft.com/office/drawing/2014/main" id="{594EBE3C-84CB-456B-90CA-CAC9D3B6BFC1}"/>
              </a:ext>
            </a:extLst>
          </p:cNvPr>
          <p:cNvSpPr txBox="1"/>
          <p:nvPr/>
        </p:nvSpPr>
        <p:spPr>
          <a:xfrm>
            <a:off x="658813" y="274425"/>
            <a:ext cx="6724448" cy="230832"/>
          </a:xfrm>
          <a:prstGeom prst="rect">
            <a:avLst/>
          </a:prstGeom>
          <a:noFill/>
        </p:spPr>
        <p:txBody>
          <a:bodyPr wrap="square">
            <a:spAutoFit/>
          </a:bodyPr>
          <a:lstStyle/>
          <a:p>
            <a:pPr marL="0" indent="0">
              <a:buNone/>
            </a:pPr>
            <a:r>
              <a:rPr lang="nl-NL" sz="1000" b="1" dirty="0">
                <a:solidFill>
                  <a:srgbClr val="FFFFFF"/>
                </a:solidFill>
              </a:rPr>
              <a:t>Regionaal samenwerken</a:t>
            </a:r>
          </a:p>
        </p:txBody>
      </p:sp>
      <p:sp>
        <p:nvSpPr>
          <p:cNvPr id="163" name="TextBox 162">
            <a:extLst>
              <a:ext uri="{FF2B5EF4-FFF2-40B4-BE49-F238E27FC236}">
                <a16:creationId xmlns:a16="http://schemas.microsoft.com/office/drawing/2014/main" id="{0694BE65-94AC-4074-8514-86518F57B159}"/>
              </a:ext>
            </a:extLst>
          </p:cNvPr>
          <p:cNvSpPr txBox="1"/>
          <p:nvPr/>
        </p:nvSpPr>
        <p:spPr>
          <a:xfrm>
            <a:off x="658813" y="451367"/>
            <a:ext cx="10921582" cy="757130"/>
          </a:xfrm>
          <a:prstGeom prst="rect">
            <a:avLst/>
          </a:prstGeom>
          <a:noFill/>
        </p:spPr>
        <p:txBody>
          <a:bodyPr wrap="square" anchor="ctr">
            <a:spAutoFit/>
          </a:bodyPr>
          <a:lstStyle/>
          <a:p>
            <a:pPr marL="0" indent="0">
              <a:buNone/>
            </a:pPr>
            <a:r>
              <a:rPr lang="en-GB" sz="2400" b="1" dirty="0">
                <a:solidFill>
                  <a:srgbClr val="FFFFFF"/>
                </a:solidFill>
              </a:rPr>
              <a:t>In </a:t>
            </a:r>
            <a:r>
              <a:rPr lang="en-GB" sz="2400" b="1" dirty="0" err="1">
                <a:solidFill>
                  <a:srgbClr val="FFFFFF"/>
                </a:solidFill>
              </a:rPr>
              <a:t>regionaal</a:t>
            </a:r>
            <a:r>
              <a:rPr lang="en-GB" sz="2400" b="1" dirty="0">
                <a:solidFill>
                  <a:srgbClr val="FFFFFF"/>
                </a:solidFill>
              </a:rPr>
              <a:t> </a:t>
            </a:r>
            <a:r>
              <a:rPr lang="en-GB" sz="2400" b="1" dirty="0" err="1">
                <a:solidFill>
                  <a:srgbClr val="FFFFFF"/>
                </a:solidFill>
              </a:rPr>
              <a:t>verband</a:t>
            </a:r>
            <a:r>
              <a:rPr lang="en-GB" sz="2400" b="1" dirty="0">
                <a:solidFill>
                  <a:srgbClr val="FFFFFF"/>
                </a:solidFill>
              </a:rPr>
              <a:t> </a:t>
            </a:r>
            <a:r>
              <a:rPr lang="en-GB" sz="2400" b="1" dirty="0" err="1">
                <a:solidFill>
                  <a:srgbClr val="FFFFFF"/>
                </a:solidFill>
              </a:rPr>
              <a:t>wordt</a:t>
            </a:r>
            <a:r>
              <a:rPr lang="en-GB" sz="2400" b="1" dirty="0">
                <a:solidFill>
                  <a:srgbClr val="FFFFFF"/>
                </a:solidFill>
              </a:rPr>
              <a:t> er </a:t>
            </a:r>
            <a:r>
              <a:rPr lang="en-GB" sz="2400" b="1" dirty="0" err="1">
                <a:solidFill>
                  <a:srgbClr val="FFFFFF"/>
                </a:solidFill>
              </a:rPr>
              <a:t>samengewerkt</a:t>
            </a:r>
            <a:r>
              <a:rPr lang="en-GB" sz="2400" b="1" dirty="0">
                <a:solidFill>
                  <a:srgbClr val="FFFFFF"/>
                </a:solidFill>
              </a:rPr>
              <a:t> om </a:t>
            </a:r>
            <a:r>
              <a:rPr lang="en-GB" sz="2400" b="1" dirty="0" err="1">
                <a:solidFill>
                  <a:srgbClr val="FFFFFF"/>
                </a:solidFill>
              </a:rPr>
              <a:t>kennis</a:t>
            </a:r>
            <a:r>
              <a:rPr lang="en-GB" sz="2400" b="1" dirty="0">
                <a:solidFill>
                  <a:srgbClr val="FFFFFF"/>
                </a:solidFill>
              </a:rPr>
              <a:t> </a:t>
            </a:r>
            <a:r>
              <a:rPr lang="en-GB" sz="2400" b="1" dirty="0" err="1">
                <a:solidFill>
                  <a:srgbClr val="FFFFFF"/>
                </a:solidFill>
              </a:rPr>
              <a:t>en</a:t>
            </a:r>
            <a:r>
              <a:rPr lang="en-GB" sz="2400" b="1" dirty="0">
                <a:solidFill>
                  <a:srgbClr val="FFFFFF"/>
                </a:solidFill>
              </a:rPr>
              <a:t>/of </a:t>
            </a:r>
            <a:r>
              <a:rPr lang="en-GB" sz="2400" b="1" dirty="0" err="1">
                <a:solidFill>
                  <a:srgbClr val="FFFFFF"/>
                </a:solidFill>
              </a:rPr>
              <a:t>organisatie</a:t>
            </a:r>
            <a:r>
              <a:rPr lang="en-GB" sz="2400" b="1" dirty="0">
                <a:solidFill>
                  <a:srgbClr val="FFFFFF"/>
                </a:solidFill>
              </a:rPr>
              <a:t> van </a:t>
            </a:r>
            <a:r>
              <a:rPr lang="en-GB" sz="2400" b="1" dirty="0" err="1">
                <a:solidFill>
                  <a:srgbClr val="FFFFFF"/>
                </a:solidFill>
              </a:rPr>
              <a:t>vervoer</a:t>
            </a:r>
            <a:r>
              <a:rPr lang="en-GB" sz="2400" b="1" dirty="0">
                <a:solidFill>
                  <a:srgbClr val="FFFFFF"/>
                </a:solidFill>
              </a:rPr>
              <a:t> </a:t>
            </a:r>
            <a:r>
              <a:rPr lang="en-GB" sz="2400" b="1" dirty="0" err="1">
                <a:solidFill>
                  <a:srgbClr val="FFFFFF"/>
                </a:solidFill>
              </a:rPr>
              <a:t>te</a:t>
            </a:r>
            <a:r>
              <a:rPr lang="en-GB" sz="2400" b="1" dirty="0">
                <a:solidFill>
                  <a:srgbClr val="FFFFFF"/>
                </a:solidFill>
              </a:rPr>
              <a:t> </a:t>
            </a:r>
            <a:r>
              <a:rPr lang="en-GB" sz="2400" b="1" dirty="0" err="1">
                <a:solidFill>
                  <a:srgbClr val="FFFFFF"/>
                </a:solidFill>
              </a:rPr>
              <a:t>bundelen</a:t>
            </a:r>
            <a:endParaRPr lang="nl-NL" sz="2400" b="1" dirty="0">
              <a:solidFill>
                <a:srgbClr val="FFFFFF"/>
              </a:solidFill>
            </a:endParaRPr>
          </a:p>
        </p:txBody>
      </p:sp>
      <p:graphicFrame>
        <p:nvGraphicFramePr>
          <p:cNvPr id="2" name="Table 1">
            <a:extLst>
              <a:ext uri="{FF2B5EF4-FFF2-40B4-BE49-F238E27FC236}">
                <a16:creationId xmlns:a16="http://schemas.microsoft.com/office/drawing/2014/main" id="{CD32E6D2-675D-4629-814B-770DEB7E027E}"/>
              </a:ext>
            </a:extLst>
          </p:cNvPr>
          <p:cNvGraphicFramePr>
            <a:graphicFrameLocks noGrp="1"/>
          </p:cNvGraphicFramePr>
          <p:nvPr>
            <p:extLst>
              <p:ext uri="{D42A27DB-BD31-4B8C-83A1-F6EECF244321}">
                <p14:modId xmlns:p14="http://schemas.microsoft.com/office/powerpoint/2010/main" val="458639264"/>
              </p:ext>
            </p:extLst>
          </p:nvPr>
        </p:nvGraphicFramePr>
        <p:xfrm>
          <a:off x="6109325" y="2006939"/>
          <a:ext cx="5433216" cy="4169150"/>
        </p:xfrm>
        <a:graphic>
          <a:graphicData uri="http://schemas.openxmlformats.org/drawingml/2006/table">
            <a:tbl>
              <a:tblPr firstRow="1" bandRow="1">
                <a:tableStyleId>{5C22544A-7EE6-4342-B048-85BDC9FD1C3A}</a:tableStyleId>
              </a:tblPr>
              <a:tblGrid>
                <a:gridCol w="1784175">
                  <a:extLst>
                    <a:ext uri="{9D8B030D-6E8A-4147-A177-3AD203B41FA5}">
                      <a16:colId xmlns:a16="http://schemas.microsoft.com/office/drawing/2014/main" val="568739228"/>
                    </a:ext>
                  </a:extLst>
                </a:gridCol>
                <a:gridCol w="1216347">
                  <a:extLst>
                    <a:ext uri="{9D8B030D-6E8A-4147-A177-3AD203B41FA5}">
                      <a16:colId xmlns:a16="http://schemas.microsoft.com/office/drawing/2014/main" val="3839059553"/>
                    </a:ext>
                  </a:extLst>
                </a:gridCol>
                <a:gridCol w="1216347">
                  <a:extLst>
                    <a:ext uri="{9D8B030D-6E8A-4147-A177-3AD203B41FA5}">
                      <a16:colId xmlns:a16="http://schemas.microsoft.com/office/drawing/2014/main" val="1043263396"/>
                    </a:ext>
                  </a:extLst>
                </a:gridCol>
                <a:gridCol w="1216347">
                  <a:extLst>
                    <a:ext uri="{9D8B030D-6E8A-4147-A177-3AD203B41FA5}">
                      <a16:colId xmlns:a16="http://schemas.microsoft.com/office/drawing/2014/main" val="1014970524"/>
                    </a:ext>
                  </a:extLst>
                </a:gridCol>
              </a:tblGrid>
              <a:tr h="244910">
                <a:tc>
                  <a:txBody>
                    <a:bodyPr/>
                    <a:lstStyle/>
                    <a:p>
                      <a:pPr algn="ctr" rtl="0"/>
                      <a:endParaRPr lang="nl-NL" sz="1000" b="1" kern="1200" dirty="0">
                        <a:solidFill>
                          <a:srgbClr val="FFFFFF"/>
                        </a:solidFill>
                        <a:latin typeface="+mn-lt"/>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rtl="0"/>
                      <a:r>
                        <a:rPr lang="nl-NL" sz="1000" b="1" dirty="0">
                          <a:solidFill>
                            <a:srgbClr val="FFFFFF"/>
                          </a:solidFill>
                        </a:rPr>
                        <a:t>Regionaal samenwerkingsverband</a:t>
                      </a:r>
                    </a:p>
                  </a:txBody>
                  <a:tcPr anchor="ctr">
                    <a:lnL w="9525" cap="flat" cmpd="sng" algn="ctr">
                      <a:solidFill>
                        <a:schemeClr val="bg1"/>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tc hMerge="1">
                  <a:txBody>
                    <a:bodyPr/>
                    <a:lstStyle/>
                    <a:p>
                      <a:pPr algn="ctr" rtl="0"/>
                      <a:endParaRPr lang="nl-NL" sz="1200" b="1" dirty="0">
                        <a:solidFill>
                          <a:srgbClr val="FFFFFF"/>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22777B"/>
                    </a:solidFill>
                  </a:tcPr>
                </a:tc>
                <a:tc hMerge="1">
                  <a:txBody>
                    <a:bodyPr/>
                    <a:lstStyle/>
                    <a:p>
                      <a:pPr algn="ctr" rtl="0"/>
                      <a:endParaRPr lang="nl-NL" sz="1200" b="1" dirty="0">
                        <a:solidFill>
                          <a:srgbClr val="FFFFFF"/>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22777B"/>
                    </a:solidFill>
                  </a:tcPr>
                </a:tc>
                <a:extLst>
                  <a:ext uri="{0D108BD9-81ED-4DB2-BD59-A6C34878D82A}">
                    <a16:rowId xmlns:a16="http://schemas.microsoft.com/office/drawing/2014/main" val="50750822"/>
                  </a:ext>
                </a:extLst>
              </a:tr>
              <a:tr h="244910">
                <a:tc>
                  <a:txBody>
                    <a:bodyPr/>
                    <a:lstStyle/>
                    <a:p>
                      <a:pPr algn="ctr" rtl="0"/>
                      <a:r>
                        <a:rPr lang="nl-NL" sz="1000" b="1" kern="1200" dirty="0">
                          <a:solidFill>
                            <a:srgbClr val="FFFFFF"/>
                          </a:solidFill>
                          <a:latin typeface="+mn-lt"/>
                          <a:ea typeface="+mn-ea"/>
                          <a:cs typeface="+mn-cs"/>
                        </a:rPr>
                        <a:t>Strategische optie</a:t>
                      </a:r>
                    </a:p>
                  </a:txBody>
                  <a:tcPr anchor="ctr">
                    <a:lnL w="9525" cap="flat" cmpd="sng" algn="ctr">
                      <a:solidFill>
                        <a:schemeClr val="tx2"/>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rtl="0"/>
                      <a:r>
                        <a:rPr lang="nl-NL" sz="1000" b="1" dirty="0">
                          <a:solidFill>
                            <a:srgbClr val="FFFFFF"/>
                          </a:solidFill>
                        </a:rPr>
                        <a:t>Integreren contracte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tc>
                  <a:txBody>
                    <a:bodyPr/>
                    <a:lstStyle/>
                    <a:p>
                      <a:pPr algn="ctr" rtl="0"/>
                      <a:r>
                        <a:rPr lang="nl-NL" sz="1000" b="1" dirty="0">
                          <a:solidFill>
                            <a:srgbClr val="FFFFFF"/>
                          </a:solidFill>
                        </a:rPr>
                        <a:t>Bundelen expertis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tc>
                  <a:txBody>
                    <a:bodyPr/>
                    <a:lstStyle/>
                    <a:p>
                      <a:pPr algn="ctr" rtl="0"/>
                      <a:r>
                        <a:rPr lang="nl-NL" sz="1000" b="1" dirty="0">
                          <a:solidFill>
                            <a:srgbClr val="FFFFFF"/>
                          </a:solidFill>
                        </a:rPr>
                        <a:t>Samenbrengen DGV en OV</a:t>
                      </a:r>
                      <a:r>
                        <a:rPr lang="nl-NL" sz="1000" b="1" baseline="30000" dirty="0">
                          <a:solidFill>
                            <a:srgbClr val="FFFFFF"/>
                          </a:solidFill>
                        </a:rPr>
                        <a:t>1</a:t>
                      </a:r>
                      <a:endParaRPr lang="nl-NL" sz="1000" b="1" dirty="0">
                        <a:solidFill>
                          <a:srgbClr val="FFFFFF"/>
                        </a:solidFill>
                      </a:endParaRPr>
                    </a:p>
                  </a:txBody>
                  <a:tcPr anchor="ctr">
                    <a:lnL w="9525" cap="flat" cmpd="sng" algn="ctr">
                      <a:solidFill>
                        <a:schemeClr val="bg1"/>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extLst>
                  <a:ext uri="{0D108BD9-81ED-4DB2-BD59-A6C34878D82A}">
                    <a16:rowId xmlns:a16="http://schemas.microsoft.com/office/drawing/2014/main" val="41934940"/>
                  </a:ext>
                </a:extLst>
              </a:tr>
              <a:tr h="504000">
                <a:tc>
                  <a:txBody>
                    <a:bodyPr/>
                    <a:lstStyle/>
                    <a:p>
                      <a:pPr algn="ctr" rtl="0"/>
                      <a:r>
                        <a:rPr lang="nl-NL" sz="1000" b="0" dirty="0">
                          <a:solidFill>
                            <a:srgbClr val="000000"/>
                          </a:solidFill>
                        </a:rPr>
                        <a:t>1. Limiteren doelgroepen en gebruik</a:t>
                      </a: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chemeClr val="accent6"/>
                    </a:solidFill>
                  </a:tcPr>
                </a:tc>
                <a:tc>
                  <a:txBody>
                    <a:bodyPr/>
                    <a:lstStyle/>
                    <a:p>
                      <a:pPr rtl="0"/>
                      <a:endParaRPr lang="nl-NL" sz="1000" b="0" dirty="0">
                        <a:solidFill>
                          <a:srgbClr val="000000"/>
                        </a:solidFill>
                      </a:endParaRP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311587680"/>
                  </a:ext>
                </a:extLst>
              </a:tr>
              <a:tr h="504000">
                <a:tc>
                  <a:txBody>
                    <a:bodyPr/>
                    <a:lstStyle/>
                    <a:p>
                      <a:pPr algn="ctr" rtl="0"/>
                      <a:r>
                        <a:rPr lang="nl-NL" sz="1000" b="0" noProof="0" dirty="0">
                          <a:solidFill>
                            <a:srgbClr val="000000"/>
                          </a:solidFill>
                        </a:rPr>
                        <a:t>2. Stimuleren en integreren met OV</a:t>
                      </a: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rtl="0"/>
                      <a:endParaRPr lang="nl-NL" sz="1000" b="0" dirty="0">
                        <a:solidFill>
                          <a:srgbClr val="000000"/>
                        </a:solidFill>
                      </a:endParaRP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380034551"/>
                  </a:ext>
                </a:extLst>
              </a:tr>
              <a:tr h="504000">
                <a:tc>
                  <a:txBody>
                    <a:bodyPr/>
                    <a:lstStyle/>
                    <a:p>
                      <a:pPr algn="ctr" rtl="0"/>
                      <a:r>
                        <a:rPr lang="nl-NL" sz="1000" b="0" noProof="0" dirty="0">
                          <a:solidFill>
                            <a:srgbClr val="000000"/>
                          </a:solidFill>
                        </a:rPr>
                        <a:t>3. Ontwikkelen alternatief aanbod (fijnmazig) vervoer</a:t>
                      </a: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rtl="0"/>
                      <a:endParaRPr lang="nl-NL" sz="1000" b="0" dirty="0">
                        <a:solidFill>
                          <a:srgbClr val="000000"/>
                        </a:solidFill>
                      </a:endParaRP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4222543702"/>
                  </a:ext>
                </a:extLst>
              </a:tr>
              <a:tr h="504000">
                <a:tc>
                  <a:txBody>
                    <a:bodyPr/>
                    <a:lstStyle/>
                    <a:p>
                      <a:pPr algn="ctr" rtl="0"/>
                      <a:r>
                        <a:rPr lang="nl-NL" sz="1000" b="0" noProof="0" dirty="0">
                          <a:solidFill>
                            <a:srgbClr val="000000"/>
                          </a:solidFill>
                        </a:rPr>
                        <a:t>4. Integreren voorzieningen in één contract</a:t>
                      </a: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rtl="0"/>
                      <a:endParaRPr lang="nl-NL" sz="1000" b="0" dirty="0">
                        <a:solidFill>
                          <a:srgbClr val="000000"/>
                        </a:solidFill>
                      </a:endParaRP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1147002891"/>
                  </a:ext>
                </a:extLst>
              </a:tr>
              <a:tr h="504000">
                <a:tc>
                  <a:txBody>
                    <a:bodyPr/>
                    <a:lstStyle/>
                    <a:p>
                      <a:pPr algn="ctr" rtl="0"/>
                      <a:r>
                        <a:rPr lang="nl-NL" sz="1000" b="0" noProof="0" dirty="0">
                          <a:solidFill>
                            <a:srgbClr val="000000"/>
                          </a:solidFill>
                        </a:rPr>
                        <a:t>5. Opzetten data-analyse en monitoring</a:t>
                      </a: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rtl="0"/>
                      <a:endParaRPr lang="nl-NL" sz="1000" b="0" dirty="0">
                        <a:solidFill>
                          <a:srgbClr val="000000"/>
                        </a:solidFill>
                      </a:endParaRP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1902634911"/>
                  </a:ext>
                </a:extLst>
              </a:tr>
              <a:tr h="504000">
                <a:tc>
                  <a:txBody>
                    <a:bodyPr/>
                    <a:lstStyle/>
                    <a:p>
                      <a:pPr algn="ctr" rtl="0"/>
                      <a:r>
                        <a:rPr lang="nl-NL" sz="1000" b="0" noProof="0" dirty="0">
                          <a:solidFill>
                            <a:srgbClr val="000000"/>
                          </a:solidFill>
                        </a:rPr>
                        <a:t>6. Regiecentrale als slim zenuwcentrum</a:t>
                      </a: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rtl="0"/>
                      <a:endParaRPr lang="nl-NL" sz="1000" b="0" dirty="0">
                        <a:solidFill>
                          <a:srgbClr val="000000"/>
                        </a:solidFill>
                      </a:endParaRP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2914699584"/>
                  </a:ext>
                </a:extLst>
              </a:tr>
              <a:tr h="504000">
                <a:tc>
                  <a:txBody>
                    <a:bodyPr/>
                    <a:lstStyle/>
                    <a:p>
                      <a:pPr algn="ctr" rtl="0"/>
                      <a:r>
                        <a:rPr lang="nl-NL" sz="1000" b="0" noProof="0" dirty="0">
                          <a:solidFill>
                            <a:srgbClr val="000000"/>
                          </a:solidFill>
                        </a:rPr>
                        <a:t>7.  MaaS: integreren boeking en planning</a:t>
                      </a: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rtl="0"/>
                      <a:endParaRPr lang="nl-NL" sz="1000" b="0" dirty="0">
                        <a:solidFill>
                          <a:srgbClr val="000000"/>
                        </a:solidFill>
                      </a:endParaRP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2191385114"/>
                  </a:ext>
                </a:extLst>
              </a:tr>
            </a:tbl>
          </a:graphicData>
        </a:graphic>
      </p:graphicFrame>
      <p:sp>
        <p:nvSpPr>
          <p:cNvPr id="174" name="Content Placeholder 2">
            <a:extLst>
              <a:ext uri="{FF2B5EF4-FFF2-40B4-BE49-F238E27FC236}">
                <a16:creationId xmlns:a16="http://schemas.microsoft.com/office/drawing/2014/main" id="{69C8F7BF-3DA6-4952-869D-23529CE410F8}"/>
              </a:ext>
            </a:extLst>
          </p:cNvPr>
          <p:cNvSpPr txBox="1">
            <a:spLocks/>
          </p:cNvSpPr>
          <p:nvPr/>
        </p:nvSpPr>
        <p:spPr>
          <a:xfrm>
            <a:off x="664829" y="1870859"/>
            <a:ext cx="36000" cy="3780000"/>
          </a:xfrm>
          <a:prstGeom prst="rect">
            <a:avLst/>
          </a:prstGeom>
          <a:solidFill>
            <a:srgbClr val="22777B"/>
          </a:solidFill>
          <a:ln w="9525">
            <a:noFill/>
          </a:ln>
        </p:spPr>
        <p:txBody>
          <a:bodyPr vert="horz" lIns="72000" tIns="72000" rIns="72000" bIns="72000" rtlCol="0">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endParaRPr lang="nl-NL" sz="1000" b="1" dirty="0">
              <a:solidFill>
                <a:srgbClr val="68ABB0"/>
              </a:solidFill>
            </a:endParaRPr>
          </a:p>
        </p:txBody>
      </p:sp>
      <p:pic>
        <p:nvPicPr>
          <p:cNvPr id="36" name="Graphic 35" descr="Checkmark with solid fill">
            <a:extLst>
              <a:ext uri="{FF2B5EF4-FFF2-40B4-BE49-F238E27FC236}">
                <a16:creationId xmlns:a16="http://schemas.microsoft.com/office/drawing/2014/main" id="{812B6BAE-27EF-4173-948C-399E2F73FB7B}"/>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867070" y="3229738"/>
            <a:ext cx="309095" cy="309095"/>
          </a:xfrm>
          <a:prstGeom prst="rect">
            <a:avLst/>
          </a:prstGeom>
        </p:spPr>
      </p:pic>
      <p:pic>
        <p:nvPicPr>
          <p:cNvPr id="37" name="Graphic 36" descr="Checkmark with solid fill">
            <a:extLst>
              <a:ext uri="{FF2B5EF4-FFF2-40B4-BE49-F238E27FC236}">
                <a16:creationId xmlns:a16="http://schemas.microsoft.com/office/drawing/2014/main" id="{60F5F7B9-25B0-4F75-A87E-F218D82401CF}"/>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867070" y="3782419"/>
            <a:ext cx="309095" cy="309095"/>
          </a:xfrm>
          <a:prstGeom prst="rect">
            <a:avLst/>
          </a:prstGeom>
        </p:spPr>
      </p:pic>
      <p:pic>
        <p:nvPicPr>
          <p:cNvPr id="40" name="Graphic 39" descr="Checkmark with solid fill">
            <a:extLst>
              <a:ext uri="{FF2B5EF4-FFF2-40B4-BE49-F238E27FC236}">
                <a16:creationId xmlns:a16="http://schemas.microsoft.com/office/drawing/2014/main" id="{4A9142AF-0372-4C89-9418-17EDA0663305}"/>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867070" y="4297127"/>
            <a:ext cx="309095" cy="309095"/>
          </a:xfrm>
          <a:prstGeom prst="rect">
            <a:avLst/>
          </a:prstGeom>
        </p:spPr>
      </p:pic>
      <p:pic>
        <p:nvPicPr>
          <p:cNvPr id="41" name="Graphic 40" descr="Checkmark with solid fill">
            <a:extLst>
              <a:ext uri="{FF2B5EF4-FFF2-40B4-BE49-F238E27FC236}">
                <a16:creationId xmlns:a16="http://schemas.microsoft.com/office/drawing/2014/main" id="{CB69284B-97FA-4A14-BBF9-7F2C364CB06B}"/>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867070" y="4785081"/>
            <a:ext cx="309095" cy="309095"/>
          </a:xfrm>
          <a:prstGeom prst="rect">
            <a:avLst/>
          </a:prstGeom>
        </p:spPr>
      </p:pic>
      <p:pic>
        <p:nvPicPr>
          <p:cNvPr id="42" name="Graphic 41" descr="Checkmark with solid fill">
            <a:extLst>
              <a:ext uri="{FF2B5EF4-FFF2-40B4-BE49-F238E27FC236}">
                <a16:creationId xmlns:a16="http://schemas.microsoft.com/office/drawing/2014/main" id="{87412FEC-F3CF-40A3-8985-80D78E09936C}"/>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867070" y="5273035"/>
            <a:ext cx="309095" cy="309095"/>
          </a:xfrm>
          <a:prstGeom prst="rect">
            <a:avLst/>
          </a:prstGeom>
        </p:spPr>
      </p:pic>
      <p:pic>
        <p:nvPicPr>
          <p:cNvPr id="43" name="Graphic 42" descr="Checkmark with solid fill">
            <a:extLst>
              <a:ext uri="{FF2B5EF4-FFF2-40B4-BE49-F238E27FC236}">
                <a16:creationId xmlns:a16="http://schemas.microsoft.com/office/drawing/2014/main" id="{68097FB4-0196-4412-9F6A-C1078F0C514A}"/>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867070" y="5788823"/>
            <a:ext cx="309095" cy="309095"/>
          </a:xfrm>
          <a:prstGeom prst="rect">
            <a:avLst/>
          </a:prstGeom>
        </p:spPr>
      </p:pic>
      <p:pic>
        <p:nvPicPr>
          <p:cNvPr id="44" name="Graphic 43" descr="Checkmark with solid fill">
            <a:extLst>
              <a:ext uri="{FF2B5EF4-FFF2-40B4-BE49-F238E27FC236}">
                <a16:creationId xmlns:a16="http://schemas.microsoft.com/office/drawing/2014/main" id="{F0CBA483-BB3D-4B28-87DE-94A44CA8D6EF}"/>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479111" y="4269651"/>
            <a:ext cx="309095" cy="309095"/>
          </a:xfrm>
          <a:prstGeom prst="rect">
            <a:avLst/>
          </a:prstGeom>
        </p:spPr>
      </p:pic>
      <p:pic>
        <p:nvPicPr>
          <p:cNvPr id="45" name="Graphic 44" descr="Checkmark with solid fill">
            <a:extLst>
              <a:ext uri="{FF2B5EF4-FFF2-40B4-BE49-F238E27FC236}">
                <a16:creationId xmlns:a16="http://schemas.microsoft.com/office/drawing/2014/main" id="{326B7C35-1AB9-4F13-9C85-4F03B30D39E1}"/>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479111" y="4810300"/>
            <a:ext cx="309095" cy="309095"/>
          </a:xfrm>
          <a:prstGeom prst="rect">
            <a:avLst/>
          </a:prstGeom>
        </p:spPr>
      </p:pic>
      <p:pic>
        <p:nvPicPr>
          <p:cNvPr id="46" name="Graphic 45" descr="Checkmark with solid fill">
            <a:extLst>
              <a:ext uri="{FF2B5EF4-FFF2-40B4-BE49-F238E27FC236}">
                <a16:creationId xmlns:a16="http://schemas.microsoft.com/office/drawing/2014/main" id="{3876C91B-A33B-45EB-953A-4386EEB93714}"/>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342674" y="4269651"/>
            <a:ext cx="309095" cy="309095"/>
          </a:xfrm>
          <a:prstGeom prst="rect">
            <a:avLst/>
          </a:prstGeom>
        </p:spPr>
      </p:pic>
      <p:sp>
        <p:nvSpPr>
          <p:cNvPr id="35" name="Text Placeholder 7">
            <a:extLst>
              <a:ext uri="{FF2B5EF4-FFF2-40B4-BE49-F238E27FC236}">
                <a16:creationId xmlns:a16="http://schemas.microsoft.com/office/drawing/2014/main" id="{E0ABBA2B-AED1-45D8-A296-A4923ABC2CEF}"/>
              </a:ext>
            </a:extLst>
          </p:cNvPr>
          <p:cNvSpPr txBox="1">
            <a:spLocks/>
          </p:cNvSpPr>
          <p:nvPr/>
        </p:nvSpPr>
        <p:spPr>
          <a:xfrm>
            <a:off x="662780" y="6487298"/>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1   In de meest verregaande vorm werken regio’s op alle opties regionaal samen. In de praktijk zal het om 2 of 3 opties gaan.   </a:t>
            </a:r>
          </a:p>
        </p:txBody>
      </p:sp>
      <p:sp>
        <p:nvSpPr>
          <p:cNvPr id="38" name="Footer Placeholder 8">
            <a:extLst>
              <a:ext uri="{FF2B5EF4-FFF2-40B4-BE49-F238E27FC236}">
                <a16:creationId xmlns:a16="http://schemas.microsoft.com/office/drawing/2014/main" id="{B183E511-3ABB-4DE3-B97C-D5F47D4C970C}"/>
              </a:ext>
            </a:extLst>
          </p:cNvPr>
          <p:cNvSpPr txBox="1">
            <a:spLocks/>
          </p:cNvSpPr>
          <p:nvPr/>
        </p:nvSpPr>
        <p:spPr>
          <a:xfrm>
            <a:off x="661800" y="6699285"/>
            <a:ext cx="10868400" cy="122400"/>
          </a:xfrm>
          <a:prstGeom prst="rect">
            <a:avLst/>
          </a:prstGeom>
        </p:spPr>
        <p:txBody>
          <a:bodyPr vert="horz" lIns="36000" tIns="0" rIns="36000" bIns="0" rtlCol="0" anchor="b"/>
          <a:lstStyle>
            <a:defPPr>
              <a:defRPr lang="nl-NL"/>
            </a:defPPr>
            <a:lvl1pPr marL="0" indent="0" algn="l" defTabSz="685800" rtl="0" eaLnBrk="1" latinLnBrk="0" hangingPunct="1">
              <a:lnSpc>
                <a:spcPct val="90000"/>
              </a:lnSpc>
              <a:spcBef>
                <a:spcPts val="375"/>
              </a:spcBef>
              <a:buClr>
                <a:schemeClr val="dk2"/>
              </a:buClr>
              <a:buFont typeface="Wingdings" panose="05000000000000000000" pitchFamily="2" charset="2"/>
              <a:buNone/>
              <a:defRPr sz="800" kern="1200">
                <a:solidFill>
                  <a:srgbClr val="000000"/>
                </a:solidFill>
                <a:latin typeface="+mn-lt"/>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Bron: websites van verschillende gemeenten; Goudappel Coffeng, ‘Verkenning Landschap Sociaal Vervoer 2020’ (24 april 2020); Provincie Noord-Brabant, ‘Gedeelde Mobiliteit Is Maatwerk’ (14 dec. 2018); Forsetti en APPM, ‘Kansen voor Integratie Doelgroepenvervoer en Openbaar Vervoer’ (5 nov. 2019)  </a:t>
            </a:r>
          </a:p>
        </p:txBody>
      </p:sp>
    </p:spTree>
    <p:extLst>
      <p:ext uri="{BB962C8B-B14F-4D97-AF65-F5344CB8AC3E}">
        <p14:creationId xmlns:p14="http://schemas.microsoft.com/office/powerpoint/2010/main" val="31517496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A7E2A55-853B-47A9-A999-76B509545684}"/>
              </a:ext>
            </a:extLst>
          </p:cNvPr>
          <p:cNvGraphicFramePr>
            <a:graphicFrameLocks noChangeAspect="1"/>
          </p:cNvGraphicFramePr>
          <p:nvPr>
            <p:custDataLst>
              <p:tags r:id="rId2"/>
            </p:custDataLst>
            <p:extLst>
              <p:ext uri="{D42A27DB-BD31-4B8C-83A1-F6EECF244321}">
                <p14:modId xmlns:p14="http://schemas.microsoft.com/office/powerpoint/2010/main" val="889880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4"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DA7E2A55-853B-47A9-A999-76B5095456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95" name="Group 94">
            <a:extLst>
              <a:ext uri="{FF2B5EF4-FFF2-40B4-BE49-F238E27FC236}">
                <a16:creationId xmlns:a16="http://schemas.microsoft.com/office/drawing/2014/main" id="{E4AF7D6E-E4D0-4655-9E9F-2F1294B05613}"/>
              </a:ext>
            </a:extLst>
          </p:cNvPr>
          <p:cNvGrpSpPr/>
          <p:nvPr/>
        </p:nvGrpSpPr>
        <p:grpSpPr>
          <a:xfrm>
            <a:off x="3961545" y="2079526"/>
            <a:ext cx="3358456" cy="3949857"/>
            <a:chOff x="3571793" y="1196975"/>
            <a:chExt cx="4248314" cy="4996410"/>
          </a:xfrm>
          <a:solidFill>
            <a:schemeClr val="accent6">
              <a:lumMod val="50000"/>
              <a:alpha val="70000"/>
            </a:schemeClr>
          </a:solidFill>
        </p:grpSpPr>
        <p:sp>
          <p:nvSpPr>
            <p:cNvPr id="96" name="Freeform: Shape 95">
              <a:extLst>
                <a:ext uri="{FF2B5EF4-FFF2-40B4-BE49-F238E27FC236}">
                  <a16:creationId xmlns:a16="http://schemas.microsoft.com/office/drawing/2014/main" id="{2E601D4C-2438-4B9C-A2C1-A1815CA4526C}"/>
                </a:ext>
              </a:extLst>
            </p:cNvPr>
            <p:cNvSpPr/>
            <p:nvPr/>
          </p:nvSpPr>
          <p:spPr>
            <a:xfrm>
              <a:off x="6621487" y="1823630"/>
              <a:ext cx="1064040" cy="1064040"/>
            </a:xfrm>
            <a:custGeom>
              <a:avLst/>
              <a:gdLst>
                <a:gd name="connsiteX0" fmla="*/ 168137 w 476250"/>
                <a:gd name="connsiteY0" fmla="*/ 5812 h 476250"/>
                <a:gd name="connsiteX1" fmla="*/ 160755 w 476250"/>
                <a:gd name="connsiteY1" fmla="*/ 9502 h 476250"/>
                <a:gd name="connsiteX2" fmla="*/ 157068 w 476250"/>
                <a:gd name="connsiteY2" fmla="*/ 13192 h 476250"/>
                <a:gd name="connsiteX3" fmla="*/ 157068 w 476250"/>
                <a:gd name="connsiteY3" fmla="*/ 16882 h 476250"/>
                <a:gd name="connsiteX4" fmla="*/ 149687 w 476250"/>
                <a:gd name="connsiteY4" fmla="*/ 20573 h 476250"/>
                <a:gd name="connsiteX5" fmla="*/ 142305 w 476250"/>
                <a:gd name="connsiteY5" fmla="*/ 24264 h 476250"/>
                <a:gd name="connsiteX6" fmla="*/ 138619 w 476250"/>
                <a:gd name="connsiteY6" fmla="*/ 27954 h 476250"/>
                <a:gd name="connsiteX7" fmla="*/ 138619 w 476250"/>
                <a:gd name="connsiteY7" fmla="*/ 31645 h 476250"/>
                <a:gd name="connsiteX8" fmla="*/ 134932 w 476250"/>
                <a:gd name="connsiteY8" fmla="*/ 35335 h 476250"/>
                <a:gd name="connsiteX9" fmla="*/ 131237 w 476250"/>
                <a:gd name="connsiteY9" fmla="*/ 42717 h 476250"/>
                <a:gd name="connsiteX10" fmla="*/ 127550 w 476250"/>
                <a:gd name="connsiteY10" fmla="*/ 46407 h 476250"/>
                <a:gd name="connsiteX11" fmla="*/ 127550 w 476250"/>
                <a:gd name="connsiteY11" fmla="*/ 50098 h 476250"/>
                <a:gd name="connsiteX12" fmla="*/ 120169 w 476250"/>
                <a:gd name="connsiteY12" fmla="*/ 68551 h 476250"/>
                <a:gd name="connsiteX13" fmla="*/ 120169 w 476250"/>
                <a:gd name="connsiteY13" fmla="*/ 72242 h 476250"/>
                <a:gd name="connsiteX14" fmla="*/ 120169 w 476250"/>
                <a:gd name="connsiteY14" fmla="*/ 83313 h 476250"/>
                <a:gd name="connsiteX15" fmla="*/ 116482 w 476250"/>
                <a:gd name="connsiteY15" fmla="*/ 83313 h 476250"/>
                <a:gd name="connsiteX16" fmla="*/ 112796 w 476250"/>
                <a:gd name="connsiteY16" fmla="*/ 98075 h 476250"/>
                <a:gd name="connsiteX17" fmla="*/ 109110 w 476250"/>
                <a:gd name="connsiteY17" fmla="*/ 98075 h 476250"/>
                <a:gd name="connsiteX18" fmla="*/ 98042 w 476250"/>
                <a:gd name="connsiteY18" fmla="*/ 94385 h 476250"/>
                <a:gd name="connsiteX19" fmla="*/ 94346 w 476250"/>
                <a:gd name="connsiteY19" fmla="*/ 101765 h 476250"/>
                <a:gd name="connsiteX20" fmla="*/ 105414 w 476250"/>
                <a:gd name="connsiteY20" fmla="*/ 109147 h 476250"/>
                <a:gd name="connsiteX21" fmla="*/ 116482 w 476250"/>
                <a:gd name="connsiteY21" fmla="*/ 109147 h 476250"/>
                <a:gd name="connsiteX22" fmla="*/ 123864 w 476250"/>
                <a:gd name="connsiteY22" fmla="*/ 112837 h 476250"/>
                <a:gd name="connsiteX23" fmla="*/ 120169 w 476250"/>
                <a:gd name="connsiteY23" fmla="*/ 123909 h 476250"/>
                <a:gd name="connsiteX24" fmla="*/ 120169 w 476250"/>
                <a:gd name="connsiteY24" fmla="*/ 134981 h 476250"/>
                <a:gd name="connsiteX25" fmla="*/ 120169 w 476250"/>
                <a:gd name="connsiteY25" fmla="*/ 138672 h 476250"/>
                <a:gd name="connsiteX26" fmla="*/ 127550 w 476250"/>
                <a:gd name="connsiteY26" fmla="*/ 149743 h 476250"/>
                <a:gd name="connsiteX27" fmla="*/ 142305 w 476250"/>
                <a:gd name="connsiteY27" fmla="*/ 171887 h 476250"/>
                <a:gd name="connsiteX28" fmla="*/ 146000 w 476250"/>
                <a:gd name="connsiteY28" fmla="*/ 179268 h 476250"/>
                <a:gd name="connsiteX29" fmla="*/ 149687 w 476250"/>
                <a:gd name="connsiteY29" fmla="*/ 186649 h 476250"/>
                <a:gd name="connsiteX30" fmla="*/ 153373 w 476250"/>
                <a:gd name="connsiteY30" fmla="*/ 190339 h 476250"/>
                <a:gd name="connsiteX31" fmla="*/ 142305 w 476250"/>
                <a:gd name="connsiteY31" fmla="*/ 208792 h 476250"/>
                <a:gd name="connsiteX32" fmla="*/ 142305 w 476250"/>
                <a:gd name="connsiteY32" fmla="*/ 212483 h 476250"/>
                <a:gd name="connsiteX33" fmla="*/ 138619 w 476250"/>
                <a:gd name="connsiteY33" fmla="*/ 216173 h 476250"/>
                <a:gd name="connsiteX34" fmla="*/ 134932 w 476250"/>
                <a:gd name="connsiteY34" fmla="*/ 219864 h 476250"/>
                <a:gd name="connsiteX35" fmla="*/ 123864 w 476250"/>
                <a:gd name="connsiteY35" fmla="*/ 230936 h 476250"/>
                <a:gd name="connsiteX36" fmla="*/ 109110 w 476250"/>
                <a:gd name="connsiteY36" fmla="*/ 242008 h 476250"/>
                <a:gd name="connsiteX37" fmla="*/ 94346 w 476250"/>
                <a:gd name="connsiteY37" fmla="*/ 227245 h 476250"/>
                <a:gd name="connsiteX38" fmla="*/ 83278 w 476250"/>
                <a:gd name="connsiteY38" fmla="*/ 227245 h 476250"/>
                <a:gd name="connsiteX39" fmla="*/ 72210 w 476250"/>
                <a:gd name="connsiteY39" fmla="*/ 223555 h 476250"/>
                <a:gd name="connsiteX40" fmla="*/ 64838 w 476250"/>
                <a:gd name="connsiteY40" fmla="*/ 227245 h 476250"/>
                <a:gd name="connsiteX41" fmla="*/ 64838 w 476250"/>
                <a:gd name="connsiteY41" fmla="*/ 230936 h 476250"/>
                <a:gd name="connsiteX42" fmla="*/ 64838 w 476250"/>
                <a:gd name="connsiteY42" fmla="*/ 234627 h 476250"/>
                <a:gd name="connsiteX43" fmla="*/ 57456 w 476250"/>
                <a:gd name="connsiteY43" fmla="*/ 238317 h 476250"/>
                <a:gd name="connsiteX44" fmla="*/ 46388 w 476250"/>
                <a:gd name="connsiteY44" fmla="*/ 253080 h 476250"/>
                <a:gd name="connsiteX45" fmla="*/ 42702 w 476250"/>
                <a:gd name="connsiteY45" fmla="*/ 256770 h 476250"/>
                <a:gd name="connsiteX46" fmla="*/ 39006 w 476250"/>
                <a:gd name="connsiteY46" fmla="*/ 260461 h 476250"/>
                <a:gd name="connsiteX47" fmla="*/ 24252 w 476250"/>
                <a:gd name="connsiteY47" fmla="*/ 267841 h 476250"/>
                <a:gd name="connsiteX48" fmla="*/ 16879 w 476250"/>
                <a:gd name="connsiteY48" fmla="*/ 275222 h 476250"/>
                <a:gd name="connsiteX49" fmla="*/ 5812 w 476250"/>
                <a:gd name="connsiteY49" fmla="*/ 282603 h 476250"/>
                <a:gd name="connsiteX50" fmla="*/ 9498 w 476250"/>
                <a:gd name="connsiteY50" fmla="*/ 289985 h 476250"/>
                <a:gd name="connsiteX51" fmla="*/ 9498 w 476250"/>
                <a:gd name="connsiteY51" fmla="*/ 293675 h 476250"/>
                <a:gd name="connsiteX52" fmla="*/ 20566 w 476250"/>
                <a:gd name="connsiteY52" fmla="*/ 304747 h 476250"/>
                <a:gd name="connsiteX53" fmla="*/ 24252 w 476250"/>
                <a:gd name="connsiteY53" fmla="*/ 308438 h 476250"/>
                <a:gd name="connsiteX54" fmla="*/ 31634 w 476250"/>
                <a:gd name="connsiteY54" fmla="*/ 315819 h 476250"/>
                <a:gd name="connsiteX55" fmla="*/ 35320 w 476250"/>
                <a:gd name="connsiteY55" fmla="*/ 319510 h 476250"/>
                <a:gd name="connsiteX56" fmla="*/ 39006 w 476250"/>
                <a:gd name="connsiteY56" fmla="*/ 323200 h 476250"/>
                <a:gd name="connsiteX57" fmla="*/ 42702 w 476250"/>
                <a:gd name="connsiteY57" fmla="*/ 330581 h 476250"/>
                <a:gd name="connsiteX58" fmla="*/ 46388 w 476250"/>
                <a:gd name="connsiteY58" fmla="*/ 330581 h 476250"/>
                <a:gd name="connsiteX59" fmla="*/ 42702 w 476250"/>
                <a:gd name="connsiteY59" fmla="*/ 337963 h 476250"/>
                <a:gd name="connsiteX60" fmla="*/ 39006 w 476250"/>
                <a:gd name="connsiteY60" fmla="*/ 341653 h 476250"/>
                <a:gd name="connsiteX61" fmla="*/ 31634 w 476250"/>
                <a:gd name="connsiteY61" fmla="*/ 349034 h 476250"/>
                <a:gd name="connsiteX62" fmla="*/ 31634 w 476250"/>
                <a:gd name="connsiteY62" fmla="*/ 352724 h 476250"/>
                <a:gd name="connsiteX63" fmla="*/ 27948 w 476250"/>
                <a:gd name="connsiteY63" fmla="*/ 352724 h 476250"/>
                <a:gd name="connsiteX64" fmla="*/ 24252 w 476250"/>
                <a:gd name="connsiteY64" fmla="*/ 356415 h 476250"/>
                <a:gd name="connsiteX65" fmla="*/ 13184 w 476250"/>
                <a:gd name="connsiteY65" fmla="*/ 360105 h 476250"/>
                <a:gd name="connsiteX66" fmla="*/ 9498 w 476250"/>
                <a:gd name="connsiteY66" fmla="*/ 363796 h 476250"/>
                <a:gd name="connsiteX67" fmla="*/ 5812 w 476250"/>
                <a:gd name="connsiteY67" fmla="*/ 363796 h 476250"/>
                <a:gd name="connsiteX68" fmla="*/ 5812 w 476250"/>
                <a:gd name="connsiteY68" fmla="*/ 367486 h 476250"/>
                <a:gd name="connsiteX69" fmla="*/ 9498 w 476250"/>
                <a:gd name="connsiteY69" fmla="*/ 374868 h 476250"/>
                <a:gd name="connsiteX70" fmla="*/ 13184 w 476250"/>
                <a:gd name="connsiteY70" fmla="*/ 382249 h 476250"/>
                <a:gd name="connsiteX71" fmla="*/ 16879 w 476250"/>
                <a:gd name="connsiteY71" fmla="*/ 389630 h 476250"/>
                <a:gd name="connsiteX72" fmla="*/ 16879 w 476250"/>
                <a:gd name="connsiteY72" fmla="*/ 393321 h 476250"/>
                <a:gd name="connsiteX73" fmla="*/ 16879 w 476250"/>
                <a:gd name="connsiteY73" fmla="*/ 397011 h 476250"/>
                <a:gd name="connsiteX74" fmla="*/ 24252 w 476250"/>
                <a:gd name="connsiteY74" fmla="*/ 408083 h 476250"/>
                <a:gd name="connsiteX75" fmla="*/ 24252 w 476250"/>
                <a:gd name="connsiteY75" fmla="*/ 411774 h 476250"/>
                <a:gd name="connsiteX76" fmla="*/ 31634 w 476250"/>
                <a:gd name="connsiteY76" fmla="*/ 415464 h 476250"/>
                <a:gd name="connsiteX77" fmla="*/ 31634 w 476250"/>
                <a:gd name="connsiteY77" fmla="*/ 419155 h 476250"/>
                <a:gd name="connsiteX78" fmla="*/ 27948 w 476250"/>
                <a:gd name="connsiteY78" fmla="*/ 422846 h 476250"/>
                <a:gd name="connsiteX79" fmla="*/ 39006 w 476250"/>
                <a:gd name="connsiteY79" fmla="*/ 426536 h 476250"/>
                <a:gd name="connsiteX80" fmla="*/ 35320 w 476250"/>
                <a:gd name="connsiteY80" fmla="*/ 422846 h 476250"/>
                <a:gd name="connsiteX81" fmla="*/ 39006 w 476250"/>
                <a:gd name="connsiteY81" fmla="*/ 419155 h 476250"/>
                <a:gd name="connsiteX82" fmla="*/ 39006 w 476250"/>
                <a:gd name="connsiteY82" fmla="*/ 422846 h 476250"/>
                <a:gd name="connsiteX83" fmla="*/ 42702 w 476250"/>
                <a:gd name="connsiteY83" fmla="*/ 426536 h 476250"/>
                <a:gd name="connsiteX84" fmla="*/ 42702 w 476250"/>
                <a:gd name="connsiteY84" fmla="*/ 422846 h 476250"/>
                <a:gd name="connsiteX85" fmla="*/ 46388 w 476250"/>
                <a:gd name="connsiteY85" fmla="*/ 419155 h 476250"/>
                <a:gd name="connsiteX86" fmla="*/ 50074 w 476250"/>
                <a:gd name="connsiteY86" fmla="*/ 419155 h 476250"/>
                <a:gd name="connsiteX87" fmla="*/ 53770 w 476250"/>
                <a:gd name="connsiteY87" fmla="*/ 419155 h 476250"/>
                <a:gd name="connsiteX88" fmla="*/ 57456 w 476250"/>
                <a:gd name="connsiteY88" fmla="*/ 419155 h 476250"/>
                <a:gd name="connsiteX89" fmla="*/ 57456 w 476250"/>
                <a:gd name="connsiteY89" fmla="*/ 422846 h 476250"/>
                <a:gd name="connsiteX90" fmla="*/ 61142 w 476250"/>
                <a:gd name="connsiteY90" fmla="*/ 422846 h 476250"/>
                <a:gd name="connsiteX91" fmla="*/ 64838 w 476250"/>
                <a:gd name="connsiteY91" fmla="*/ 422846 h 476250"/>
                <a:gd name="connsiteX92" fmla="*/ 68524 w 476250"/>
                <a:gd name="connsiteY92" fmla="*/ 422846 h 476250"/>
                <a:gd name="connsiteX93" fmla="*/ 68524 w 476250"/>
                <a:gd name="connsiteY93" fmla="*/ 426536 h 476250"/>
                <a:gd name="connsiteX94" fmla="*/ 72210 w 476250"/>
                <a:gd name="connsiteY94" fmla="*/ 430227 h 476250"/>
                <a:gd name="connsiteX95" fmla="*/ 75906 w 476250"/>
                <a:gd name="connsiteY95" fmla="*/ 430227 h 476250"/>
                <a:gd name="connsiteX96" fmla="*/ 75906 w 476250"/>
                <a:gd name="connsiteY96" fmla="*/ 433917 h 476250"/>
                <a:gd name="connsiteX97" fmla="*/ 79592 w 476250"/>
                <a:gd name="connsiteY97" fmla="*/ 433917 h 476250"/>
                <a:gd name="connsiteX98" fmla="*/ 83278 w 476250"/>
                <a:gd name="connsiteY98" fmla="*/ 433917 h 476250"/>
                <a:gd name="connsiteX99" fmla="*/ 83278 w 476250"/>
                <a:gd name="connsiteY99" fmla="*/ 430227 h 476250"/>
                <a:gd name="connsiteX100" fmla="*/ 86974 w 476250"/>
                <a:gd name="connsiteY100" fmla="*/ 430227 h 476250"/>
                <a:gd name="connsiteX101" fmla="*/ 86974 w 476250"/>
                <a:gd name="connsiteY101" fmla="*/ 433917 h 476250"/>
                <a:gd name="connsiteX102" fmla="*/ 90660 w 476250"/>
                <a:gd name="connsiteY102" fmla="*/ 433917 h 476250"/>
                <a:gd name="connsiteX103" fmla="*/ 94346 w 476250"/>
                <a:gd name="connsiteY103" fmla="*/ 433917 h 476250"/>
                <a:gd name="connsiteX104" fmla="*/ 98042 w 476250"/>
                <a:gd name="connsiteY104" fmla="*/ 433917 h 476250"/>
                <a:gd name="connsiteX105" fmla="*/ 101728 w 476250"/>
                <a:gd name="connsiteY105" fmla="*/ 430227 h 476250"/>
                <a:gd name="connsiteX106" fmla="*/ 105414 w 476250"/>
                <a:gd name="connsiteY106" fmla="*/ 430227 h 476250"/>
                <a:gd name="connsiteX107" fmla="*/ 109110 w 476250"/>
                <a:gd name="connsiteY107" fmla="*/ 430227 h 476250"/>
                <a:gd name="connsiteX108" fmla="*/ 109110 w 476250"/>
                <a:gd name="connsiteY108" fmla="*/ 433917 h 476250"/>
                <a:gd name="connsiteX109" fmla="*/ 105414 w 476250"/>
                <a:gd name="connsiteY109" fmla="*/ 433917 h 476250"/>
                <a:gd name="connsiteX110" fmla="*/ 105414 w 476250"/>
                <a:gd name="connsiteY110" fmla="*/ 437607 h 476250"/>
                <a:gd name="connsiteX111" fmla="*/ 109110 w 476250"/>
                <a:gd name="connsiteY111" fmla="*/ 437607 h 476250"/>
                <a:gd name="connsiteX112" fmla="*/ 109110 w 476250"/>
                <a:gd name="connsiteY112" fmla="*/ 441298 h 476250"/>
                <a:gd name="connsiteX113" fmla="*/ 112796 w 476250"/>
                <a:gd name="connsiteY113" fmla="*/ 444988 h 476250"/>
                <a:gd name="connsiteX114" fmla="*/ 116482 w 476250"/>
                <a:gd name="connsiteY114" fmla="*/ 444988 h 476250"/>
                <a:gd name="connsiteX115" fmla="*/ 120169 w 476250"/>
                <a:gd name="connsiteY115" fmla="*/ 448679 h 476250"/>
                <a:gd name="connsiteX116" fmla="*/ 123864 w 476250"/>
                <a:gd name="connsiteY116" fmla="*/ 448679 h 476250"/>
                <a:gd name="connsiteX117" fmla="*/ 123864 w 476250"/>
                <a:gd name="connsiteY117" fmla="*/ 452370 h 476250"/>
                <a:gd name="connsiteX118" fmla="*/ 123864 w 476250"/>
                <a:gd name="connsiteY118" fmla="*/ 456060 h 476250"/>
                <a:gd name="connsiteX119" fmla="*/ 127550 w 476250"/>
                <a:gd name="connsiteY119" fmla="*/ 456060 h 476250"/>
                <a:gd name="connsiteX120" fmla="*/ 127550 w 476250"/>
                <a:gd name="connsiteY120" fmla="*/ 459751 h 476250"/>
                <a:gd name="connsiteX121" fmla="*/ 131237 w 476250"/>
                <a:gd name="connsiteY121" fmla="*/ 463441 h 476250"/>
                <a:gd name="connsiteX122" fmla="*/ 131237 w 476250"/>
                <a:gd name="connsiteY122" fmla="*/ 470823 h 476250"/>
                <a:gd name="connsiteX123" fmla="*/ 134932 w 476250"/>
                <a:gd name="connsiteY123" fmla="*/ 474513 h 476250"/>
                <a:gd name="connsiteX124" fmla="*/ 138619 w 476250"/>
                <a:gd name="connsiteY124" fmla="*/ 474513 h 476250"/>
                <a:gd name="connsiteX125" fmla="*/ 138619 w 476250"/>
                <a:gd name="connsiteY125" fmla="*/ 470823 h 476250"/>
                <a:gd name="connsiteX126" fmla="*/ 142305 w 476250"/>
                <a:gd name="connsiteY126" fmla="*/ 470823 h 476250"/>
                <a:gd name="connsiteX127" fmla="*/ 146000 w 476250"/>
                <a:gd name="connsiteY127" fmla="*/ 470823 h 476250"/>
                <a:gd name="connsiteX128" fmla="*/ 146000 w 476250"/>
                <a:gd name="connsiteY128" fmla="*/ 467132 h 476250"/>
                <a:gd name="connsiteX129" fmla="*/ 149687 w 476250"/>
                <a:gd name="connsiteY129" fmla="*/ 467132 h 476250"/>
                <a:gd name="connsiteX130" fmla="*/ 149687 w 476250"/>
                <a:gd name="connsiteY130" fmla="*/ 470823 h 476250"/>
                <a:gd name="connsiteX131" fmla="*/ 153373 w 476250"/>
                <a:gd name="connsiteY131" fmla="*/ 470823 h 476250"/>
                <a:gd name="connsiteX132" fmla="*/ 153373 w 476250"/>
                <a:gd name="connsiteY132" fmla="*/ 467132 h 476250"/>
                <a:gd name="connsiteX133" fmla="*/ 157068 w 476250"/>
                <a:gd name="connsiteY133" fmla="*/ 463441 h 476250"/>
                <a:gd name="connsiteX134" fmla="*/ 160755 w 476250"/>
                <a:gd name="connsiteY134" fmla="*/ 463441 h 476250"/>
                <a:gd name="connsiteX135" fmla="*/ 160755 w 476250"/>
                <a:gd name="connsiteY135" fmla="*/ 467132 h 476250"/>
                <a:gd name="connsiteX136" fmla="*/ 160755 w 476250"/>
                <a:gd name="connsiteY136" fmla="*/ 470823 h 476250"/>
                <a:gd name="connsiteX137" fmla="*/ 164441 w 476250"/>
                <a:gd name="connsiteY137" fmla="*/ 470823 h 476250"/>
                <a:gd name="connsiteX138" fmla="*/ 168137 w 476250"/>
                <a:gd name="connsiteY138" fmla="*/ 474513 h 476250"/>
                <a:gd name="connsiteX139" fmla="*/ 171823 w 476250"/>
                <a:gd name="connsiteY139" fmla="*/ 470823 h 476250"/>
                <a:gd name="connsiteX140" fmla="*/ 175509 w 476250"/>
                <a:gd name="connsiteY140" fmla="*/ 467132 h 476250"/>
                <a:gd name="connsiteX141" fmla="*/ 175509 w 476250"/>
                <a:gd name="connsiteY141" fmla="*/ 463441 h 476250"/>
                <a:gd name="connsiteX142" fmla="*/ 179205 w 476250"/>
                <a:gd name="connsiteY142" fmla="*/ 467132 h 476250"/>
                <a:gd name="connsiteX143" fmla="*/ 182891 w 476250"/>
                <a:gd name="connsiteY143" fmla="*/ 470823 h 476250"/>
                <a:gd name="connsiteX144" fmla="*/ 190263 w 476250"/>
                <a:gd name="connsiteY144" fmla="*/ 470823 h 476250"/>
                <a:gd name="connsiteX145" fmla="*/ 193959 w 476250"/>
                <a:gd name="connsiteY145" fmla="*/ 470823 h 476250"/>
                <a:gd name="connsiteX146" fmla="*/ 197645 w 476250"/>
                <a:gd name="connsiteY146" fmla="*/ 474513 h 476250"/>
                <a:gd name="connsiteX147" fmla="*/ 201331 w 476250"/>
                <a:gd name="connsiteY147" fmla="*/ 474513 h 476250"/>
                <a:gd name="connsiteX148" fmla="*/ 201331 w 476250"/>
                <a:gd name="connsiteY148" fmla="*/ 470823 h 476250"/>
                <a:gd name="connsiteX149" fmla="*/ 197645 w 476250"/>
                <a:gd name="connsiteY149" fmla="*/ 448679 h 476250"/>
                <a:gd name="connsiteX150" fmla="*/ 205027 w 476250"/>
                <a:gd name="connsiteY150" fmla="*/ 441298 h 476250"/>
                <a:gd name="connsiteX151" fmla="*/ 212399 w 476250"/>
                <a:gd name="connsiteY151" fmla="*/ 433917 h 476250"/>
                <a:gd name="connsiteX152" fmla="*/ 216095 w 476250"/>
                <a:gd name="connsiteY152" fmla="*/ 430227 h 476250"/>
                <a:gd name="connsiteX153" fmla="*/ 230849 w 476250"/>
                <a:gd name="connsiteY153" fmla="*/ 430227 h 476250"/>
                <a:gd name="connsiteX154" fmla="*/ 241917 w 476250"/>
                <a:gd name="connsiteY154" fmla="*/ 426536 h 476250"/>
                <a:gd name="connsiteX155" fmla="*/ 245603 w 476250"/>
                <a:gd name="connsiteY155" fmla="*/ 426536 h 476250"/>
                <a:gd name="connsiteX156" fmla="*/ 245603 w 476250"/>
                <a:gd name="connsiteY156" fmla="*/ 422846 h 476250"/>
                <a:gd name="connsiteX157" fmla="*/ 252985 w 476250"/>
                <a:gd name="connsiteY157" fmla="*/ 426536 h 476250"/>
                <a:gd name="connsiteX158" fmla="*/ 260358 w 476250"/>
                <a:gd name="connsiteY158" fmla="*/ 430227 h 476250"/>
                <a:gd name="connsiteX159" fmla="*/ 267739 w 476250"/>
                <a:gd name="connsiteY159" fmla="*/ 433917 h 476250"/>
                <a:gd name="connsiteX160" fmla="*/ 282494 w 476250"/>
                <a:gd name="connsiteY160" fmla="*/ 441298 h 476250"/>
                <a:gd name="connsiteX161" fmla="*/ 289876 w 476250"/>
                <a:gd name="connsiteY161" fmla="*/ 441298 h 476250"/>
                <a:gd name="connsiteX162" fmla="*/ 293562 w 476250"/>
                <a:gd name="connsiteY162" fmla="*/ 444988 h 476250"/>
                <a:gd name="connsiteX163" fmla="*/ 289876 w 476250"/>
                <a:gd name="connsiteY163" fmla="*/ 448679 h 476250"/>
                <a:gd name="connsiteX164" fmla="*/ 289876 w 476250"/>
                <a:gd name="connsiteY164" fmla="*/ 452370 h 476250"/>
                <a:gd name="connsiteX165" fmla="*/ 289876 w 476250"/>
                <a:gd name="connsiteY165" fmla="*/ 456060 h 476250"/>
                <a:gd name="connsiteX166" fmla="*/ 289876 w 476250"/>
                <a:gd name="connsiteY166" fmla="*/ 459751 h 476250"/>
                <a:gd name="connsiteX167" fmla="*/ 293562 w 476250"/>
                <a:gd name="connsiteY167" fmla="*/ 459751 h 476250"/>
                <a:gd name="connsiteX168" fmla="*/ 297257 w 476250"/>
                <a:gd name="connsiteY168" fmla="*/ 456060 h 476250"/>
                <a:gd name="connsiteX169" fmla="*/ 300944 w 476250"/>
                <a:gd name="connsiteY169" fmla="*/ 456060 h 476250"/>
                <a:gd name="connsiteX170" fmla="*/ 304630 w 476250"/>
                <a:gd name="connsiteY170" fmla="*/ 452370 h 476250"/>
                <a:gd name="connsiteX171" fmla="*/ 308326 w 476250"/>
                <a:gd name="connsiteY171" fmla="*/ 444988 h 476250"/>
                <a:gd name="connsiteX172" fmla="*/ 315698 w 476250"/>
                <a:gd name="connsiteY172" fmla="*/ 444988 h 476250"/>
                <a:gd name="connsiteX173" fmla="*/ 319394 w 476250"/>
                <a:gd name="connsiteY173" fmla="*/ 444988 h 476250"/>
                <a:gd name="connsiteX174" fmla="*/ 323080 w 476250"/>
                <a:gd name="connsiteY174" fmla="*/ 441298 h 476250"/>
                <a:gd name="connsiteX175" fmla="*/ 326766 w 476250"/>
                <a:gd name="connsiteY175" fmla="*/ 441298 h 476250"/>
                <a:gd name="connsiteX176" fmla="*/ 330452 w 476250"/>
                <a:gd name="connsiteY176" fmla="*/ 441298 h 476250"/>
                <a:gd name="connsiteX177" fmla="*/ 334148 w 476250"/>
                <a:gd name="connsiteY177" fmla="*/ 441298 h 476250"/>
                <a:gd name="connsiteX178" fmla="*/ 337834 w 476250"/>
                <a:gd name="connsiteY178" fmla="*/ 441298 h 476250"/>
                <a:gd name="connsiteX179" fmla="*/ 341520 w 476250"/>
                <a:gd name="connsiteY179" fmla="*/ 441298 h 476250"/>
                <a:gd name="connsiteX180" fmla="*/ 345216 w 476250"/>
                <a:gd name="connsiteY180" fmla="*/ 444988 h 476250"/>
                <a:gd name="connsiteX181" fmla="*/ 348902 w 476250"/>
                <a:gd name="connsiteY181" fmla="*/ 441298 h 476250"/>
                <a:gd name="connsiteX182" fmla="*/ 352588 w 476250"/>
                <a:gd name="connsiteY182" fmla="*/ 441298 h 476250"/>
                <a:gd name="connsiteX183" fmla="*/ 359970 w 476250"/>
                <a:gd name="connsiteY183" fmla="*/ 441298 h 476250"/>
                <a:gd name="connsiteX184" fmla="*/ 367352 w 476250"/>
                <a:gd name="connsiteY184" fmla="*/ 441298 h 476250"/>
                <a:gd name="connsiteX185" fmla="*/ 371038 w 476250"/>
                <a:gd name="connsiteY185" fmla="*/ 437607 h 476250"/>
                <a:gd name="connsiteX186" fmla="*/ 374724 w 476250"/>
                <a:gd name="connsiteY186" fmla="*/ 441298 h 476250"/>
                <a:gd name="connsiteX187" fmla="*/ 382106 w 476250"/>
                <a:gd name="connsiteY187" fmla="*/ 441298 h 476250"/>
                <a:gd name="connsiteX188" fmla="*/ 385792 w 476250"/>
                <a:gd name="connsiteY188" fmla="*/ 441298 h 476250"/>
                <a:gd name="connsiteX189" fmla="*/ 393174 w 476250"/>
                <a:gd name="connsiteY189" fmla="*/ 444988 h 476250"/>
                <a:gd name="connsiteX190" fmla="*/ 393174 w 476250"/>
                <a:gd name="connsiteY190" fmla="*/ 448679 h 476250"/>
                <a:gd name="connsiteX191" fmla="*/ 396860 w 476250"/>
                <a:gd name="connsiteY191" fmla="*/ 448679 h 476250"/>
                <a:gd name="connsiteX192" fmla="*/ 404242 w 476250"/>
                <a:gd name="connsiteY192" fmla="*/ 448679 h 476250"/>
                <a:gd name="connsiteX193" fmla="*/ 407928 w 476250"/>
                <a:gd name="connsiteY193" fmla="*/ 448679 h 476250"/>
                <a:gd name="connsiteX194" fmla="*/ 411615 w 476250"/>
                <a:gd name="connsiteY194" fmla="*/ 448679 h 476250"/>
                <a:gd name="connsiteX195" fmla="*/ 418997 w 476250"/>
                <a:gd name="connsiteY195" fmla="*/ 448679 h 476250"/>
                <a:gd name="connsiteX196" fmla="*/ 422683 w 476250"/>
                <a:gd name="connsiteY196" fmla="*/ 444988 h 476250"/>
                <a:gd name="connsiteX197" fmla="*/ 426378 w 476250"/>
                <a:gd name="connsiteY197" fmla="*/ 444988 h 476250"/>
                <a:gd name="connsiteX198" fmla="*/ 430064 w 476250"/>
                <a:gd name="connsiteY198" fmla="*/ 448679 h 476250"/>
                <a:gd name="connsiteX199" fmla="*/ 433751 w 476250"/>
                <a:gd name="connsiteY199" fmla="*/ 444988 h 476250"/>
                <a:gd name="connsiteX200" fmla="*/ 433751 w 476250"/>
                <a:gd name="connsiteY200" fmla="*/ 448679 h 476250"/>
                <a:gd name="connsiteX201" fmla="*/ 437446 w 476250"/>
                <a:gd name="connsiteY201" fmla="*/ 448679 h 476250"/>
                <a:gd name="connsiteX202" fmla="*/ 448514 w 476250"/>
                <a:gd name="connsiteY202" fmla="*/ 452370 h 476250"/>
                <a:gd name="connsiteX203" fmla="*/ 452201 w 476250"/>
                <a:gd name="connsiteY203" fmla="*/ 452370 h 476250"/>
                <a:gd name="connsiteX204" fmla="*/ 459583 w 476250"/>
                <a:gd name="connsiteY204" fmla="*/ 444988 h 476250"/>
                <a:gd name="connsiteX205" fmla="*/ 459583 w 476250"/>
                <a:gd name="connsiteY205" fmla="*/ 441298 h 476250"/>
                <a:gd name="connsiteX206" fmla="*/ 459583 w 476250"/>
                <a:gd name="connsiteY206" fmla="*/ 433917 h 476250"/>
                <a:gd name="connsiteX207" fmla="*/ 459583 w 476250"/>
                <a:gd name="connsiteY207" fmla="*/ 419155 h 476250"/>
                <a:gd name="connsiteX208" fmla="*/ 463269 w 476250"/>
                <a:gd name="connsiteY208" fmla="*/ 382249 h 476250"/>
                <a:gd name="connsiteX209" fmla="*/ 463269 w 476250"/>
                <a:gd name="connsiteY209" fmla="*/ 334272 h 476250"/>
                <a:gd name="connsiteX210" fmla="*/ 463269 w 476250"/>
                <a:gd name="connsiteY210" fmla="*/ 312128 h 476250"/>
                <a:gd name="connsiteX211" fmla="*/ 474337 w 476250"/>
                <a:gd name="connsiteY211" fmla="*/ 289985 h 476250"/>
                <a:gd name="connsiteX212" fmla="*/ 463269 w 476250"/>
                <a:gd name="connsiteY212" fmla="*/ 289985 h 476250"/>
                <a:gd name="connsiteX213" fmla="*/ 463269 w 476250"/>
                <a:gd name="connsiteY213" fmla="*/ 282603 h 476250"/>
                <a:gd name="connsiteX214" fmla="*/ 459583 w 476250"/>
                <a:gd name="connsiteY214" fmla="*/ 278913 h 476250"/>
                <a:gd name="connsiteX215" fmla="*/ 452201 w 476250"/>
                <a:gd name="connsiteY215" fmla="*/ 267841 h 476250"/>
                <a:gd name="connsiteX216" fmla="*/ 448514 w 476250"/>
                <a:gd name="connsiteY216" fmla="*/ 267841 h 476250"/>
                <a:gd name="connsiteX217" fmla="*/ 448514 w 476250"/>
                <a:gd name="connsiteY217" fmla="*/ 264151 h 476250"/>
                <a:gd name="connsiteX218" fmla="*/ 437446 w 476250"/>
                <a:gd name="connsiteY218" fmla="*/ 264151 h 476250"/>
                <a:gd name="connsiteX219" fmla="*/ 437446 w 476250"/>
                <a:gd name="connsiteY219" fmla="*/ 260461 h 476250"/>
                <a:gd name="connsiteX220" fmla="*/ 444819 w 476250"/>
                <a:gd name="connsiteY220" fmla="*/ 238317 h 476250"/>
                <a:gd name="connsiteX221" fmla="*/ 448514 w 476250"/>
                <a:gd name="connsiteY221" fmla="*/ 234627 h 476250"/>
                <a:gd name="connsiteX222" fmla="*/ 448514 w 476250"/>
                <a:gd name="connsiteY222" fmla="*/ 227245 h 476250"/>
                <a:gd name="connsiteX223" fmla="*/ 441133 w 476250"/>
                <a:gd name="connsiteY223" fmla="*/ 227245 h 476250"/>
                <a:gd name="connsiteX224" fmla="*/ 437446 w 476250"/>
                <a:gd name="connsiteY224" fmla="*/ 223555 h 476250"/>
                <a:gd name="connsiteX225" fmla="*/ 433751 w 476250"/>
                <a:gd name="connsiteY225" fmla="*/ 219864 h 476250"/>
                <a:gd name="connsiteX226" fmla="*/ 430064 w 476250"/>
                <a:gd name="connsiteY226" fmla="*/ 212483 h 476250"/>
                <a:gd name="connsiteX227" fmla="*/ 422683 w 476250"/>
                <a:gd name="connsiteY227" fmla="*/ 201411 h 476250"/>
                <a:gd name="connsiteX228" fmla="*/ 418997 w 476250"/>
                <a:gd name="connsiteY228" fmla="*/ 201411 h 476250"/>
                <a:gd name="connsiteX229" fmla="*/ 418997 w 476250"/>
                <a:gd name="connsiteY229" fmla="*/ 197720 h 476250"/>
                <a:gd name="connsiteX230" fmla="*/ 415310 w 476250"/>
                <a:gd name="connsiteY230" fmla="*/ 197720 h 476250"/>
                <a:gd name="connsiteX231" fmla="*/ 411615 w 476250"/>
                <a:gd name="connsiteY231" fmla="*/ 190339 h 476250"/>
                <a:gd name="connsiteX232" fmla="*/ 407928 w 476250"/>
                <a:gd name="connsiteY232" fmla="*/ 182958 h 476250"/>
                <a:gd name="connsiteX233" fmla="*/ 404242 w 476250"/>
                <a:gd name="connsiteY233" fmla="*/ 179268 h 476250"/>
                <a:gd name="connsiteX234" fmla="*/ 400546 w 476250"/>
                <a:gd name="connsiteY234" fmla="*/ 175578 h 476250"/>
                <a:gd name="connsiteX235" fmla="*/ 400546 w 476250"/>
                <a:gd name="connsiteY235" fmla="*/ 171887 h 476250"/>
                <a:gd name="connsiteX236" fmla="*/ 396860 w 476250"/>
                <a:gd name="connsiteY236" fmla="*/ 168196 h 476250"/>
                <a:gd name="connsiteX237" fmla="*/ 389488 w 476250"/>
                <a:gd name="connsiteY237" fmla="*/ 160815 h 476250"/>
                <a:gd name="connsiteX238" fmla="*/ 382106 w 476250"/>
                <a:gd name="connsiteY238" fmla="*/ 153434 h 476250"/>
                <a:gd name="connsiteX239" fmla="*/ 378420 w 476250"/>
                <a:gd name="connsiteY239" fmla="*/ 149743 h 476250"/>
                <a:gd name="connsiteX240" fmla="*/ 359970 w 476250"/>
                <a:gd name="connsiteY240" fmla="*/ 131290 h 476250"/>
                <a:gd name="connsiteX241" fmla="*/ 348902 w 476250"/>
                <a:gd name="connsiteY241" fmla="*/ 120219 h 476250"/>
                <a:gd name="connsiteX242" fmla="*/ 337834 w 476250"/>
                <a:gd name="connsiteY242" fmla="*/ 109147 h 476250"/>
                <a:gd name="connsiteX243" fmla="*/ 337834 w 476250"/>
                <a:gd name="connsiteY243" fmla="*/ 105456 h 476250"/>
                <a:gd name="connsiteX244" fmla="*/ 323080 w 476250"/>
                <a:gd name="connsiteY244" fmla="*/ 94385 h 476250"/>
                <a:gd name="connsiteX245" fmla="*/ 319394 w 476250"/>
                <a:gd name="connsiteY245" fmla="*/ 87004 h 476250"/>
                <a:gd name="connsiteX246" fmla="*/ 304630 w 476250"/>
                <a:gd name="connsiteY246" fmla="*/ 75932 h 476250"/>
                <a:gd name="connsiteX247" fmla="*/ 304630 w 476250"/>
                <a:gd name="connsiteY247" fmla="*/ 72242 h 476250"/>
                <a:gd name="connsiteX248" fmla="*/ 300944 w 476250"/>
                <a:gd name="connsiteY248" fmla="*/ 72242 h 476250"/>
                <a:gd name="connsiteX249" fmla="*/ 297257 w 476250"/>
                <a:gd name="connsiteY249" fmla="*/ 68551 h 476250"/>
                <a:gd name="connsiteX250" fmla="*/ 293562 w 476250"/>
                <a:gd name="connsiteY250" fmla="*/ 68551 h 476250"/>
                <a:gd name="connsiteX251" fmla="*/ 289876 w 476250"/>
                <a:gd name="connsiteY251" fmla="*/ 68551 h 476250"/>
                <a:gd name="connsiteX252" fmla="*/ 278808 w 476250"/>
                <a:gd name="connsiteY252" fmla="*/ 68551 h 476250"/>
                <a:gd name="connsiteX253" fmla="*/ 271426 w 476250"/>
                <a:gd name="connsiteY253" fmla="*/ 72242 h 476250"/>
                <a:gd name="connsiteX254" fmla="*/ 267739 w 476250"/>
                <a:gd name="connsiteY254" fmla="*/ 72242 h 476250"/>
                <a:gd name="connsiteX255" fmla="*/ 249299 w 476250"/>
                <a:gd name="connsiteY255" fmla="*/ 79623 h 476250"/>
                <a:gd name="connsiteX256" fmla="*/ 249299 w 476250"/>
                <a:gd name="connsiteY256" fmla="*/ 75932 h 476250"/>
                <a:gd name="connsiteX257" fmla="*/ 245603 w 476250"/>
                <a:gd name="connsiteY257" fmla="*/ 72242 h 476250"/>
                <a:gd name="connsiteX258" fmla="*/ 249299 w 476250"/>
                <a:gd name="connsiteY258" fmla="*/ 68551 h 476250"/>
                <a:gd name="connsiteX259" fmla="*/ 245603 w 476250"/>
                <a:gd name="connsiteY259" fmla="*/ 68551 h 476250"/>
                <a:gd name="connsiteX260" fmla="*/ 245603 w 476250"/>
                <a:gd name="connsiteY260" fmla="*/ 64860 h 476250"/>
                <a:gd name="connsiteX261" fmla="*/ 241917 w 476250"/>
                <a:gd name="connsiteY261" fmla="*/ 61170 h 476250"/>
                <a:gd name="connsiteX262" fmla="*/ 238231 w 476250"/>
                <a:gd name="connsiteY262" fmla="*/ 57479 h 476250"/>
                <a:gd name="connsiteX263" fmla="*/ 234535 w 476250"/>
                <a:gd name="connsiteY263" fmla="*/ 53789 h 476250"/>
                <a:gd name="connsiteX264" fmla="*/ 234535 w 476250"/>
                <a:gd name="connsiteY264" fmla="*/ 50098 h 476250"/>
                <a:gd name="connsiteX265" fmla="*/ 227163 w 476250"/>
                <a:gd name="connsiteY265" fmla="*/ 50098 h 476250"/>
                <a:gd name="connsiteX266" fmla="*/ 227163 w 476250"/>
                <a:gd name="connsiteY266" fmla="*/ 46407 h 476250"/>
                <a:gd name="connsiteX267" fmla="*/ 223467 w 476250"/>
                <a:gd name="connsiteY267" fmla="*/ 42717 h 476250"/>
                <a:gd name="connsiteX268" fmla="*/ 223467 w 476250"/>
                <a:gd name="connsiteY268" fmla="*/ 39026 h 476250"/>
                <a:gd name="connsiteX269" fmla="*/ 223467 w 476250"/>
                <a:gd name="connsiteY269" fmla="*/ 35335 h 476250"/>
                <a:gd name="connsiteX270" fmla="*/ 216095 w 476250"/>
                <a:gd name="connsiteY270" fmla="*/ 39026 h 476250"/>
                <a:gd name="connsiteX271" fmla="*/ 212399 w 476250"/>
                <a:gd name="connsiteY271" fmla="*/ 35335 h 476250"/>
                <a:gd name="connsiteX272" fmla="*/ 212399 w 476250"/>
                <a:gd name="connsiteY272" fmla="*/ 31645 h 476250"/>
                <a:gd name="connsiteX273" fmla="*/ 208713 w 476250"/>
                <a:gd name="connsiteY273" fmla="*/ 20573 h 476250"/>
                <a:gd name="connsiteX274" fmla="*/ 205027 w 476250"/>
                <a:gd name="connsiteY274" fmla="*/ 24264 h 476250"/>
                <a:gd name="connsiteX275" fmla="*/ 201331 w 476250"/>
                <a:gd name="connsiteY275" fmla="*/ 20573 h 476250"/>
                <a:gd name="connsiteX276" fmla="*/ 197645 w 476250"/>
                <a:gd name="connsiteY276" fmla="*/ 9502 h 476250"/>
                <a:gd name="connsiteX277" fmla="*/ 190263 w 476250"/>
                <a:gd name="connsiteY277" fmla="*/ 9502 h 476250"/>
                <a:gd name="connsiteX278" fmla="*/ 186577 w 476250"/>
                <a:gd name="connsiteY278" fmla="*/ 5812 h 476250"/>
                <a:gd name="connsiteX279" fmla="*/ 182891 w 476250"/>
                <a:gd name="connsiteY279" fmla="*/ 9502 h 476250"/>
                <a:gd name="connsiteX280" fmla="*/ 179205 w 476250"/>
                <a:gd name="connsiteY280" fmla="*/ 5812 h 476250"/>
                <a:gd name="connsiteX281" fmla="*/ 175509 w 476250"/>
                <a:gd name="connsiteY281" fmla="*/ 5812 h 476250"/>
                <a:gd name="connsiteX282" fmla="*/ 168137 w 476250"/>
                <a:gd name="connsiteY282" fmla="*/ 5812 h 476250"/>
                <a:gd name="connsiteX283" fmla="*/ 463269 w 476250"/>
                <a:gd name="connsiteY283" fmla="*/ 282603 h 476250"/>
                <a:gd name="connsiteX284" fmla="*/ 466955 w 476250"/>
                <a:gd name="connsiteY284" fmla="*/ 282603 h 476250"/>
                <a:gd name="connsiteX285" fmla="*/ 466955 w 476250"/>
                <a:gd name="connsiteY285" fmla="*/ 278913 h 476250"/>
                <a:gd name="connsiteX286" fmla="*/ 463269 w 476250"/>
                <a:gd name="connsiteY286" fmla="*/ 282603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Lst>
              <a:rect l="l" t="t" r="r" b="b"/>
              <a:pathLst>
                <a:path w="476250" h="476250">
                  <a:moveTo>
                    <a:pt x="168137" y="5812"/>
                  </a:moveTo>
                  <a:lnTo>
                    <a:pt x="160755" y="9502"/>
                  </a:lnTo>
                  <a:lnTo>
                    <a:pt x="157068" y="13192"/>
                  </a:lnTo>
                  <a:lnTo>
                    <a:pt x="157068" y="16882"/>
                  </a:lnTo>
                  <a:lnTo>
                    <a:pt x="149687" y="20573"/>
                  </a:lnTo>
                  <a:lnTo>
                    <a:pt x="142305" y="24264"/>
                  </a:lnTo>
                  <a:lnTo>
                    <a:pt x="138619" y="27954"/>
                  </a:lnTo>
                  <a:lnTo>
                    <a:pt x="138619" y="31645"/>
                  </a:lnTo>
                  <a:lnTo>
                    <a:pt x="134932" y="35335"/>
                  </a:lnTo>
                  <a:lnTo>
                    <a:pt x="131237" y="42717"/>
                  </a:lnTo>
                  <a:lnTo>
                    <a:pt x="127550" y="46407"/>
                  </a:lnTo>
                  <a:lnTo>
                    <a:pt x="127550" y="50098"/>
                  </a:lnTo>
                  <a:lnTo>
                    <a:pt x="120169" y="68551"/>
                  </a:lnTo>
                  <a:lnTo>
                    <a:pt x="120169" y="72242"/>
                  </a:lnTo>
                  <a:lnTo>
                    <a:pt x="120169" y="83313"/>
                  </a:lnTo>
                  <a:lnTo>
                    <a:pt x="116482" y="83313"/>
                  </a:lnTo>
                  <a:lnTo>
                    <a:pt x="112796" y="98075"/>
                  </a:lnTo>
                  <a:lnTo>
                    <a:pt x="109110" y="98075"/>
                  </a:lnTo>
                  <a:lnTo>
                    <a:pt x="98042" y="94385"/>
                  </a:lnTo>
                  <a:lnTo>
                    <a:pt x="94346" y="101765"/>
                  </a:lnTo>
                  <a:lnTo>
                    <a:pt x="105414" y="109147"/>
                  </a:lnTo>
                  <a:lnTo>
                    <a:pt x="116482" y="109147"/>
                  </a:lnTo>
                  <a:lnTo>
                    <a:pt x="123864" y="112837"/>
                  </a:lnTo>
                  <a:lnTo>
                    <a:pt x="120169" y="123909"/>
                  </a:lnTo>
                  <a:lnTo>
                    <a:pt x="120169" y="134981"/>
                  </a:lnTo>
                  <a:lnTo>
                    <a:pt x="120169" y="138672"/>
                  </a:lnTo>
                  <a:lnTo>
                    <a:pt x="127550" y="149743"/>
                  </a:lnTo>
                  <a:lnTo>
                    <a:pt x="142305" y="171887"/>
                  </a:lnTo>
                  <a:lnTo>
                    <a:pt x="146000" y="179268"/>
                  </a:lnTo>
                  <a:lnTo>
                    <a:pt x="149687" y="186649"/>
                  </a:lnTo>
                  <a:lnTo>
                    <a:pt x="153373" y="190339"/>
                  </a:lnTo>
                  <a:lnTo>
                    <a:pt x="142305" y="208792"/>
                  </a:lnTo>
                  <a:lnTo>
                    <a:pt x="142305" y="212483"/>
                  </a:lnTo>
                  <a:lnTo>
                    <a:pt x="138619" y="216173"/>
                  </a:lnTo>
                  <a:lnTo>
                    <a:pt x="134932" y="219864"/>
                  </a:lnTo>
                  <a:lnTo>
                    <a:pt x="123864" y="230936"/>
                  </a:lnTo>
                  <a:lnTo>
                    <a:pt x="109110" y="242008"/>
                  </a:lnTo>
                  <a:lnTo>
                    <a:pt x="94346" y="227245"/>
                  </a:lnTo>
                  <a:lnTo>
                    <a:pt x="83278" y="227245"/>
                  </a:lnTo>
                  <a:lnTo>
                    <a:pt x="72210" y="223555"/>
                  </a:lnTo>
                  <a:lnTo>
                    <a:pt x="64838" y="227245"/>
                  </a:lnTo>
                  <a:lnTo>
                    <a:pt x="64838" y="230936"/>
                  </a:lnTo>
                  <a:lnTo>
                    <a:pt x="64838" y="234627"/>
                  </a:lnTo>
                  <a:lnTo>
                    <a:pt x="57456" y="238317"/>
                  </a:lnTo>
                  <a:lnTo>
                    <a:pt x="46388" y="253080"/>
                  </a:lnTo>
                  <a:lnTo>
                    <a:pt x="42702" y="256770"/>
                  </a:lnTo>
                  <a:lnTo>
                    <a:pt x="39006" y="260461"/>
                  </a:lnTo>
                  <a:lnTo>
                    <a:pt x="24252" y="267841"/>
                  </a:lnTo>
                  <a:lnTo>
                    <a:pt x="16879" y="275222"/>
                  </a:lnTo>
                  <a:lnTo>
                    <a:pt x="5812" y="282603"/>
                  </a:lnTo>
                  <a:lnTo>
                    <a:pt x="9498" y="289985"/>
                  </a:lnTo>
                  <a:lnTo>
                    <a:pt x="9498" y="293675"/>
                  </a:lnTo>
                  <a:lnTo>
                    <a:pt x="20566" y="304747"/>
                  </a:lnTo>
                  <a:lnTo>
                    <a:pt x="24252" y="308438"/>
                  </a:lnTo>
                  <a:lnTo>
                    <a:pt x="31634" y="315819"/>
                  </a:lnTo>
                  <a:lnTo>
                    <a:pt x="35320" y="319510"/>
                  </a:lnTo>
                  <a:lnTo>
                    <a:pt x="39006" y="323200"/>
                  </a:lnTo>
                  <a:lnTo>
                    <a:pt x="42702" y="330581"/>
                  </a:lnTo>
                  <a:lnTo>
                    <a:pt x="46388" y="330581"/>
                  </a:lnTo>
                  <a:lnTo>
                    <a:pt x="42702" y="337963"/>
                  </a:lnTo>
                  <a:lnTo>
                    <a:pt x="39006" y="341653"/>
                  </a:lnTo>
                  <a:lnTo>
                    <a:pt x="31634" y="349034"/>
                  </a:lnTo>
                  <a:lnTo>
                    <a:pt x="31634" y="352724"/>
                  </a:lnTo>
                  <a:lnTo>
                    <a:pt x="27948" y="352724"/>
                  </a:lnTo>
                  <a:lnTo>
                    <a:pt x="24252" y="356415"/>
                  </a:lnTo>
                  <a:lnTo>
                    <a:pt x="13184" y="360105"/>
                  </a:lnTo>
                  <a:lnTo>
                    <a:pt x="9498" y="363796"/>
                  </a:lnTo>
                  <a:lnTo>
                    <a:pt x="5812" y="363796"/>
                  </a:lnTo>
                  <a:lnTo>
                    <a:pt x="5812" y="367486"/>
                  </a:lnTo>
                  <a:lnTo>
                    <a:pt x="9498" y="374868"/>
                  </a:lnTo>
                  <a:lnTo>
                    <a:pt x="13184" y="382249"/>
                  </a:lnTo>
                  <a:lnTo>
                    <a:pt x="16879" y="389630"/>
                  </a:lnTo>
                  <a:lnTo>
                    <a:pt x="16879" y="393321"/>
                  </a:lnTo>
                  <a:lnTo>
                    <a:pt x="16879" y="397011"/>
                  </a:lnTo>
                  <a:lnTo>
                    <a:pt x="24252" y="408083"/>
                  </a:lnTo>
                  <a:lnTo>
                    <a:pt x="24252" y="411774"/>
                  </a:lnTo>
                  <a:lnTo>
                    <a:pt x="31634" y="415464"/>
                  </a:lnTo>
                  <a:lnTo>
                    <a:pt x="31634" y="419155"/>
                  </a:lnTo>
                  <a:lnTo>
                    <a:pt x="27948" y="422846"/>
                  </a:lnTo>
                  <a:lnTo>
                    <a:pt x="39006" y="426536"/>
                  </a:lnTo>
                  <a:lnTo>
                    <a:pt x="35320" y="422846"/>
                  </a:lnTo>
                  <a:lnTo>
                    <a:pt x="39006" y="419155"/>
                  </a:lnTo>
                  <a:lnTo>
                    <a:pt x="39006" y="422846"/>
                  </a:lnTo>
                  <a:lnTo>
                    <a:pt x="42702" y="426536"/>
                  </a:lnTo>
                  <a:lnTo>
                    <a:pt x="42702" y="422846"/>
                  </a:lnTo>
                  <a:lnTo>
                    <a:pt x="46388" y="419155"/>
                  </a:lnTo>
                  <a:lnTo>
                    <a:pt x="50074" y="419155"/>
                  </a:lnTo>
                  <a:lnTo>
                    <a:pt x="53770" y="419155"/>
                  </a:lnTo>
                  <a:lnTo>
                    <a:pt x="57456" y="419155"/>
                  </a:lnTo>
                  <a:lnTo>
                    <a:pt x="57456" y="422846"/>
                  </a:lnTo>
                  <a:lnTo>
                    <a:pt x="61142" y="422846"/>
                  </a:lnTo>
                  <a:lnTo>
                    <a:pt x="64838" y="422846"/>
                  </a:lnTo>
                  <a:lnTo>
                    <a:pt x="68524" y="422846"/>
                  </a:lnTo>
                  <a:lnTo>
                    <a:pt x="68524" y="426536"/>
                  </a:lnTo>
                  <a:lnTo>
                    <a:pt x="72210" y="430227"/>
                  </a:lnTo>
                  <a:lnTo>
                    <a:pt x="75906" y="430227"/>
                  </a:lnTo>
                  <a:lnTo>
                    <a:pt x="75906" y="433917"/>
                  </a:lnTo>
                  <a:lnTo>
                    <a:pt x="79592" y="433917"/>
                  </a:lnTo>
                  <a:lnTo>
                    <a:pt x="83278" y="433917"/>
                  </a:lnTo>
                  <a:lnTo>
                    <a:pt x="83278" y="430227"/>
                  </a:lnTo>
                  <a:lnTo>
                    <a:pt x="86974" y="430227"/>
                  </a:lnTo>
                  <a:lnTo>
                    <a:pt x="86974" y="433917"/>
                  </a:lnTo>
                  <a:lnTo>
                    <a:pt x="90660" y="433917"/>
                  </a:lnTo>
                  <a:lnTo>
                    <a:pt x="94346" y="433917"/>
                  </a:lnTo>
                  <a:lnTo>
                    <a:pt x="98042" y="433917"/>
                  </a:lnTo>
                  <a:lnTo>
                    <a:pt x="101728" y="430227"/>
                  </a:lnTo>
                  <a:lnTo>
                    <a:pt x="105414" y="430227"/>
                  </a:lnTo>
                  <a:lnTo>
                    <a:pt x="109110" y="430227"/>
                  </a:lnTo>
                  <a:lnTo>
                    <a:pt x="109110" y="433917"/>
                  </a:lnTo>
                  <a:lnTo>
                    <a:pt x="105414" y="433917"/>
                  </a:lnTo>
                  <a:lnTo>
                    <a:pt x="105414" y="437607"/>
                  </a:lnTo>
                  <a:lnTo>
                    <a:pt x="109110" y="437607"/>
                  </a:lnTo>
                  <a:lnTo>
                    <a:pt x="109110" y="441298"/>
                  </a:lnTo>
                  <a:lnTo>
                    <a:pt x="112796" y="444988"/>
                  </a:lnTo>
                  <a:lnTo>
                    <a:pt x="116482" y="444988"/>
                  </a:lnTo>
                  <a:lnTo>
                    <a:pt x="120169" y="448679"/>
                  </a:lnTo>
                  <a:lnTo>
                    <a:pt x="123864" y="448679"/>
                  </a:lnTo>
                  <a:lnTo>
                    <a:pt x="123864" y="452370"/>
                  </a:lnTo>
                  <a:lnTo>
                    <a:pt x="123864" y="456060"/>
                  </a:lnTo>
                  <a:lnTo>
                    <a:pt x="127550" y="456060"/>
                  </a:lnTo>
                  <a:lnTo>
                    <a:pt x="127550" y="459751"/>
                  </a:lnTo>
                  <a:lnTo>
                    <a:pt x="131237" y="463441"/>
                  </a:lnTo>
                  <a:lnTo>
                    <a:pt x="131237" y="470823"/>
                  </a:lnTo>
                  <a:lnTo>
                    <a:pt x="134932" y="474513"/>
                  </a:lnTo>
                  <a:lnTo>
                    <a:pt x="138619" y="474513"/>
                  </a:lnTo>
                  <a:lnTo>
                    <a:pt x="138619" y="470823"/>
                  </a:lnTo>
                  <a:lnTo>
                    <a:pt x="142305" y="470823"/>
                  </a:lnTo>
                  <a:lnTo>
                    <a:pt x="146000" y="470823"/>
                  </a:lnTo>
                  <a:lnTo>
                    <a:pt x="146000" y="467132"/>
                  </a:lnTo>
                  <a:lnTo>
                    <a:pt x="149687" y="467132"/>
                  </a:lnTo>
                  <a:lnTo>
                    <a:pt x="149687" y="470823"/>
                  </a:lnTo>
                  <a:lnTo>
                    <a:pt x="153373" y="470823"/>
                  </a:lnTo>
                  <a:lnTo>
                    <a:pt x="153373" y="467132"/>
                  </a:lnTo>
                  <a:lnTo>
                    <a:pt x="157068" y="463441"/>
                  </a:lnTo>
                  <a:lnTo>
                    <a:pt x="160755" y="463441"/>
                  </a:lnTo>
                  <a:lnTo>
                    <a:pt x="160755" y="467132"/>
                  </a:lnTo>
                  <a:lnTo>
                    <a:pt x="160755" y="470823"/>
                  </a:lnTo>
                  <a:lnTo>
                    <a:pt x="164441" y="470823"/>
                  </a:lnTo>
                  <a:lnTo>
                    <a:pt x="168137" y="474513"/>
                  </a:lnTo>
                  <a:lnTo>
                    <a:pt x="171823" y="470823"/>
                  </a:lnTo>
                  <a:lnTo>
                    <a:pt x="175509" y="467132"/>
                  </a:lnTo>
                  <a:lnTo>
                    <a:pt x="175509" y="463441"/>
                  </a:lnTo>
                  <a:lnTo>
                    <a:pt x="179205" y="467132"/>
                  </a:lnTo>
                  <a:lnTo>
                    <a:pt x="182891" y="470823"/>
                  </a:lnTo>
                  <a:lnTo>
                    <a:pt x="190263" y="470823"/>
                  </a:lnTo>
                  <a:lnTo>
                    <a:pt x="193959" y="470823"/>
                  </a:lnTo>
                  <a:lnTo>
                    <a:pt x="197645" y="474513"/>
                  </a:lnTo>
                  <a:lnTo>
                    <a:pt x="201331" y="474513"/>
                  </a:lnTo>
                  <a:lnTo>
                    <a:pt x="201331" y="470823"/>
                  </a:lnTo>
                  <a:lnTo>
                    <a:pt x="197645" y="448679"/>
                  </a:lnTo>
                  <a:lnTo>
                    <a:pt x="205027" y="441298"/>
                  </a:lnTo>
                  <a:lnTo>
                    <a:pt x="212399" y="433917"/>
                  </a:lnTo>
                  <a:lnTo>
                    <a:pt x="216095" y="430227"/>
                  </a:lnTo>
                  <a:lnTo>
                    <a:pt x="230849" y="430227"/>
                  </a:lnTo>
                  <a:lnTo>
                    <a:pt x="241917" y="426536"/>
                  </a:lnTo>
                  <a:lnTo>
                    <a:pt x="245603" y="426536"/>
                  </a:lnTo>
                  <a:lnTo>
                    <a:pt x="245603" y="422846"/>
                  </a:lnTo>
                  <a:lnTo>
                    <a:pt x="252985" y="426536"/>
                  </a:lnTo>
                  <a:lnTo>
                    <a:pt x="260358" y="430227"/>
                  </a:lnTo>
                  <a:lnTo>
                    <a:pt x="267739" y="433917"/>
                  </a:lnTo>
                  <a:lnTo>
                    <a:pt x="282494" y="441298"/>
                  </a:lnTo>
                  <a:lnTo>
                    <a:pt x="289876" y="441298"/>
                  </a:lnTo>
                  <a:lnTo>
                    <a:pt x="293562" y="444988"/>
                  </a:lnTo>
                  <a:lnTo>
                    <a:pt x="289876" y="448679"/>
                  </a:lnTo>
                  <a:lnTo>
                    <a:pt x="289876" y="452370"/>
                  </a:lnTo>
                  <a:lnTo>
                    <a:pt x="289876" y="456060"/>
                  </a:lnTo>
                  <a:lnTo>
                    <a:pt x="289876" y="459751"/>
                  </a:lnTo>
                  <a:lnTo>
                    <a:pt x="293562" y="459751"/>
                  </a:lnTo>
                  <a:lnTo>
                    <a:pt x="297257" y="456060"/>
                  </a:lnTo>
                  <a:lnTo>
                    <a:pt x="300944" y="456060"/>
                  </a:lnTo>
                  <a:lnTo>
                    <a:pt x="304630" y="452370"/>
                  </a:lnTo>
                  <a:lnTo>
                    <a:pt x="308326" y="444988"/>
                  </a:lnTo>
                  <a:lnTo>
                    <a:pt x="315698" y="444988"/>
                  </a:lnTo>
                  <a:lnTo>
                    <a:pt x="319394" y="444988"/>
                  </a:lnTo>
                  <a:lnTo>
                    <a:pt x="323080" y="441298"/>
                  </a:lnTo>
                  <a:lnTo>
                    <a:pt x="326766" y="441298"/>
                  </a:lnTo>
                  <a:lnTo>
                    <a:pt x="330452" y="441298"/>
                  </a:lnTo>
                  <a:lnTo>
                    <a:pt x="334148" y="441298"/>
                  </a:lnTo>
                  <a:lnTo>
                    <a:pt x="337834" y="441298"/>
                  </a:lnTo>
                  <a:lnTo>
                    <a:pt x="341520" y="441298"/>
                  </a:lnTo>
                  <a:lnTo>
                    <a:pt x="345216" y="444988"/>
                  </a:lnTo>
                  <a:lnTo>
                    <a:pt x="348902" y="441298"/>
                  </a:lnTo>
                  <a:lnTo>
                    <a:pt x="352588" y="441298"/>
                  </a:lnTo>
                  <a:lnTo>
                    <a:pt x="359970" y="441298"/>
                  </a:lnTo>
                  <a:lnTo>
                    <a:pt x="367352" y="441298"/>
                  </a:lnTo>
                  <a:lnTo>
                    <a:pt x="371038" y="437607"/>
                  </a:lnTo>
                  <a:lnTo>
                    <a:pt x="374724" y="441298"/>
                  </a:lnTo>
                  <a:lnTo>
                    <a:pt x="382106" y="441298"/>
                  </a:lnTo>
                  <a:lnTo>
                    <a:pt x="385792" y="441298"/>
                  </a:lnTo>
                  <a:lnTo>
                    <a:pt x="393174" y="444988"/>
                  </a:lnTo>
                  <a:lnTo>
                    <a:pt x="393174" y="448679"/>
                  </a:lnTo>
                  <a:lnTo>
                    <a:pt x="396860" y="448679"/>
                  </a:lnTo>
                  <a:lnTo>
                    <a:pt x="404242" y="448679"/>
                  </a:lnTo>
                  <a:lnTo>
                    <a:pt x="407928" y="448679"/>
                  </a:lnTo>
                  <a:lnTo>
                    <a:pt x="411615" y="448679"/>
                  </a:lnTo>
                  <a:lnTo>
                    <a:pt x="418997" y="448679"/>
                  </a:lnTo>
                  <a:lnTo>
                    <a:pt x="422683" y="444988"/>
                  </a:lnTo>
                  <a:lnTo>
                    <a:pt x="426378" y="444988"/>
                  </a:lnTo>
                  <a:lnTo>
                    <a:pt x="430064" y="448679"/>
                  </a:lnTo>
                  <a:lnTo>
                    <a:pt x="433751" y="444988"/>
                  </a:lnTo>
                  <a:lnTo>
                    <a:pt x="433751" y="448679"/>
                  </a:lnTo>
                  <a:lnTo>
                    <a:pt x="437446" y="448679"/>
                  </a:lnTo>
                  <a:lnTo>
                    <a:pt x="448514" y="452370"/>
                  </a:lnTo>
                  <a:lnTo>
                    <a:pt x="452201" y="452370"/>
                  </a:lnTo>
                  <a:lnTo>
                    <a:pt x="459583" y="444988"/>
                  </a:lnTo>
                  <a:lnTo>
                    <a:pt x="459583" y="441298"/>
                  </a:lnTo>
                  <a:lnTo>
                    <a:pt x="459583" y="433917"/>
                  </a:lnTo>
                  <a:lnTo>
                    <a:pt x="459583" y="419155"/>
                  </a:lnTo>
                  <a:lnTo>
                    <a:pt x="463269" y="382249"/>
                  </a:lnTo>
                  <a:lnTo>
                    <a:pt x="463269" y="334272"/>
                  </a:lnTo>
                  <a:lnTo>
                    <a:pt x="463269" y="312128"/>
                  </a:lnTo>
                  <a:lnTo>
                    <a:pt x="474337" y="289985"/>
                  </a:lnTo>
                  <a:lnTo>
                    <a:pt x="463269" y="289985"/>
                  </a:lnTo>
                  <a:lnTo>
                    <a:pt x="463269" y="282603"/>
                  </a:lnTo>
                  <a:lnTo>
                    <a:pt x="459583" y="278913"/>
                  </a:lnTo>
                  <a:lnTo>
                    <a:pt x="452201" y="267841"/>
                  </a:lnTo>
                  <a:lnTo>
                    <a:pt x="448514" y="267841"/>
                  </a:lnTo>
                  <a:lnTo>
                    <a:pt x="448514" y="264151"/>
                  </a:lnTo>
                  <a:lnTo>
                    <a:pt x="437446" y="264151"/>
                  </a:lnTo>
                  <a:lnTo>
                    <a:pt x="437446" y="260461"/>
                  </a:lnTo>
                  <a:lnTo>
                    <a:pt x="444819" y="238317"/>
                  </a:lnTo>
                  <a:lnTo>
                    <a:pt x="448514" y="234627"/>
                  </a:lnTo>
                  <a:lnTo>
                    <a:pt x="448514" y="227245"/>
                  </a:lnTo>
                  <a:lnTo>
                    <a:pt x="441133" y="227245"/>
                  </a:lnTo>
                  <a:lnTo>
                    <a:pt x="437446" y="223555"/>
                  </a:lnTo>
                  <a:lnTo>
                    <a:pt x="433751" y="219864"/>
                  </a:lnTo>
                  <a:lnTo>
                    <a:pt x="430064" y="212483"/>
                  </a:lnTo>
                  <a:lnTo>
                    <a:pt x="422683" y="201411"/>
                  </a:lnTo>
                  <a:lnTo>
                    <a:pt x="418997" y="201411"/>
                  </a:lnTo>
                  <a:lnTo>
                    <a:pt x="418997" y="197720"/>
                  </a:lnTo>
                  <a:lnTo>
                    <a:pt x="415310" y="197720"/>
                  </a:lnTo>
                  <a:lnTo>
                    <a:pt x="411615" y="190339"/>
                  </a:lnTo>
                  <a:lnTo>
                    <a:pt x="407928" y="182958"/>
                  </a:lnTo>
                  <a:lnTo>
                    <a:pt x="404242" y="179268"/>
                  </a:lnTo>
                  <a:lnTo>
                    <a:pt x="400546" y="175578"/>
                  </a:lnTo>
                  <a:lnTo>
                    <a:pt x="400546" y="171887"/>
                  </a:lnTo>
                  <a:lnTo>
                    <a:pt x="396860" y="168196"/>
                  </a:lnTo>
                  <a:lnTo>
                    <a:pt x="389488" y="160815"/>
                  </a:lnTo>
                  <a:lnTo>
                    <a:pt x="382106" y="153434"/>
                  </a:lnTo>
                  <a:lnTo>
                    <a:pt x="378420" y="149743"/>
                  </a:lnTo>
                  <a:lnTo>
                    <a:pt x="359970" y="131290"/>
                  </a:lnTo>
                  <a:lnTo>
                    <a:pt x="348902" y="120219"/>
                  </a:lnTo>
                  <a:lnTo>
                    <a:pt x="337834" y="109147"/>
                  </a:lnTo>
                  <a:lnTo>
                    <a:pt x="337834" y="105456"/>
                  </a:lnTo>
                  <a:lnTo>
                    <a:pt x="323080" y="94385"/>
                  </a:lnTo>
                  <a:lnTo>
                    <a:pt x="319394" y="87004"/>
                  </a:lnTo>
                  <a:lnTo>
                    <a:pt x="304630" y="75932"/>
                  </a:lnTo>
                  <a:lnTo>
                    <a:pt x="304630" y="72242"/>
                  </a:lnTo>
                  <a:lnTo>
                    <a:pt x="300944" y="72242"/>
                  </a:lnTo>
                  <a:lnTo>
                    <a:pt x="297257" y="68551"/>
                  </a:lnTo>
                  <a:lnTo>
                    <a:pt x="293562" y="68551"/>
                  </a:lnTo>
                  <a:lnTo>
                    <a:pt x="289876" y="68551"/>
                  </a:lnTo>
                  <a:lnTo>
                    <a:pt x="278808" y="68551"/>
                  </a:lnTo>
                  <a:lnTo>
                    <a:pt x="271426" y="72242"/>
                  </a:lnTo>
                  <a:lnTo>
                    <a:pt x="267739" y="72242"/>
                  </a:lnTo>
                  <a:lnTo>
                    <a:pt x="249299" y="79623"/>
                  </a:lnTo>
                  <a:lnTo>
                    <a:pt x="249299" y="75932"/>
                  </a:lnTo>
                  <a:lnTo>
                    <a:pt x="245603" y="72242"/>
                  </a:lnTo>
                  <a:lnTo>
                    <a:pt x="249299" y="68551"/>
                  </a:lnTo>
                  <a:lnTo>
                    <a:pt x="245603" y="68551"/>
                  </a:lnTo>
                  <a:lnTo>
                    <a:pt x="245603" y="64860"/>
                  </a:lnTo>
                  <a:lnTo>
                    <a:pt x="241917" y="61170"/>
                  </a:lnTo>
                  <a:lnTo>
                    <a:pt x="238231" y="57479"/>
                  </a:lnTo>
                  <a:lnTo>
                    <a:pt x="234535" y="53789"/>
                  </a:lnTo>
                  <a:lnTo>
                    <a:pt x="234535" y="50098"/>
                  </a:lnTo>
                  <a:lnTo>
                    <a:pt x="227163" y="50098"/>
                  </a:lnTo>
                  <a:lnTo>
                    <a:pt x="227163" y="46407"/>
                  </a:lnTo>
                  <a:lnTo>
                    <a:pt x="223467" y="42717"/>
                  </a:lnTo>
                  <a:lnTo>
                    <a:pt x="223467" y="39026"/>
                  </a:lnTo>
                  <a:lnTo>
                    <a:pt x="223467" y="35335"/>
                  </a:lnTo>
                  <a:lnTo>
                    <a:pt x="216095" y="39026"/>
                  </a:lnTo>
                  <a:lnTo>
                    <a:pt x="212399" y="35335"/>
                  </a:lnTo>
                  <a:lnTo>
                    <a:pt x="212399" y="31645"/>
                  </a:lnTo>
                  <a:lnTo>
                    <a:pt x="208713" y="20573"/>
                  </a:lnTo>
                  <a:lnTo>
                    <a:pt x="205027" y="24264"/>
                  </a:lnTo>
                  <a:lnTo>
                    <a:pt x="201331" y="20573"/>
                  </a:lnTo>
                  <a:lnTo>
                    <a:pt x="197645" y="9502"/>
                  </a:lnTo>
                  <a:lnTo>
                    <a:pt x="190263" y="9502"/>
                  </a:lnTo>
                  <a:lnTo>
                    <a:pt x="186577" y="5812"/>
                  </a:lnTo>
                  <a:lnTo>
                    <a:pt x="182891" y="9502"/>
                  </a:lnTo>
                  <a:lnTo>
                    <a:pt x="179205" y="5812"/>
                  </a:lnTo>
                  <a:lnTo>
                    <a:pt x="175509" y="5812"/>
                  </a:lnTo>
                  <a:lnTo>
                    <a:pt x="168137" y="5812"/>
                  </a:lnTo>
                  <a:close/>
                  <a:moveTo>
                    <a:pt x="463269" y="282603"/>
                  </a:moveTo>
                  <a:lnTo>
                    <a:pt x="466955" y="282603"/>
                  </a:lnTo>
                  <a:lnTo>
                    <a:pt x="466955" y="278913"/>
                  </a:lnTo>
                  <a:lnTo>
                    <a:pt x="463269" y="282603"/>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97" name="Freeform: Shape 96">
              <a:extLst>
                <a:ext uri="{FF2B5EF4-FFF2-40B4-BE49-F238E27FC236}">
                  <a16:creationId xmlns:a16="http://schemas.microsoft.com/office/drawing/2014/main" id="{0185A3F9-F20B-4CC7-A075-B2D42E8A9E6B}"/>
                </a:ext>
              </a:extLst>
            </p:cNvPr>
            <p:cNvSpPr/>
            <p:nvPr/>
          </p:nvSpPr>
          <p:spPr>
            <a:xfrm>
              <a:off x="6275283" y="2442035"/>
              <a:ext cx="1404534" cy="1319410"/>
            </a:xfrm>
            <a:custGeom>
              <a:avLst/>
              <a:gdLst>
                <a:gd name="connsiteX0" fmla="*/ 160768 w 628650"/>
                <a:gd name="connsiteY0" fmla="*/ 5815 h 590550"/>
                <a:gd name="connsiteX1" fmla="*/ 149700 w 628650"/>
                <a:gd name="connsiteY1" fmla="*/ 13197 h 590550"/>
                <a:gd name="connsiteX2" fmla="*/ 146004 w 628650"/>
                <a:gd name="connsiteY2" fmla="*/ 16887 h 590550"/>
                <a:gd name="connsiteX3" fmla="*/ 142318 w 628650"/>
                <a:gd name="connsiteY3" fmla="*/ 20578 h 590550"/>
                <a:gd name="connsiteX4" fmla="*/ 131250 w 628650"/>
                <a:gd name="connsiteY4" fmla="*/ 20578 h 590550"/>
                <a:gd name="connsiteX5" fmla="*/ 127564 w 628650"/>
                <a:gd name="connsiteY5" fmla="*/ 20578 h 590550"/>
                <a:gd name="connsiteX6" fmla="*/ 131250 w 628650"/>
                <a:gd name="connsiteY6" fmla="*/ 27959 h 590550"/>
                <a:gd name="connsiteX7" fmla="*/ 131250 w 628650"/>
                <a:gd name="connsiteY7" fmla="*/ 31650 h 590550"/>
                <a:gd name="connsiteX8" fmla="*/ 127564 w 628650"/>
                <a:gd name="connsiteY8" fmla="*/ 31650 h 590550"/>
                <a:gd name="connsiteX9" fmla="*/ 123877 w 628650"/>
                <a:gd name="connsiteY9" fmla="*/ 35340 h 590550"/>
                <a:gd name="connsiteX10" fmla="*/ 116495 w 628650"/>
                <a:gd name="connsiteY10" fmla="*/ 39031 h 590550"/>
                <a:gd name="connsiteX11" fmla="*/ 116495 w 628650"/>
                <a:gd name="connsiteY11" fmla="*/ 31650 h 590550"/>
                <a:gd name="connsiteX12" fmla="*/ 105427 w 628650"/>
                <a:gd name="connsiteY12" fmla="*/ 35340 h 590550"/>
                <a:gd name="connsiteX13" fmla="*/ 101741 w 628650"/>
                <a:gd name="connsiteY13" fmla="*/ 39031 h 590550"/>
                <a:gd name="connsiteX14" fmla="*/ 101741 w 628650"/>
                <a:gd name="connsiteY14" fmla="*/ 35340 h 590550"/>
                <a:gd name="connsiteX15" fmla="*/ 98046 w 628650"/>
                <a:gd name="connsiteY15" fmla="*/ 35340 h 590550"/>
                <a:gd name="connsiteX16" fmla="*/ 94359 w 628650"/>
                <a:gd name="connsiteY16" fmla="*/ 31650 h 590550"/>
                <a:gd name="connsiteX17" fmla="*/ 90673 w 628650"/>
                <a:gd name="connsiteY17" fmla="*/ 24269 h 590550"/>
                <a:gd name="connsiteX18" fmla="*/ 90673 w 628650"/>
                <a:gd name="connsiteY18" fmla="*/ 16887 h 590550"/>
                <a:gd name="connsiteX19" fmla="*/ 83291 w 628650"/>
                <a:gd name="connsiteY19" fmla="*/ 20578 h 590550"/>
                <a:gd name="connsiteX20" fmla="*/ 83291 w 628650"/>
                <a:gd name="connsiteY20" fmla="*/ 24269 h 590550"/>
                <a:gd name="connsiteX21" fmla="*/ 75909 w 628650"/>
                <a:gd name="connsiteY21" fmla="*/ 20578 h 590550"/>
                <a:gd name="connsiteX22" fmla="*/ 75909 w 628650"/>
                <a:gd name="connsiteY22" fmla="*/ 24269 h 590550"/>
                <a:gd name="connsiteX23" fmla="*/ 68537 w 628650"/>
                <a:gd name="connsiteY23" fmla="*/ 24269 h 590550"/>
                <a:gd name="connsiteX24" fmla="*/ 64841 w 628650"/>
                <a:gd name="connsiteY24" fmla="*/ 27959 h 590550"/>
                <a:gd name="connsiteX25" fmla="*/ 64841 w 628650"/>
                <a:gd name="connsiteY25" fmla="*/ 31650 h 590550"/>
                <a:gd name="connsiteX26" fmla="*/ 61155 w 628650"/>
                <a:gd name="connsiteY26" fmla="*/ 35340 h 590550"/>
                <a:gd name="connsiteX27" fmla="*/ 61155 w 628650"/>
                <a:gd name="connsiteY27" fmla="*/ 39031 h 590550"/>
                <a:gd name="connsiteX28" fmla="*/ 57469 w 628650"/>
                <a:gd name="connsiteY28" fmla="*/ 42722 h 590550"/>
                <a:gd name="connsiteX29" fmla="*/ 53773 w 628650"/>
                <a:gd name="connsiteY29" fmla="*/ 42722 h 590550"/>
                <a:gd name="connsiteX30" fmla="*/ 53773 w 628650"/>
                <a:gd name="connsiteY30" fmla="*/ 46412 h 590550"/>
                <a:gd name="connsiteX31" fmla="*/ 50087 w 628650"/>
                <a:gd name="connsiteY31" fmla="*/ 46412 h 590550"/>
                <a:gd name="connsiteX32" fmla="*/ 46401 w 628650"/>
                <a:gd name="connsiteY32" fmla="*/ 50102 h 590550"/>
                <a:gd name="connsiteX33" fmla="*/ 42715 w 628650"/>
                <a:gd name="connsiteY33" fmla="*/ 50102 h 590550"/>
                <a:gd name="connsiteX34" fmla="*/ 39019 w 628650"/>
                <a:gd name="connsiteY34" fmla="*/ 50102 h 590550"/>
                <a:gd name="connsiteX35" fmla="*/ 35333 w 628650"/>
                <a:gd name="connsiteY35" fmla="*/ 50102 h 590550"/>
                <a:gd name="connsiteX36" fmla="*/ 31647 w 628650"/>
                <a:gd name="connsiteY36" fmla="*/ 46412 h 590550"/>
                <a:gd name="connsiteX37" fmla="*/ 27951 w 628650"/>
                <a:gd name="connsiteY37" fmla="*/ 46412 h 590550"/>
                <a:gd name="connsiteX38" fmla="*/ 24265 w 628650"/>
                <a:gd name="connsiteY38" fmla="*/ 46412 h 590550"/>
                <a:gd name="connsiteX39" fmla="*/ 24265 w 628650"/>
                <a:gd name="connsiteY39" fmla="*/ 42722 h 590550"/>
                <a:gd name="connsiteX40" fmla="*/ 20579 w 628650"/>
                <a:gd name="connsiteY40" fmla="*/ 42722 h 590550"/>
                <a:gd name="connsiteX41" fmla="*/ 16883 w 628650"/>
                <a:gd name="connsiteY41" fmla="*/ 42722 h 590550"/>
                <a:gd name="connsiteX42" fmla="*/ 16883 w 628650"/>
                <a:gd name="connsiteY42" fmla="*/ 39031 h 590550"/>
                <a:gd name="connsiteX43" fmla="*/ 13197 w 628650"/>
                <a:gd name="connsiteY43" fmla="*/ 39031 h 590550"/>
                <a:gd name="connsiteX44" fmla="*/ 5815 w 628650"/>
                <a:gd name="connsiteY44" fmla="*/ 46412 h 590550"/>
                <a:gd name="connsiteX45" fmla="*/ 9511 w 628650"/>
                <a:gd name="connsiteY45" fmla="*/ 53792 h 590550"/>
                <a:gd name="connsiteX46" fmla="*/ 13197 w 628650"/>
                <a:gd name="connsiteY46" fmla="*/ 57483 h 590550"/>
                <a:gd name="connsiteX47" fmla="*/ 16883 w 628650"/>
                <a:gd name="connsiteY47" fmla="*/ 61174 h 590550"/>
                <a:gd name="connsiteX48" fmla="*/ 16883 w 628650"/>
                <a:gd name="connsiteY48" fmla="*/ 64864 h 590550"/>
                <a:gd name="connsiteX49" fmla="*/ 24265 w 628650"/>
                <a:gd name="connsiteY49" fmla="*/ 64864 h 590550"/>
                <a:gd name="connsiteX50" fmla="*/ 31647 w 628650"/>
                <a:gd name="connsiteY50" fmla="*/ 64864 h 590550"/>
                <a:gd name="connsiteX51" fmla="*/ 35333 w 628650"/>
                <a:gd name="connsiteY51" fmla="*/ 68555 h 590550"/>
                <a:gd name="connsiteX52" fmla="*/ 46401 w 628650"/>
                <a:gd name="connsiteY52" fmla="*/ 72246 h 590550"/>
                <a:gd name="connsiteX53" fmla="*/ 50087 w 628650"/>
                <a:gd name="connsiteY53" fmla="*/ 79627 h 590550"/>
                <a:gd name="connsiteX54" fmla="*/ 53773 w 628650"/>
                <a:gd name="connsiteY54" fmla="*/ 83317 h 590550"/>
                <a:gd name="connsiteX55" fmla="*/ 57469 w 628650"/>
                <a:gd name="connsiteY55" fmla="*/ 83317 h 590550"/>
                <a:gd name="connsiteX56" fmla="*/ 64841 w 628650"/>
                <a:gd name="connsiteY56" fmla="*/ 90698 h 590550"/>
                <a:gd name="connsiteX57" fmla="*/ 68537 w 628650"/>
                <a:gd name="connsiteY57" fmla="*/ 101770 h 590550"/>
                <a:gd name="connsiteX58" fmla="*/ 75909 w 628650"/>
                <a:gd name="connsiteY58" fmla="*/ 116533 h 590550"/>
                <a:gd name="connsiteX59" fmla="*/ 75909 w 628650"/>
                <a:gd name="connsiteY59" fmla="*/ 120223 h 590550"/>
                <a:gd name="connsiteX60" fmla="*/ 79605 w 628650"/>
                <a:gd name="connsiteY60" fmla="*/ 120223 h 590550"/>
                <a:gd name="connsiteX61" fmla="*/ 83291 w 628650"/>
                <a:gd name="connsiteY61" fmla="*/ 123914 h 590550"/>
                <a:gd name="connsiteX62" fmla="*/ 83291 w 628650"/>
                <a:gd name="connsiteY62" fmla="*/ 127604 h 590550"/>
                <a:gd name="connsiteX63" fmla="*/ 86978 w 628650"/>
                <a:gd name="connsiteY63" fmla="*/ 131295 h 590550"/>
                <a:gd name="connsiteX64" fmla="*/ 86978 w 628650"/>
                <a:gd name="connsiteY64" fmla="*/ 134985 h 590550"/>
                <a:gd name="connsiteX65" fmla="*/ 86978 w 628650"/>
                <a:gd name="connsiteY65" fmla="*/ 138675 h 590550"/>
                <a:gd name="connsiteX66" fmla="*/ 79605 w 628650"/>
                <a:gd name="connsiteY66" fmla="*/ 142366 h 590550"/>
                <a:gd name="connsiteX67" fmla="*/ 75909 w 628650"/>
                <a:gd name="connsiteY67" fmla="*/ 146057 h 590550"/>
                <a:gd name="connsiteX68" fmla="*/ 72223 w 628650"/>
                <a:gd name="connsiteY68" fmla="*/ 149747 h 590550"/>
                <a:gd name="connsiteX69" fmla="*/ 72223 w 628650"/>
                <a:gd name="connsiteY69" fmla="*/ 153438 h 590550"/>
                <a:gd name="connsiteX70" fmla="*/ 72223 w 628650"/>
                <a:gd name="connsiteY70" fmla="*/ 157129 h 590550"/>
                <a:gd name="connsiteX71" fmla="*/ 75909 w 628650"/>
                <a:gd name="connsiteY71" fmla="*/ 157129 h 590550"/>
                <a:gd name="connsiteX72" fmla="*/ 75909 w 628650"/>
                <a:gd name="connsiteY72" fmla="*/ 153438 h 590550"/>
                <a:gd name="connsiteX73" fmla="*/ 83291 w 628650"/>
                <a:gd name="connsiteY73" fmla="*/ 157129 h 590550"/>
                <a:gd name="connsiteX74" fmla="*/ 86978 w 628650"/>
                <a:gd name="connsiteY74" fmla="*/ 157129 h 590550"/>
                <a:gd name="connsiteX75" fmla="*/ 94359 w 628650"/>
                <a:gd name="connsiteY75" fmla="*/ 160819 h 590550"/>
                <a:gd name="connsiteX76" fmla="*/ 98046 w 628650"/>
                <a:gd name="connsiteY76" fmla="*/ 164510 h 590550"/>
                <a:gd name="connsiteX77" fmla="*/ 101741 w 628650"/>
                <a:gd name="connsiteY77" fmla="*/ 168200 h 590550"/>
                <a:gd name="connsiteX78" fmla="*/ 109114 w 628650"/>
                <a:gd name="connsiteY78" fmla="*/ 168200 h 590550"/>
                <a:gd name="connsiteX79" fmla="*/ 112809 w 628650"/>
                <a:gd name="connsiteY79" fmla="*/ 175582 h 590550"/>
                <a:gd name="connsiteX80" fmla="*/ 109114 w 628650"/>
                <a:gd name="connsiteY80" fmla="*/ 179272 h 590550"/>
                <a:gd name="connsiteX81" fmla="*/ 98046 w 628650"/>
                <a:gd name="connsiteY81" fmla="*/ 186653 h 590550"/>
                <a:gd name="connsiteX82" fmla="*/ 94359 w 628650"/>
                <a:gd name="connsiteY82" fmla="*/ 186653 h 590550"/>
                <a:gd name="connsiteX83" fmla="*/ 83291 w 628650"/>
                <a:gd name="connsiteY83" fmla="*/ 190344 h 590550"/>
                <a:gd name="connsiteX84" fmla="*/ 83291 w 628650"/>
                <a:gd name="connsiteY84" fmla="*/ 194035 h 590550"/>
                <a:gd name="connsiteX85" fmla="*/ 75909 w 628650"/>
                <a:gd name="connsiteY85" fmla="*/ 197725 h 590550"/>
                <a:gd name="connsiteX86" fmla="*/ 72223 w 628650"/>
                <a:gd name="connsiteY86" fmla="*/ 197725 h 590550"/>
                <a:gd name="connsiteX87" fmla="*/ 64841 w 628650"/>
                <a:gd name="connsiteY87" fmla="*/ 201416 h 590550"/>
                <a:gd name="connsiteX88" fmla="*/ 61155 w 628650"/>
                <a:gd name="connsiteY88" fmla="*/ 197725 h 590550"/>
                <a:gd name="connsiteX89" fmla="*/ 57469 w 628650"/>
                <a:gd name="connsiteY89" fmla="*/ 194035 h 590550"/>
                <a:gd name="connsiteX90" fmla="*/ 27951 w 628650"/>
                <a:gd name="connsiteY90" fmla="*/ 201416 h 590550"/>
                <a:gd name="connsiteX91" fmla="*/ 24265 w 628650"/>
                <a:gd name="connsiteY91" fmla="*/ 205107 h 590550"/>
                <a:gd name="connsiteX92" fmla="*/ 24265 w 628650"/>
                <a:gd name="connsiteY92" fmla="*/ 212488 h 590550"/>
                <a:gd name="connsiteX93" fmla="*/ 24265 w 628650"/>
                <a:gd name="connsiteY93" fmla="*/ 216178 h 590550"/>
                <a:gd name="connsiteX94" fmla="*/ 24265 w 628650"/>
                <a:gd name="connsiteY94" fmla="*/ 219868 h 590550"/>
                <a:gd name="connsiteX95" fmla="*/ 27951 w 628650"/>
                <a:gd name="connsiteY95" fmla="*/ 223559 h 590550"/>
                <a:gd name="connsiteX96" fmla="*/ 27951 w 628650"/>
                <a:gd name="connsiteY96" fmla="*/ 227249 h 590550"/>
                <a:gd name="connsiteX97" fmla="*/ 13197 w 628650"/>
                <a:gd name="connsiteY97" fmla="*/ 223559 h 590550"/>
                <a:gd name="connsiteX98" fmla="*/ 16883 w 628650"/>
                <a:gd name="connsiteY98" fmla="*/ 227249 h 590550"/>
                <a:gd name="connsiteX99" fmla="*/ 20579 w 628650"/>
                <a:gd name="connsiteY99" fmla="*/ 227249 h 590550"/>
                <a:gd name="connsiteX100" fmla="*/ 24265 w 628650"/>
                <a:gd name="connsiteY100" fmla="*/ 227249 h 590550"/>
                <a:gd name="connsiteX101" fmla="*/ 24265 w 628650"/>
                <a:gd name="connsiteY101" fmla="*/ 230940 h 590550"/>
                <a:gd name="connsiteX102" fmla="*/ 27951 w 628650"/>
                <a:gd name="connsiteY102" fmla="*/ 234630 h 590550"/>
                <a:gd name="connsiteX103" fmla="*/ 27951 w 628650"/>
                <a:gd name="connsiteY103" fmla="*/ 238321 h 590550"/>
                <a:gd name="connsiteX104" fmla="*/ 27951 w 628650"/>
                <a:gd name="connsiteY104" fmla="*/ 242012 h 590550"/>
                <a:gd name="connsiteX105" fmla="*/ 31647 w 628650"/>
                <a:gd name="connsiteY105" fmla="*/ 245702 h 590550"/>
                <a:gd name="connsiteX106" fmla="*/ 35333 w 628650"/>
                <a:gd name="connsiteY106" fmla="*/ 249393 h 590550"/>
                <a:gd name="connsiteX107" fmla="*/ 35333 w 628650"/>
                <a:gd name="connsiteY107" fmla="*/ 253083 h 590550"/>
                <a:gd name="connsiteX108" fmla="*/ 35333 w 628650"/>
                <a:gd name="connsiteY108" fmla="*/ 256774 h 590550"/>
                <a:gd name="connsiteX109" fmla="*/ 39019 w 628650"/>
                <a:gd name="connsiteY109" fmla="*/ 260465 h 590550"/>
                <a:gd name="connsiteX110" fmla="*/ 39019 w 628650"/>
                <a:gd name="connsiteY110" fmla="*/ 267846 h 590550"/>
                <a:gd name="connsiteX111" fmla="*/ 39019 w 628650"/>
                <a:gd name="connsiteY111" fmla="*/ 275227 h 590550"/>
                <a:gd name="connsiteX112" fmla="*/ 46401 w 628650"/>
                <a:gd name="connsiteY112" fmla="*/ 271537 h 590550"/>
                <a:gd name="connsiteX113" fmla="*/ 50087 w 628650"/>
                <a:gd name="connsiteY113" fmla="*/ 275227 h 590550"/>
                <a:gd name="connsiteX114" fmla="*/ 57469 w 628650"/>
                <a:gd name="connsiteY114" fmla="*/ 286299 h 590550"/>
                <a:gd name="connsiteX115" fmla="*/ 61155 w 628650"/>
                <a:gd name="connsiteY115" fmla="*/ 293680 h 590550"/>
                <a:gd name="connsiteX116" fmla="*/ 68537 w 628650"/>
                <a:gd name="connsiteY116" fmla="*/ 304751 h 590550"/>
                <a:gd name="connsiteX117" fmla="*/ 68537 w 628650"/>
                <a:gd name="connsiteY117" fmla="*/ 312132 h 590550"/>
                <a:gd name="connsiteX118" fmla="*/ 75909 w 628650"/>
                <a:gd name="connsiteY118" fmla="*/ 308442 h 590550"/>
                <a:gd name="connsiteX119" fmla="*/ 79605 w 628650"/>
                <a:gd name="connsiteY119" fmla="*/ 304751 h 590550"/>
                <a:gd name="connsiteX120" fmla="*/ 83291 w 628650"/>
                <a:gd name="connsiteY120" fmla="*/ 301060 h 590550"/>
                <a:gd name="connsiteX121" fmla="*/ 83291 w 628650"/>
                <a:gd name="connsiteY121" fmla="*/ 304751 h 590550"/>
                <a:gd name="connsiteX122" fmla="*/ 86978 w 628650"/>
                <a:gd name="connsiteY122" fmla="*/ 308442 h 590550"/>
                <a:gd name="connsiteX123" fmla="*/ 90673 w 628650"/>
                <a:gd name="connsiteY123" fmla="*/ 304751 h 590550"/>
                <a:gd name="connsiteX124" fmla="*/ 98046 w 628650"/>
                <a:gd name="connsiteY124" fmla="*/ 297371 h 590550"/>
                <a:gd name="connsiteX125" fmla="*/ 105427 w 628650"/>
                <a:gd name="connsiteY125" fmla="*/ 289990 h 590550"/>
                <a:gd name="connsiteX126" fmla="*/ 109114 w 628650"/>
                <a:gd name="connsiteY126" fmla="*/ 286299 h 590550"/>
                <a:gd name="connsiteX127" fmla="*/ 112809 w 628650"/>
                <a:gd name="connsiteY127" fmla="*/ 286299 h 590550"/>
                <a:gd name="connsiteX128" fmla="*/ 116495 w 628650"/>
                <a:gd name="connsiteY128" fmla="*/ 286299 h 590550"/>
                <a:gd name="connsiteX129" fmla="*/ 120182 w 628650"/>
                <a:gd name="connsiteY129" fmla="*/ 282608 h 590550"/>
                <a:gd name="connsiteX130" fmla="*/ 123877 w 628650"/>
                <a:gd name="connsiteY130" fmla="*/ 286299 h 590550"/>
                <a:gd name="connsiteX131" fmla="*/ 127564 w 628650"/>
                <a:gd name="connsiteY131" fmla="*/ 286299 h 590550"/>
                <a:gd name="connsiteX132" fmla="*/ 131250 w 628650"/>
                <a:gd name="connsiteY132" fmla="*/ 289990 h 590550"/>
                <a:gd name="connsiteX133" fmla="*/ 134936 w 628650"/>
                <a:gd name="connsiteY133" fmla="*/ 293680 h 590550"/>
                <a:gd name="connsiteX134" fmla="*/ 134936 w 628650"/>
                <a:gd name="connsiteY134" fmla="*/ 297371 h 590550"/>
                <a:gd name="connsiteX135" fmla="*/ 134936 w 628650"/>
                <a:gd name="connsiteY135" fmla="*/ 301060 h 590550"/>
                <a:gd name="connsiteX136" fmla="*/ 138632 w 628650"/>
                <a:gd name="connsiteY136" fmla="*/ 304751 h 590550"/>
                <a:gd name="connsiteX137" fmla="*/ 149700 w 628650"/>
                <a:gd name="connsiteY137" fmla="*/ 308442 h 590550"/>
                <a:gd name="connsiteX138" fmla="*/ 153386 w 628650"/>
                <a:gd name="connsiteY138" fmla="*/ 312132 h 590550"/>
                <a:gd name="connsiteX139" fmla="*/ 153386 w 628650"/>
                <a:gd name="connsiteY139" fmla="*/ 315823 h 590550"/>
                <a:gd name="connsiteX140" fmla="*/ 157072 w 628650"/>
                <a:gd name="connsiteY140" fmla="*/ 326895 h 590550"/>
                <a:gd name="connsiteX141" fmla="*/ 157072 w 628650"/>
                <a:gd name="connsiteY141" fmla="*/ 334276 h 590550"/>
                <a:gd name="connsiteX142" fmla="*/ 160768 w 628650"/>
                <a:gd name="connsiteY142" fmla="*/ 337967 h 590550"/>
                <a:gd name="connsiteX143" fmla="*/ 164454 w 628650"/>
                <a:gd name="connsiteY143" fmla="*/ 341657 h 590550"/>
                <a:gd name="connsiteX144" fmla="*/ 164454 w 628650"/>
                <a:gd name="connsiteY144" fmla="*/ 349038 h 590550"/>
                <a:gd name="connsiteX145" fmla="*/ 160768 w 628650"/>
                <a:gd name="connsiteY145" fmla="*/ 352729 h 590550"/>
                <a:gd name="connsiteX146" fmla="*/ 160768 w 628650"/>
                <a:gd name="connsiteY146" fmla="*/ 356420 h 590550"/>
                <a:gd name="connsiteX147" fmla="*/ 160768 w 628650"/>
                <a:gd name="connsiteY147" fmla="*/ 363801 h 590550"/>
                <a:gd name="connsiteX148" fmla="*/ 164454 w 628650"/>
                <a:gd name="connsiteY148" fmla="*/ 367491 h 590550"/>
                <a:gd name="connsiteX149" fmla="*/ 168140 w 628650"/>
                <a:gd name="connsiteY149" fmla="*/ 367491 h 590550"/>
                <a:gd name="connsiteX150" fmla="*/ 168140 w 628650"/>
                <a:gd name="connsiteY150" fmla="*/ 371182 h 590550"/>
                <a:gd name="connsiteX151" fmla="*/ 168140 w 628650"/>
                <a:gd name="connsiteY151" fmla="*/ 374873 h 590550"/>
                <a:gd name="connsiteX152" fmla="*/ 168140 w 628650"/>
                <a:gd name="connsiteY152" fmla="*/ 382253 h 590550"/>
                <a:gd name="connsiteX153" fmla="*/ 164454 w 628650"/>
                <a:gd name="connsiteY153" fmla="*/ 382253 h 590550"/>
                <a:gd name="connsiteX154" fmla="*/ 164454 w 628650"/>
                <a:gd name="connsiteY154" fmla="*/ 385943 h 590550"/>
                <a:gd name="connsiteX155" fmla="*/ 160768 w 628650"/>
                <a:gd name="connsiteY155" fmla="*/ 385943 h 590550"/>
                <a:gd name="connsiteX156" fmla="*/ 153386 w 628650"/>
                <a:gd name="connsiteY156" fmla="*/ 389634 h 590550"/>
                <a:gd name="connsiteX157" fmla="*/ 146004 w 628650"/>
                <a:gd name="connsiteY157" fmla="*/ 389634 h 590550"/>
                <a:gd name="connsiteX158" fmla="*/ 146004 w 628650"/>
                <a:gd name="connsiteY158" fmla="*/ 393323 h 590550"/>
                <a:gd name="connsiteX159" fmla="*/ 142318 w 628650"/>
                <a:gd name="connsiteY159" fmla="*/ 393323 h 590550"/>
                <a:gd name="connsiteX160" fmla="*/ 142318 w 628650"/>
                <a:gd name="connsiteY160" fmla="*/ 397018 h 590550"/>
                <a:gd name="connsiteX161" fmla="*/ 146004 w 628650"/>
                <a:gd name="connsiteY161" fmla="*/ 400704 h 590550"/>
                <a:gd name="connsiteX162" fmla="*/ 149700 w 628650"/>
                <a:gd name="connsiteY162" fmla="*/ 400704 h 590550"/>
                <a:gd name="connsiteX163" fmla="*/ 153386 w 628650"/>
                <a:gd name="connsiteY163" fmla="*/ 404400 h 590550"/>
                <a:gd name="connsiteX164" fmla="*/ 149700 w 628650"/>
                <a:gd name="connsiteY164" fmla="*/ 404400 h 590550"/>
                <a:gd name="connsiteX165" fmla="*/ 146004 w 628650"/>
                <a:gd name="connsiteY165" fmla="*/ 408086 h 590550"/>
                <a:gd name="connsiteX166" fmla="*/ 142318 w 628650"/>
                <a:gd name="connsiteY166" fmla="*/ 408086 h 590550"/>
                <a:gd name="connsiteX167" fmla="*/ 142318 w 628650"/>
                <a:gd name="connsiteY167" fmla="*/ 415468 h 590550"/>
                <a:gd name="connsiteX168" fmla="*/ 142318 w 628650"/>
                <a:gd name="connsiteY168" fmla="*/ 422850 h 590550"/>
                <a:gd name="connsiteX169" fmla="*/ 142318 w 628650"/>
                <a:gd name="connsiteY169" fmla="*/ 430232 h 590550"/>
                <a:gd name="connsiteX170" fmla="*/ 138632 w 628650"/>
                <a:gd name="connsiteY170" fmla="*/ 430232 h 590550"/>
                <a:gd name="connsiteX171" fmla="*/ 138632 w 628650"/>
                <a:gd name="connsiteY171" fmla="*/ 433918 h 590550"/>
                <a:gd name="connsiteX172" fmla="*/ 142318 w 628650"/>
                <a:gd name="connsiteY172" fmla="*/ 433918 h 590550"/>
                <a:gd name="connsiteX173" fmla="*/ 146004 w 628650"/>
                <a:gd name="connsiteY173" fmla="*/ 433918 h 590550"/>
                <a:gd name="connsiteX174" fmla="*/ 146004 w 628650"/>
                <a:gd name="connsiteY174" fmla="*/ 437614 h 590550"/>
                <a:gd name="connsiteX175" fmla="*/ 146004 w 628650"/>
                <a:gd name="connsiteY175" fmla="*/ 448682 h 590550"/>
                <a:gd name="connsiteX176" fmla="*/ 149700 w 628650"/>
                <a:gd name="connsiteY176" fmla="*/ 448682 h 590550"/>
                <a:gd name="connsiteX177" fmla="*/ 153386 w 628650"/>
                <a:gd name="connsiteY177" fmla="*/ 448682 h 590550"/>
                <a:gd name="connsiteX178" fmla="*/ 157072 w 628650"/>
                <a:gd name="connsiteY178" fmla="*/ 448682 h 590550"/>
                <a:gd name="connsiteX179" fmla="*/ 157072 w 628650"/>
                <a:gd name="connsiteY179" fmla="*/ 452377 h 590550"/>
                <a:gd name="connsiteX180" fmla="*/ 157072 w 628650"/>
                <a:gd name="connsiteY180" fmla="*/ 456064 h 590550"/>
                <a:gd name="connsiteX181" fmla="*/ 160768 w 628650"/>
                <a:gd name="connsiteY181" fmla="*/ 456064 h 590550"/>
                <a:gd name="connsiteX182" fmla="*/ 160768 w 628650"/>
                <a:gd name="connsiteY182" fmla="*/ 467132 h 590550"/>
                <a:gd name="connsiteX183" fmla="*/ 164454 w 628650"/>
                <a:gd name="connsiteY183" fmla="*/ 470827 h 590550"/>
                <a:gd name="connsiteX184" fmla="*/ 168140 w 628650"/>
                <a:gd name="connsiteY184" fmla="*/ 474514 h 590550"/>
                <a:gd name="connsiteX185" fmla="*/ 168140 w 628650"/>
                <a:gd name="connsiteY185" fmla="*/ 478209 h 590550"/>
                <a:gd name="connsiteX186" fmla="*/ 168140 w 628650"/>
                <a:gd name="connsiteY186" fmla="*/ 481895 h 590550"/>
                <a:gd name="connsiteX187" fmla="*/ 168140 w 628650"/>
                <a:gd name="connsiteY187" fmla="*/ 485591 h 590550"/>
                <a:gd name="connsiteX188" fmla="*/ 171836 w 628650"/>
                <a:gd name="connsiteY188" fmla="*/ 489277 h 590550"/>
                <a:gd name="connsiteX189" fmla="*/ 175522 w 628650"/>
                <a:gd name="connsiteY189" fmla="*/ 489277 h 590550"/>
                <a:gd name="connsiteX190" fmla="*/ 179208 w 628650"/>
                <a:gd name="connsiteY190" fmla="*/ 489277 h 590550"/>
                <a:gd name="connsiteX191" fmla="*/ 182904 w 628650"/>
                <a:gd name="connsiteY191" fmla="*/ 489277 h 590550"/>
                <a:gd name="connsiteX192" fmla="*/ 182904 w 628650"/>
                <a:gd name="connsiteY192" fmla="*/ 492973 h 590550"/>
                <a:gd name="connsiteX193" fmla="*/ 179208 w 628650"/>
                <a:gd name="connsiteY193" fmla="*/ 492973 h 590550"/>
                <a:gd name="connsiteX194" fmla="*/ 175522 w 628650"/>
                <a:gd name="connsiteY194" fmla="*/ 496659 h 590550"/>
                <a:gd name="connsiteX195" fmla="*/ 175522 w 628650"/>
                <a:gd name="connsiteY195" fmla="*/ 500355 h 590550"/>
                <a:gd name="connsiteX196" fmla="*/ 179208 w 628650"/>
                <a:gd name="connsiteY196" fmla="*/ 507737 h 590550"/>
                <a:gd name="connsiteX197" fmla="*/ 182904 w 628650"/>
                <a:gd name="connsiteY197" fmla="*/ 507737 h 590550"/>
                <a:gd name="connsiteX198" fmla="*/ 186590 w 628650"/>
                <a:gd name="connsiteY198" fmla="*/ 507737 h 590550"/>
                <a:gd name="connsiteX199" fmla="*/ 186590 w 628650"/>
                <a:gd name="connsiteY199" fmla="*/ 504041 h 590550"/>
                <a:gd name="connsiteX200" fmla="*/ 193962 w 628650"/>
                <a:gd name="connsiteY200" fmla="*/ 500355 h 590550"/>
                <a:gd name="connsiteX201" fmla="*/ 197658 w 628650"/>
                <a:gd name="connsiteY201" fmla="*/ 500355 h 590550"/>
                <a:gd name="connsiteX202" fmla="*/ 197658 w 628650"/>
                <a:gd name="connsiteY202" fmla="*/ 504041 h 590550"/>
                <a:gd name="connsiteX203" fmla="*/ 205030 w 628650"/>
                <a:gd name="connsiteY203" fmla="*/ 504041 h 590550"/>
                <a:gd name="connsiteX204" fmla="*/ 208726 w 628650"/>
                <a:gd name="connsiteY204" fmla="*/ 504041 h 590550"/>
                <a:gd name="connsiteX205" fmla="*/ 212412 w 628650"/>
                <a:gd name="connsiteY205" fmla="*/ 507737 h 590550"/>
                <a:gd name="connsiteX206" fmla="*/ 212412 w 628650"/>
                <a:gd name="connsiteY206" fmla="*/ 504041 h 590550"/>
                <a:gd name="connsiteX207" fmla="*/ 216098 w 628650"/>
                <a:gd name="connsiteY207" fmla="*/ 504041 h 590550"/>
                <a:gd name="connsiteX208" fmla="*/ 219794 w 628650"/>
                <a:gd name="connsiteY208" fmla="*/ 504041 h 590550"/>
                <a:gd name="connsiteX209" fmla="*/ 223480 w 628650"/>
                <a:gd name="connsiteY209" fmla="*/ 504041 h 590550"/>
                <a:gd name="connsiteX210" fmla="*/ 230862 w 628650"/>
                <a:gd name="connsiteY210" fmla="*/ 504041 h 590550"/>
                <a:gd name="connsiteX211" fmla="*/ 234548 w 628650"/>
                <a:gd name="connsiteY211" fmla="*/ 504041 h 590550"/>
                <a:gd name="connsiteX212" fmla="*/ 238235 w 628650"/>
                <a:gd name="connsiteY212" fmla="*/ 507737 h 590550"/>
                <a:gd name="connsiteX213" fmla="*/ 241930 w 628650"/>
                <a:gd name="connsiteY213" fmla="*/ 504041 h 590550"/>
                <a:gd name="connsiteX214" fmla="*/ 245616 w 628650"/>
                <a:gd name="connsiteY214" fmla="*/ 504041 h 590550"/>
                <a:gd name="connsiteX215" fmla="*/ 249303 w 628650"/>
                <a:gd name="connsiteY215" fmla="*/ 504041 h 590550"/>
                <a:gd name="connsiteX216" fmla="*/ 252998 w 628650"/>
                <a:gd name="connsiteY216" fmla="*/ 504041 h 590550"/>
                <a:gd name="connsiteX217" fmla="*/ 252998 w 628650"/>
                <a:gd name="connsiteY217" fmla="*/ 507737 h 590550"/>
                <a:gd name="connsiteX218" fmla="*/ 264066 w 628650"/>
                <a:gd name="connsiteY218" fmla="*/ 507737 h 590550"/>
                <a:gd name="connsiteX219" fmla="*/ 264066 w 628650"/>
                <a:gd name="connsiteY219" fmla="*/ 504041 h 590550"/>
                <a:gd name="connsiteX220" fmla="*/ 271439 w 628650"/>
                <a:gd name="connsiteY220" fmla="*/ 504041 h 590550"/>
                <a:gd name="connsiteX221" fmla="*/ 271439 w 628650"/>
                <a:gd name="connsiteY221" fmla="*/ 496659 h 590550"/>
                <a:gd name="connsiteX222" fmla="*/ 275125 w 628650"/>
                <a:gd name="connsiteY222" fmla="*/ 496659 h 590550"/>
                <a:gd name="connsiteX223" fmla="*/ 278821 w 628650"/>
                <a:gd name="connsiteY223" fmla="*/ 492973 h 590550"/>
                <a:gd name="connsiteX224" fmla="*/ 286193 w 628650"/>
                <a:gd name="connsiteY224" fmla="*/ 492973 h 590550"/>
                <a:gd name="connsiteX225" fmla="*/ 289889 w 628650"/>
                <a:gd name="connsiteY225" fmla="*/ 492973 h 590550"/>
                <a:gd name="connsiteX226" fmla="*/ 293575 w 628650"/>
                <a:gd name="connsiteY226" fmla="*/ 489277 h 590550"/>
                <a:gd name="connsiteX227" fmla="*/ 293575 w 628650"/>
                <a:gd name="connsiteY227" fmla="*/ 492973 h 590550"/>
                <a:gd name="connsiteX228" fmla="*/ 297261 w 628650"/>
                <a:gd name="connsiteY228" fmla="*/ 492973 h 590550"/>
                <a:gd name="connsiteX229" fmla="*/ 300957 w 628650"/>
                <a:gd name="connsiteY229" fmla="*/ 492973 h 590550"/>
                <a:gd name="connsiteX230" fmla="*/ 308329 w 628650"/>
                <a:gd name="connsiteY230" fmla="*/ 492973 h 590550"/>
                <a:gd name="connsiteX231" fmla="*/ 312025 w 628650"/>
                <a:gd name="connsiteY231" fmla="*/ 492973 h 590550"/>
                <a:gd name="connsiteX232" fmla="*/ 312025 w 628650"/>
                <a:gd name="connsiteY232" fmla="*/ 496659 h 590550"/>
                <a:gd name="connsiteX233" fmla="*/ 312025 w 628650"/>
                <a:gd name="connsiteY233" fmla="*/ 500355 h 590550"/>
                <a:gd name="connsiteX234" fmla="*/ 315711 w 628650"/>
                <a:gd name="connsiteY234" fmla="*/ 507737 h 590550"/>
                <a:gd name="connsiteX235" fmla="*/ 326779 w 628650"/>
                <a:gd name="connsiteY235" fmla="*/ 515109 h 590550"/>
                <a:gd name="connsiteX236" fmla="*/ 326779 w 628650"/>
                <a:gd name="connsiteY236" fmla="*/ 522491 h 590550"/>
                <a:gd name="connsiteX237" fmla="*/ 330465 w 628650"/>
                <a:gd name="connsiteY237" fmla="*/ 522491 h 590550"/>
                <a:gd name="connsiteX238" fmla="*/ 330465 w 628650"/>
                <a:gd name="connsiteY238" fmla="*/ 526187 h 590550"/>
                <a:gd name="connsiteX239" fmla="*/ 337847 w 628650"/>
                <a:gd name="connsiteY239" fmla="*/ 526187 h 590550"/>
                <a:gd name="connsiteX240" fmla="*/ 337847 w 628650"/>
                <a:gd name="connsiteY240" fmla="*/ 533569 h 590550"/>
                <a:gd name="connsiteX241" fmla="*/ 341533 w 628650"/>
                <a:gd name="connsiteY241" fmla="*/ 537255 h 590550"/>
                <a:gd name="connsiteX242" fmla="*/ 341533 w 628650"/>
                <a:gd name="connsiteY242" fmla="*/ 540951 h 590550"/>
                <a:gd name="connsiteX243" fmla="*/ 345219 w 628650"/>
                <a:gd name="connsiteY243" fmla="*/ 540951 h 590550"/>
                <a:gd name="connsiteX244" fmla="*/ 348915 w 628650"/>
                <a:gd name="connsiteY244" fmla="*/ 544637 h 590550"/>
                <a:gd name="connsiteX245" fmla="*/ 356287 w 628650"/>
                <a:gd name="connsiteY245" fmla="*/ 540951 h 590550"/>
                <a:gd name="connsiteX246" fmla="*/ 359983 w 628650"/>
                <a:gd name="connsiteY246" fmla="*/ 540951 h 590550"/>
                <a:gd name="connsiteX247" fmla="*/ 378424 w 628650"/>
                <a:gd name="connsiteY247" fmla="*/ 544637 h 590550"/>
                <a:gd name="connsiteX248" fmla="*/ 393187 w 628650"/>
                <a:gd name="connsiteY248" fmla="*/ 540951 h 590550"/>
                <a:gd name="connsiteX249" fmla="*/ 396873 w 628650"/>
                <a:gd name="connsiteY249" fmla="*/ 540951 h 590550"/>
                <a:gd name="connsiteX250" fmla="*/ 404255 w 628650"/>
                <a:gd name="connsiteY250" fmla="*/ 544637 h 590550"/>
                <a:gd name="connsiteX251" fmla="*/ 400560 w 628650"/>
                <a:gd name="connsiteY251" fmla="*/ 548332 h 590550"/>
                <a:gd name="connsiteX252" fmla="*/ 404255 w 628650"/>
                <a:gd name="connsiteY252" fmla="*/ 552019 h 590550"/>
                <a:gd name="connsiteX253" fmla="*/ 407942 w 628650"/>
                <a:gd name="connsiteY253" fmla="*/ 555714 h 590550"/>
                <a:gd name="connsiteX254" fmla="*/ 407942 w 628650"/>
                <a:gd name="connsiteY254" fmla="*/ 552019 h 590550"/>
                <a:gd name="connsiteX255" fmla="*/ 411628 w 628650"/>
                <a:gd name="connsiteY255" fmla="*/ 548332 h 590550"/>
                <a:gd name="connsiteX256" fmla="*/ 415314 w 628650"/>
                <a:gd name="connsiteY256" fmla="*/ 544637 h 590550"/>
                <a:gd name="connsiteX257" fmla="*/ 419010 w 628650"/>
                <a:gd name="connsiteY257" fmla="*/ 548332 h 590550"/>
                <a:gd name="connsiteX258" fmla="*/ 419010 w 628650"/>
                <a:gd name="connsiteY258" fmla="*/ 552019 h 590550"/>
                <a:gd name="connsiteX259" fmla="*/ 422696 w 628650"/>
                <a:gd name="connsiteY259" fmla="*/ 544637 h 590550"/>
                <a:gd name="connsiteX260" fmla="*/ 426382 w 628650"/>
                <a:gd name="connsiteY260" fmla="*/ 544637 h 590550"/>
                <a:gd name="connsiteX261" fmla="*/ 437450 w 628650"/>
                <a:gd name="connsiteY261" fmla="*/ 552019 h 590550"/>
                <a:gd name="connsiteX262" fmla="*/ 437450 w 628650"/>
                <a:gd name="connsiteY262" fmla="*/ 555714 h 590550"/>
                <a:gd name="connsiteX263" fmla="*/ 437450 w 628650"/>
                <a:gd name="connsiteY263" fmla="*/ 559400 h 590550"/>
                <a:gd name="connsiteX264" fmla="*/ 437450 w 628650"/>
                <a:gd name="connsiteY264" fmla="*/ 570468 h 590550"/>
                <a:gd name="connsiteX265" fmla="*/ 430078 w 628650"/>
                <a:gd name="connsiteY265" fmla="*/ 581546 h 590550"/>
                <a:gd name="connsiteX266" fmla="*/ 437450 w 628650"/>
                <a:gd name="connsiteY266" fmla="*/ 581546 h 590550"/>
                <a:gd name="connsiteX267" fmla="*/ 441146 w 628650"/>
                <a:gd name="connsiteY267" fmla="*/ 581546 h 590550"/>
                <a:gd name="connsiteX268" fmla="*/ 448518 w 628650"/>
                <a:gd name="connsiteY268" fmla="*/ 585232 h 590550"/>
                <a:gd name="connsiteX269" fmla="*/ 455900 w 628650"/>
                <a:gd name="connsiteY269" fmla="*/ 588928 h 590550"/>
                <a:gd name="connsiteX270" fmla="*/ 459586 w 628650"/>
                <a:gd name="connsiteY270" fmla="*/ 588928 h 590550"/>
                <a:gd name="connsiteX271" fmla="*/ 481722 w 628650"/>
                <a:gd name="connsiteY271" fmla="*/ 588928 h 590550"/>
                <a:gd name="connsiteX272" fmla="*/ 511240 w 628650"/>
                <a:gd name="connsiteY272" fmla="*/ 588928 h 590550"/>
                <a:gd name="connsiteX273" fmla="*/ 522308 w 628650"/>
                <a:gd name="connsiteY273" fmla="*/ 588928 h 590550"/>
                <a:gd name="connsiteX274" fmla="*/ 525994 w 628650"/>
                <a:gd name="connsiteY274" fmla="*/ 585232 h 590550"/>
                <a:gd name="connsiteX275" fmla="*/ 529680 w 628650"/>
                <a:gd name="connsiteY275" fmla="*/ 581546 h 590550"/>
                <a:gd name="connsiteX276" fmla="*/ 533376 w 628650"/>
                <a:gd name="connsiteY276" fmla="*/ 577850 h 590550"/>
                <a:gd name="connsiteX277" fmla="*/ 533376 w 628650"/>
                <a:gd name="connsiteY277" fmla="*/ 574164 h 590550"/>
                <a:gd name="connsiteX278" fmla="*/ 537062 w 628650"/>
                <a:gd name="connsiteY278" fmla="*/ 555714 h 590550"/>
                <a:gd name="connsiteX279" fmla="*/ 540749 w 628650"/>
                <a:gd name="connsiteY279" fmla="*/ 555714 h 590550"/>
                <a:gd name="connsiteX280" fmla="*/ 540749 w 628650"/>
                <a:gd name="connsiteY280" fmla="*/ 552019 h 590550"/>
                <a:gd name="connsiteX281" fmla="*/ 551817 w 628650"/>
                <a:gd name="connsiteY281" fmla="*/ 544637 h 590550"/>
                <a:gd name="connsiteX282" fmla="*/ 551817 w 628650"/>
                <a:gd name="connsiteY282" fmla="*/ 540951 h 590550"/>
                <a:gd name="connsiteX283" fmla="*/ 562885 w 628650"/>
                <a:gd name="connsiteY283" fmla="*/ 537255 h 590550"/>
                <a:gd name="connsiteX284" fmla="*/ 573953 w 628650"/>
                <a:gd name="connsiteY284" fmla="*/ 537255 h 590550"/>
                <a:gd name="connsiteX285" fmla="*/ 577639 w 628650"/>
                <a:gd name="connsiteY285" fmla="*/ 529873 h 590550"/>
                <a:gd name="connsiteX286" fmla="*/ 577639 w 628650"/>
                <a:gd name="connsiteY286" fmla="*/ 526187 h 590550"/>
                <a:gd name="connsiteX287" fmla="*/ 581335 w 628650"/>
                <a:gd name="connsiteY287" fmla="*/ 522491 h 590550"/>
                <a:gd name="connsiteX288" fmla="*/ 581335 w 628650"/>
                <a:gd name="connsiteY288" fmla="*/ 518805 h 590550"/>
                <a:gd name="connsiteX289" fmla="*/ 585021 w 628650"/>
                <a:gd name="connsiteY289" fmla="*/ 515109 h 590550"/>
                <a:gd name="connsiteX290" fmla="*/ 585021 w 628650"/>
                <a:gd name="connsiteY290" fmla="*/ 511423 h 590550"/>
                <a:gd name="connsiteX291" fmla="*/ 585021 w 628650"/>
                <a:gd name="connsiteY291" fmla="*/ 507737 h 590550"/>
                <a:gd name="connsiteX292" fmla="*/ 585021 w 628650"/>
                <a:gd name="connsiteY292" fmla="*/ 504041 h 590550"/>
                <a:gd name="connsiteX293" fmla="*/ 588707 w 628650"/>
                <a:gd name="connsiteY293" fmla="*/ 500355 h 590550"/>
                <a:gd name="connsiteX294" fmla="*/ 596089 w 628650"/>
                <a:gd name="connsiteY294" fmla="*/ 496659 h 590550"/>
                <a:gd name="connsiteX295" fmla="*/ 599775 w 628650"/>
                <a:gd name="connsiteY295" fmla="*/ 500355 h 590550"/>
                <a:gd name="connsiteX296" fmla="*/ 603471 w 628650"/>
                <a:gd name="connsiteY296" fmla="*/ 500355 h 590550"/>
                <a:gd name="connsiteX297" fmla="*/ 607157 w 628650"/>
                <a:gd name="connsiteY297" fmla="*/ 500355 h 590550"/>
                <a:gd name="connsiteX298" fmla="*/ 614539 w 628650"/>
                <a:gd name="connsiteY298" fmla="*/ 500355 h 590550"/>
                <a:gd name="connsiteX299" fmla="*/ 625597 w 628650"/>
                <a:gd name="connsiteY299" fmla="*/ 492973 h 590550"/>
                <a:gd name="connsiteX300" fmla="*/ 625597 w 628650"/>
                <a:gd name="connsiteY300" fmla="*/ 489277 h 590550"/>
                <a:gd name="connsiteX301" fmla="*/ 614539 w 628650"/>
                <a:gd name="connsiteY301" fmla="*/ 474514 h 590550"/>
                <a:gd name="connsiteX302" fmla="*/ 610843 w 628650"/>
                <a:gd name="connsiteY302" fmla="*/ 470827 h 590550"/>
                <a:gd name="connsiteX303" fmla="*/ 610843 w 628650"/>
                <a:gd name="connsiteY303" fmla="*/ 463446 h 590550"/>
                <a:gd name="connsiteX304" fmla="*/ 607157 w 628650"/>
                <a:gd name="connsiteY304" fmla="*/ 463446 h 590550"/>
                <a:gd name="connsiteX305" fmla="*/ 607157 w 628650"/>
                <a:gd name="connsiteY305" fmla="*/ 459759 h 590550"/>
                <a:gd name="connsiteX306" fmla="*/ 607157 w 628650"/>
                <a:gd name="connsiteY306" fmla="*/ 456064 h 590550"/>
                <a:gd name="connsiteX307" fmla="*/ 607157 w 628650"/>
                <a:gd name="connsiteY307" fmla="*/ 452377 h 590550"/>
                <a:gd name="connsiteX308" fmla="*/ 607157 w 628650"/>
                <a:gd name="connsiteY308" fmla="*/ 448682 h 590550"/>
                <a:gd name="connsiteX309" fmla="*/ 610843 w 628650"/>
                <a:gd name="connsiteY309" fmla="*/ 437614 h 590550"/>
                <a:gd name="connsiteX310" fmla="*/ 610843 w 628650"/>
                <a:gd name="connsiteY310" fmla="*/ 433918 h 590550"/>
                <a:gd name="connsiteX311" fmla="*/ 614539 w 628650"/>
                <a:gd name="connsiteY311" fmla="*/ 433918 h 590550"/>
                <a:gd name="connsiteX312" fmla="*/ 614539 w 628650"/>
                <a:gd name="connsiteY312" fmla="*/ 430232 h 590550"/>
                <a:gd name="connsiteX313" fmla="*/ 618225 w 628650"/>
                <a:gd name="connsiteY313" fmla="*/ 430232 h 590550"/>
                <a:gd name="connsiteX314" fmla="*/ 618225 w 628650"/>
                <a:gd name="connsiteY314" fmla="*/ 426536 h 590550"/>
                <a:gd name="connsiteX315" fmla="*/ 618225 w 628650"/>
                <a:gd name="connsiteY315" fmla="*/ 422850 h 590550"/>
                <a:gd name="connsiteX316" fmla="*/ 621911 w 628650"/>
                <a:gd name="connsiteY316" fmla="*/ 415468 h 590550"/>
                <a:gd name="connsiteX317" fmla="*/ 621911 w 628650"/>
                <a:gd name="connsiteY317" fmla="*/ 411782 h 590550"/>
                <a:gd name="connsiteX318" fmla="*/ 629293 w 628650"/>
                <a:gd name="connsiteY318" fmla="*/ 400704 h 590550"/>
                <a:gd name="connsiteX319" fmla="*/ 629293 w 628650"/>
                <a:gd name="connsiteY319" fmla="*/ 382253 h 590550"/>
                <a:gd name="connsiteX320" fmla="*/ 621911 w 628650"/>
                <a:gd name="connsiteY320" fmla="*/ 367491 h 590550"/>
                <a:gd name="connsiteX321" fmla="*/ 621911 w 628650"/>
                <a:gd name="connsiteY321" fmla="*/ 363801 h 590550"/>
                <a:gd name="connsiteX322" fmla="*/ 621911 w 628650"/>
                <a:gd name="connsiteY322" fmla="*/ 360110 h 590550"/>
                <a:gd name="connsiteX323" fmla="*/ 618225 w 628650"/>
                <a:gd name="connsiteY323" fmla="*/ 360110 h 590550"/>
                <a:gd name="connsiteX324" fmla="*/ 614539 w 628650"/>
                <a:gd name="connsiteY324" fmla="*/ 360110 h 590550"/>
                <a:gd name="connsiteX325" fmla="*/ 610843 w 628650"/>
                <a:gd name="connsiteY325" fmla="*/ 360110 h 590550"/>
                <a:gd name="connsiteX326" fmla="*/ 607157 w 628650"/>
                <a:gd name="connsiteY326" fmla="*/ 352729 h 590550"/>
                <a:gd name="connsiteX327" fmla="*/ 603471 w 628650"/>
                <a:gd name="connsiteY327" fmla="*/ 345348 h 590550"/>
                <a:gd name="connsiteX328" fmla="*/ 596089 w 628650"/>
                <a:gd name="connsiteY328" fmla="*/ 337967 h 590550"/>
                <a:gd name="connsiteX329" fmla="*/ 596089 w 628650"/>
                <a:gd name="connsiteY329" fmla="*/ 334276 h 590550"/>
                <a:gd name="connsiteX330" fmla="*/ 592403 w 628650"/>
                <a:gd name="connsiteY330" fmla="*/ 326895 h 590550"/>
                <a:gd name="connsiteX331" fmla="*/ 592403 w 628650"/>
                <a:gd name="connsiteY331" fmla="*/ 319514 h 590550"/>
                <a:gd name="connsiteX332" fmla="*/ 588707 w 628650"/>
                <a:gd name="connsiteY332" fmla="*/ 312132 h 590550"/>
                <a:gd name="connsiteX333" fmla="*/ 588707 w 628650"/>
                <a:gd name="connsiteY333" fmla="*/ 308442 h 590550"/>
                <a:gd name="connsiteX334" fmla="*/ 585021 w 628650"/>
                <a:gd name="connsiteY334" fmla="*/ 308442 h 590550"/>
                <a:gd name="connsiteX335" fmla="*/ 581335 w 628650"/>
                <a:gd name="connsiteY335" fmla="*/ 308442 h 590550"/>
                <a:gd name="connsiteX336" fmla="*/ 577639 w 628650"/>
                <a:gd name="connsiteY336" fmla="*/ 315823 h 590550"/>
                <a:gd name="connsiteX337" fmla="*/ 573953 w 628650"/>
                <a:gd name="connsiteY337" fmla="*/ 326895 h 590550"/>
                <a:gd name="connsiteX338" fmla="*/ 566571 w 628650"/>
                <a:gd name="connsiteY338" fmla="*/ 330585 h 590550"/>
                <a:gd name="connsiteX339" fmla="*/ 566571 w 628650"/>
                <a:gd name="connsiteY339" fmla="*/ 334276 h 590550"/>
                <a:gd name="connsiteX340" fmla="*/ 562885 w 628650"/>
                <a:gd name="connsiteY340" fmla="*/ 334276 h 590550"/>
                <a:gd name="connsiteX341" fmla="*/ 544444 w 628650"/>
                <a:gd name="connsiteY341" fmla="*/ 330585 h 590550"/>
                <a:gd name="connsiteX342" fmla="*/ 537062 w 628650"/>
                <a:gd name="connsiteY342" fmla="*/ 326895 h 590550"/>
                <a:gd name="connsiteX343" fmla="*/ 525994 w 628650"/>
                <a:gd name="connsiteY343" fmla="*/ 323204 h 590550"/>
                <a:gd name="connsiteX344" fmla="*/ 518612 w 628650"/>
                <a:gd name="connsiteY344" fmla="*/ 323204 h 590550"/>
                <a:gd name="connsiteX345" fmla="*/ 522308 w 628650"/>
                <a:gd name="connsiteY345" fmla="*/ 315823 h 590550"/>
                <a:gd name="connsiteX346" fmla="*/ 514926 w 628650"/>
                <a:gd name="connsiteY346" fmla="*/ 315823 h 590550"/>
                <a:gd name="connsiteX347" fmla="*/ 503858 w 628650"/>
                <a:gd name="connsiteY347" fmla="*/ 315823 h 590550"/>
                <a:gd name="connsiteX348" fmla="*/ 481722 w 628650"/>
                <a:gd name="connsiteY348" fmla="*/ 315823 h 590550"/>
                <a:gd name="connsiteX349" fmla="*/ 474350 w 628650"/>
                <a:gd name="connsiteY349" fmla="*/ 315823 h 590550"/>
                <a:gd name="connsiteX350" fmla="*/ 470654 w 628650"/>
                <a:gd name="connsiteY350" fmla="*/ 312132 h 590550"/>
                <a:gd name="connsiteX351" fmla="*/ 455900 w 628650"/>
                <a:gd name="connsiteY351" fmla="*/ 304751 h 590550"/>
                <a:gd name="connsiteX352" fmla="*/ 452214 w 628650"/>
                <a:gd name="connsiteY352" fmla="*/ 301060 h 590550"/>
                <a:gd name="connsiteX353" fmla="*/ 444832 w 628650"/>
                <a:gd name="connsiteY353" fmla="*/ 297371 h 590550"/>
                <a:gd name="connsiteX354" fmla="*/ 448518 w 628650"/>
                <a:gd name="connsiteY354" fmla="*/ 267846 h 590550"/>
                <a:gd name="connsiteX355" fmla="*/ 441146 w 628650"/>
                <a:gd name="connsiteY355" fmla="*/ 256774 h 590550"/>
                <a:gd name="connsiteX356" fmla="*/ 433764 w 628650"/>
                <a:gd name="connsiteY356" fmla="*/ 242012 h 590550"/>
                <a:gd name="connsiteX357" fmla="*/ 437450 w 628650"/>
                <a:gd name="connsiteY357" fmla="*/ 242012 h 590550"/>
                <a:gd name="connsiteX358" fmla="*/ 444832 w 628650"/>
                <a:gd name="connsiteY358" fmla="*/ 245702 h 590550"/>
                <a:gd name="connsiteX359" fmla="*/ 452214 w 628650"/>
                <a:gd name="connsiteY359" fmla="*/ 245702 h 590550"/>
                <a:gd name="connsiteX360" fmla="*/ 455900 w 628650"/>
                <a:gd name="connsiteY360" fmla="*/ 234630 h 590550"/>
                <a:gd name="connsiteX361" fmla="*/ 463282 w 628650"/>
                <a:gd name="connsiteY361" fmla="*/ 234630 h 590550"/>
                <a:gd name="connsiteX362" fmla="*/ 470654 w 628650"/>
                <a:gd name="connsiteY362" fmla="*/ 238321 h 590550"/>
                <a:gd name="connsiteX363" fmla="*/ 474350 w 628650"/>
                <a:gd name="connsiteY363" fmla="*/ 234630 h 590550"/>
                <a:gd name="connsiteX364" fmla="*/ 452214 w 628650"/>
                <a:gd name="connsiteY364" fmla="*/ 216178 h 590550"/>
                <a:gd name="connsiteX365" fmla="*/ 452214 w 628650"/>
                <a:gd name="connsiteY365" fmla="*/ 208797 h 590550"/>
                <a:gd name="connsiteX366" fmla="*/ 455900 w 628650"/>
                <a:gd name="connsiteY366" fmla="*/ 194035 h 590550"/>
                <a:gd name="connsiteX367" fmla="*/ 455900 w 628650"/>
                <a:gd name="connsiteY367" fmla="*/ 190344 h 590550"/>
                <a:gd name="connsiteX368" fmla="*/ 452214 w 628650"/>
                <a:gd name="connsiteY368" fmla="*/ 186653 h 590550"/>
                <a:gd name="connsiteX369" fmla="*/ 448518 w 628650"/>
                <a:gd name="connsiteY369" fmla="*/ 182963 h 590550"/>
                <a:gd name="connsiteX370" fmla="*/ 444832 w 628650"/>
                <a:gd name="connsiteY370" fmla="*/ 182963 h 590550"/>
                <a:gd name="connsiteX371" fmla="*/ 444832 w 628650"/>
                <a:gd name="connsiteY371" fmla="*/ 179272 h 590550"/>
                <a:gd name="connsiteX372" fmla="*/ 444832 w 628650"/>
                <a:gd name="connsiteY372" fmla="*/ 175582 h 590550"/>
                <a:gd name="connsiteX373" fmla="*/ 444832 w 628650"/>
                <a:gd name="connsiteY373" fmla="*/ 171891 h 590550"/>
                <a:gd name="connsiteX374" fmla="*/ 448518 w 628650"/>
                <a:gd name="connsiteY374" fmla="*/ 168200 h 590550"/>
                <a:gd name="connsiteX375" fmla="*/ 444832 w 628650"/>
                <a:gd name="connsiteY375" fmla="*/ 164510 h 590550"/>
                <a:gd name="connsiteX376" fmla="*/ 437450 w 628650"/>
                <a:gd name="connsiteY376" fmla="*/ 164510 h 590550"/>
                <a:gd name="connsiteX377" fmla="*/ 422696 w 628650"/>
                <a:gd name="connsiteY377" fmla="*/ 157129 h 590550"/>
                <a:gd name="connsiteX378" fmla="*/ 415314 w 628650"/>
                <a:gd name="connsiteY378" fmla="*/ 153438 h 590550"/>
                <a:gd name="connsiteX379" fmla="*/ 407942 w 628650"/>
                <a:gd name="connsiteY379" fmla="*/ 149747 h 590550"/>
                <a:gd name="connsiteX380" fmla="*/ 400560 w 628650"/>
                <a:gd name="connsiteY380" fmla="*/ 146057 h 590550"/>
                <a:gd name="connsiteX381" fmla="*/ 400560 w 628650"/>
                <a:gd name="connsiteY381" fmla="*/ 149747 h 590550"/>
                <a:gd name="connsiteX382" fmla="*/ 396873 w 628650"/>
                <a:gd name="connsiteY382" fmla="*/ 149747 h 590550"/>
                <a:gd name="connsiteX383" fmla="*/ 385805 w 628650"/>
                <a:gd name="connsiteY383" fmla="*/ 153438 h 590550"/>
                <a:gd name="connsiteX384" fmla="*/ 371051 w 628650"/>
                <a:gd name="connsiteY384" fmla="*/ 153438 h 590550"/>
                <a:gd name="connsiteX385" fmla="*/ 367355 w 628650"/>
                <a:gd name="connsiteY385" fmla="*/ 157129 h 590550"/>
                <a:gd name="connsiteX386" fmla="*/ 359983 w 628650"/>
                <a:gd name="connsiteY386" fmla="*/ 164510 h 590550"/>
                <a:gd name="connsiteX387" fmla="*/ 352601 w 628650"/>
                <a:gd name="connsiteY387" fmla="*/ 171891 h 590550"/>
                <a:gd name="connsiteX388" fmla="*/ 356287 w 628650"/>
                <a:gd name="connsiteY388" fmla="*/ 194035 h 590550"/>
                <a:gd name="connsiteX389" fmla="*/ 356287 w 628650"/>
                <a:gd name="connsiteY389" fmla="*/ 197725 h 590550"/>
                <a:gd name="connsiteX390" fmla="*/ 352601 w 628650"/>
                <a:gd name="connsiteY390" fmla="*/ 197725 h 590550"/>
                <a:gd name="connsiteX391" fmla="*/ 348915 w 628650"/>
                <a:gd name="connsiteY391" fmla="*/ 194035 h 590550"/>
                <a:gd name="connsiteX392" fmla="*/ 345219 w 628650"/>
                <a:gd name="connsiteY392" fmla="*/ 194035 h 590550"/>
                <a:gd name="connsiteX393" fmla="*/ 337847 w 628650"/>
                <a:gd name="connsiteY393" fmla="*/ 194035 h 590550"/>
                <a:gd name="connsiteX394" fmla="*/ 334161 w 628650"/>
                <a:gd name="connsiteY394" fmla="*/ 190344 h 590550"/>
                <a:gd name="connsiteX395" fmla="*/ 330465 w 628650"/>
                <a:gd name="connsiteY395" fmla="*/ 186653 h 590550"/>
                <a:gd name="connsiteX396" fmla="*/ 330465 w 628650"/>
                <a:gd name="connsiteY396" fmla="*/ 190344 h 590550"/>
                <a:gd name="connsiteX397" fmla="*/ 326779 w 628650"/>
                <a:gd name="connsiteY397" fmla="*/ 194035 h 590550"/>
                <a:gd name="connsiteX398" fmla="*/ 323093 w 628650"/>
                <a:gd name="connsiteY398" fmla="*/ 197725 h 590550"/>
                <a:gd name="connsiteX399" fmla="*/ 319397 w 628650"/>
                <a:gd name="connsiteY399" fmla="*/ 194035 h 590550"/>
                <a:gd name="connsiteX400" fmla="*/ 315711 w 628650"/>
                <a:gd name="connsiteY400" fmla="*/ 194035 h 590550"/>
                <a:gd name="connsiteX401" fmla="*/ 315711 w 628650"/>
                <a:gd name="connsiteY401" fmla="*/ 190344 h 590550"/>
                <a:gd name="connsiteX402" fmla="*/ 315711 w 628650"/>
                <a:gd name="connsiteY402" fmla="*/ 186653 h 590550"/>
                <a:gd name="connsiteX403" fmla="*/ 312025 w 628650"/>
                <a:gd name="connsiteY403" fmla="*/ 186653 h 590550"/>
                <a:gd name="connsiteX404" fmla="*/ 308329 w 628650"/>
                <a:gd name="connsiteY404" fmla="*/ 190344 h 590550"/>
                <a:gd name="connsiteX405" fmla="*/ 308329 w 628650"/>
                <a:gd name="connsiteY405" fmla="*/ 194035 h 590550"/>
                <a:gd name="connsiteX406" fmla="*/ 304643 w 628650"/>
                <a:gd name="connsiteY406" fmla="*/ 194035 h 590550"/>
                <a:gd name="connsiteX407" fmla="*/ 304643 w 628650"/>
                <a:gd name="connsiteY407" fmla="*/ 190344 h 590550"/>
                <a:gd name="connsiteX408" fmla="*/ 300957 w 628650"/>
                <a:gd name="connsiteY408" fmla="*/ 190344 h 590550"/>
                <a:gd name="connsiteX409" fmla="*/ 300957 w 628650"/>
                <a:gd name="connsiteY409" fmla="*/ 194035 h 590550"/>
                <a:gd name="connsiteX410" fmla="*/ 297261 w 628650"/>
                <a:gd name="connsiteY410" fmla="*/ 194035 h 590550"/>
                <a:gd name="connsiteX411" fmla="*/ 293575 w 628650"/>
                <a:gd name="connsiteY411" fmla="*/ 194035 h 590550"/>
                <a:gd name="connsiteX412" fmla="*/ 293575 w 628650"/>
                <a:gd name="connsiteY412" fmla="*/ 197725 h 590550"/>
                <a:gd name="connsiteX413" fmla="*/ 289889 w 628650"/>
                <a:gd name="connsiteY413" fmla="*/ 197725 h 590550"/>
                <a:gd name="connsiteX414" fmla="*/ 286193 w 628650"/>
                <a:gd name="connsiteY414" fmla="*/ 194035 h 590550"/>
                <a:gd name="connsiteX415" fmla="*/ 286193 w 628650"/>
                <a:gd name="connsiteY415" fmla="*/ 186653 h 590550"/>
                <a:gd name="connsiteX416" fmla="*/ 282507 w 628650"/>
                <a:gd name="connsiteY416" fmla="*/ 182963 h 590550"/>
                <a:gd name="connsiteX417" fmla="*/ 282507 w 628650"/>
                <a:gd name="connsiteY417" fmla="*/ 179272 h 590550"/>
                <a:gd name="connsiteX418" fmla="*/ 278821 w 628650"/>
                <a:gd name="connsiteY418" fmla="*/ 179272 h 590550"/>
                <a:gd name="connsiteX419" fmla="*/ 278821 w 628650"/>
                <a:gd name="connsiteY419" fmla="*/ 175582 h 590550"/>
                <a:gd name="connsiteX420" fmla="*/ 278821 w 628650"/>
                <a:gd name="connsiteY420" fmla="*/ 171891 h 590550"/>
                <a:gd name="connsiteX421" fmla="*/ 275125 w 628650"/>
                <a:gd name="connsiteY421" fmla="*/ 171891 h 590550"/>
                <a:gd name="connsiteX422" fmla="*/ 271439 w 628650"/>
                <a:gd name="connsiteY422" fmla="*/ 168200 h 590550"/>
                <a:gd name="connsiteX423" fmla="*/ 267753 w 628650"/>
                <a:gd name="connsiteY423" fmla="*/ 168200 h 590550"/>
                <a:gd name="connsiteX424" fmla="*/ 264066 w 628650"/>
                <a:gd name="connsiteY424" fmla="*/ 164510 h 590550"/>
                <a:gd name="connsiteX425" fmla="*/ 264066 w 628650"/>
                <a:gd name="connsiteY425" fmla="*/ 160819 h 590550"/>
                <a:gd name="connsiteX426" fmla="*/ 260371 w 628650"/>
                <a:gd name="connsiteY426" fmla="*/ 160819 h 590550"/>
                <a:gd name="connsiteX427" fmla="*/ 260371 w 628650"/>
                <a:gd name="connsiteY427" fmla="*/ 157129 h 590550"/>
                <a:gd name="connsiteX428" fmla="*/ 264066 w 628650"/>
                <a:gd name="connsiteY428" fmla="*/ 157129 h 590550"/>
                <a:gd name="connsiteX429" fmla="*/ 264066 w 628650"/>
                <a:gd name="connsiteY429" fmla="*/ 153438 h 590550"/>
                <a:gd name="connsiteX430" fmla="*/ 260371 w 628650"/>
                <a:gd name="connsiteY430" fmla="*/ 153438 h 590550"/>
                <a:gd name="connsiteX431" fmla="*/ 256684 w 628650"/>
                <a:gd name="connsiteY431" fmla="*/ 153438 h 590550"/>
                <a:gd name="connsiteX432" fmla="*/ 252998 w 628650"/>
                <a:gd name="connsiteY432" fmla="*/ 157129 h 590550"/>
                <a:gd name="connsiteX433" fmla="*/ 249303 w 628650"/>
                <a:gd name="connsiteY433" fmla="*/ 157129 h 590550"/>
                <a:gd name="connsiteX434" fmla="*/ 245616 w 628650"/>
                <a:gd name="connsiteY434" fmla="*/ 157129 h 590550"/>
                <a:gd name="connsiteX435" fmla="*/ 241930 w 628650"/>
                <a:gd name="connsiteY435" fmla="*/ 157129 h 590550"/>
                <a:gd name="connsiteX436" fmla="*/ 241930 w 628650"/>
                <a:gd name="connsiteY436" fmla="*/ 153438 h 590550"/>
                <a:gd name="connsiteX437" fmla="*/ 238235 w 628650"/>
                <a:gd name="connsiteY437" fmla="*/ 153438 h 590550"/>
                <a:gd name="connsiteX438" fmla="*/ 238235 w 628650"/>
                <a:gd name="connsiteY438" fmla="*/ 157129 h 590550"/>
                <a:gd name="connsiteX439" fmla="*/ 234548 w 628650"/>
                <a:gd name="connsiteY439" fmla="*/ 157129 h 590550"/>
                <a:gd name="connsiteX440" fmla="*/ 230862 w 628650"/>
                <a:gd name="connsiteY440" fmla="*/ 157129 h 590550"/>
                <a:gd name="connsiteX441" fmla="*/ 230862 w 628650"/>
                <a:gd name="connsiteY441" fmla="*/ 153438 h 590550"/>
                <a:gd name="connsiteX442" fmla="*/ 227166 w 628650"/>
                <a:gd name="connsiteY442" fmla="*/ 153438 h 590550"/>
                <a:gd name="connsiteX443" fmla="*/ 223480 w 628650"/>
                <a:gd name="connsiteY443" fmla="*/ 149747 h 590550"/>
                <a:gd name="connsiteX444" fmla="*/ 223480 w 628650"/>
                <a:gd name="connsiteY444" fmla="*/ 146057 h 590550"/>
                <a:gd name="connsiteX445" fmla="*/ 219794 w 628650"/>
                <a:gd name="connsiteY445" fmla="*/ 146057 h 590550"/>
                <a:gd name="connsiteX446" fmla="*/ 216098 w 628650"/>
                <a:gd name="connsiteY446" fmla="*/ 146057 h 590550"/>
                <a:gd name="connsiteX447" fmla="*/ 212412 w 628650"/>
                <a:gd name="connsiteY447" fmla="*/ 146057 h 590550"/>
                <a:gd name="connsiteX448" fmla="*/ 212412 w 628650"/>
                <a:gd name="connsiteY448" fmla="*/ 142366 h 590550"/>
                <a:gd name="connsiteX449" fmla="*/ 208726 w 628650"/>
                <a:gd name="connsiteY449" fmla="*/ 142366 h 590550"/>
                <a:gd name="connsiteX450" fmla="*/ 205030 w 628650"/>
                <a:gd name="connsiteY450" fmla="*/ 142366 h 590550"/>
                <a:gd name="connsiteX451" fmla="*/ 201344 w 628650"/>
                <a:gd name="connsiteY451" fmla="*/ 142366 h 590550"/>
                <a:gd name="connsiteX452" fmla="*/ 197658 w 628650"/>
                <a:gd name="connsiteY452" fmla="*/ 146057 h 590550"/>
                <a:gd name="connsiteX453" fmla="*/ 197658 w 628650"/>
                <a:gd name="connsiteY453" fmla="*/ 149747 h 590550"/>
                <a:gd name="connsiteX454" fmla="*/ 193962 w 628650"/>
                <a:gd name="connsiteY454" fmla="*/ 146057 h 590550"/>
                <a:gd name="connsiteX455" fmla="*/ 193962 w 628650"/>
                <a:gd name="connsiteY455" fmla="*/ 142366 h 590550"/>
                <a:gd name="connsiteX456" fmla="*/ 190276 w 628650"/>
                <a:gd name="connsiteY456" fmla="*/ 146057 h 590550"/>
                <a:gd name="connsiteX457" fmla="*/ 193962 w 628650"/>
                <a:gd name="connsiteY457" fmla="*/ 149747 h 590550"/>
                <a:gd name="connsiteX458" fmla="*/ 182904 w 628650"/>
                <a:gd name="connsiteY458" fmla="*/ 146057 h 590550"/>
                <a:gd name="connsiteX459" fmla="*/ 186590 w 628650"/>
                <a:gd name="connsiteY459" fmla="*/ 142366 h 590550"/>
                <a:gd name="connsiteX460" fmla="*/ 186590 w 628650"/>
                <a:gd name="connsiteY460" fmla="*/ 138675 h 590550"/>
                <a:gd name="connsiteX461" fmla="*/ 179208 w 628650"/>
                <a:gd name="connsiteY461" fmla="*/ 134985 h 590550"/>
                <a:gd name="connsiteX462" fmla="*/ 179208 w 628650"/>
                <a:gd name="connsiteY462" fmla="*/ 131295 h 590550"/>
                <a:gd name="connsiteX463" fmla="*/ 171836 w 628650"/>
                <a:gd name="connsiteY463" fmla="*/ 120223 h 590550"/>
                <a:gd name="connsiteX464" fmla="*/ 171836 w 628650"/>
                <a:gd name="connsiteY464" fmla="*/ 116533 h 590550"/>
                <a:gd name="connsiteX465" fmla="*/ 171836 w 628650"/>
                <a:gd name="connsiteY465" fmla="*/ 112842 h 590550"/>
                <a:gd name="connsiteX466" fmla="*/ 168140 w 628650"/>
                <a:gd name="connsiteY466" fmla="*/ 105461 h 590550"/>
                <a:gd name="connsiteX467" fmla="*/ 164454 w 628650"/>
                <a:gd name="connsiteY467" fmla="*/ 98080 h 590550"/>
                <a:gd name="connsiteX468" fmla="*/ 160768 w 628650"/>
                <a:gd name="connsiteY468" fmla="*/ 90698 h 590550"/>
                <a:gd name="connsiteX469" fmla="*/ 160768 w 628650"/>
                <a:gd name="connsiteY469" fmla="*/ 87008 h 590550"/>
                <a:gd name="connsiteX470" fmla="*/ 164454 w 628650"/>
                <a:gd name="connsiteY470" fmla="*/ 87008 h 590550"/>
                <a:gd name="connsiteX471" fmla="*/ 168140 w 628650"/>
                <a:gd name="connsiteY471" fmla="*/ 83317 h 590550"/>
                <a:gd name="connsiteX472" fmla="*/ 179208 w 628650"/>
                <a:gd name="connsiteY472" fmla="*/ 79627 h 590550"/>
                <a:gd name="connsiteX473" fmla="*/ 182904 w 628650"/>
                <a:gd name="connsiteY473" fmla="*/ 75936 h 590550"/>
                <a:gd name="connsiteX474" fmla="*/ 186590 w 628650"/>
                <a:gd name="connsiteY474" fmla="*/ 75936 h 590550"/>
                <a:gd name="connsiteX475" fmla="*/ 186590 w 628650"/>
                <a:gd name="connsiteY475" fmla="*/ 72246 h 590550"/>
                <a:gd name="connsiteX476" fmla="*/ 193962 w 628650"/>
                <a:gd name="connsiteY476" fmla="*/ 64864 h 590550"/>
                <a:gd name="connsiteX477" fmla="*/ 197658 w 628650"/>
                <a:gd name="connsiteY477" fmla="*/ 61174 h 590550"/>
                <a:gd name="connsiteX478" fmla="*/ 201344 w 628650"/>
                <a:gd name="connsiteY478" fmla="*/ 53792 h 590550"/>
                <a:gd name="connsiteX479" fmla="*/ 197658 w 628650"/>
                <a:gd name="connsiteY479" fmla="*/ 53792 h 590550"/>
                <a:gd name="connsiteX480" fmla="*/ 193962 w 628650"/>
                <a:gd name="connsiteY480" fmla="*/ 46412 h 590550"/>
                <a:gd name="connsiteX481" fmla="*/ 190276 w 628650"/>
                <a:gd name="connsiteY481" fmla="*/ 42722 h 590550"/>
                <a:gd name="connsiteX482" fmla="*/ 186590 w 628650"/>
                <a:gd name="connsiteY482" fmla="*/ 39031 h 590550"/>
                <a:gd name="connsiteX483" fmla="*/ 179208 w 628650"/>
                <a:gd name="connsiteY483" fmla="*/ 31650 h 590550"/>
                <a:gd name="connsiteX484" fmla="*/ 175522 w 628650"/>
                <a:gd name="connsiteY484" fmla="*/ 27959 h 590550"/>
                <a:gd name="connsiteX485" fmla="*/ 164454 w 628650"/>
                <a:gd name="connsiteY485" fmla="*/ 16887 h 590550"/>
                <a:gd name="connsiteX486" fmla="*/ 164454 w 628650"/>
                <a:gd name="connsiteY486" fmla="*/ 13197 h 590550"/>
                <a:gd name="connsiteX487" fmla="*/ 160768 w 628650"/>
                <a:gd name="connsiteY487" fmla="*/ 5815 h 590550"/>
                <a:gd name="connsiteX488" fmla="*/ 186590 w 628650"/>
                <a:gd name="connsiteY488" fmla="*/ 507737 h 590550"/>
                <a:gd name="connsiteX489" fmla="*/ 186590 w 628650"/>
                <a:gd name="connsiteY489" fmla="*/ 511423 h 590550"/>
                <a:gd name="connsiteX490" fmla="*/ 186590 w 628650"/>
                <a:gd name="connsiteY490" fmla="*/ 515109 h 590550"/>
                <a:gd name="connsiteX491" fmla="*/ 190276 w 628650"/>
                <a:gd name="connsiteY491" fmla="*/ 511423 h 590550"/>
                <a:gd name="connsiteX492" fmla="*/ 186590 w 628650"/>
                <a:gd name="connsiteY492" fmla="*/ 507737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Lst>
              <a:rect l="l" t="t" r="r" b="b"/>
              <a:pathLst>
                <a:path w="628650" h="590550">
                  <a:moveTo>
                    <a:pt x="160768" y="5815"/>
                  </a:moveTo>
                  <a:lnTo>
                    <a:pt x="149700" y="13197"/>
                  </a:lnTo>
                  <a:lnTo>
                    <a:pt x="146004" y="16887"/>
                  </a:lnTo>
                  <a:lnTo>
                    <a:pt x="142318" y="20578"/>
                  </a:lnTo>
                  <a:lnTo>
                    <a:pt x="131250" y="20578"/>
                  </a:lnTo>
                  <a:lnTo>
                    <a:pt x="127564" y="20578"/>
                  </a:lnTo>
                  <a:lnTo>
                    <a:pt x="131250" y="27959"/>
                  </a:lnTo>
                  <a:lnTo>
                    <a:pt x="131250" y="31650"/>
                  </a:lnTo>
                  <a:lnTo>
                    <a:pt x="127564" y="31650"/>
                  </a:lnTo>
                  <a:lnTo>
                    <a:pt x="123877" y="35340"/>
                  </a:lnTo>
                  <a:lnTo>
                    <a:pt x="116495" y="39031"/>
                  </a:lnTo>
                  <a:lnTo>
                    <a:pt x="116495" y="31650"/>
                  </a:lnTo>
                  <a:lnTo>
                    <a:pt x="105427" y="35340"/>
                  </a:lnTo>
                  <a:lnTo>
                    <a:pt x="101741" y="39031"/>
                  </a:lnTo>
                  <a:lnTo>
                    <a:pt x="101741" y="35340"/>
                  </a:lnTo>
                  <a:lnTo>
                    <a:pt x="98046" y="35340"/>
                  </a:lnTo>
                  <a:lnTo>
                    <a:pt x="94359" y="31650"/>
                  </a:lnTo>
                  <a:lnTo>
                    <a:pt x="90673" y="24269"/>
                  </a:lnTo>
                  <a:lnTo>
                    <a:pt x="90673" y="16887"/>
                  </a:lnTo>
                  <a:lnTo>
                    <a:pt x="83291" y="20578"/>
                  </a:lnTo>
                  <a:lnTo>
                    <a:pt x="83291" y="24269"/>
                  </a:lnTo>
                  <a:lnTo>
                    <a:pt x="75909" y="20578"/>
                  </a:lnTo>
                  <a:lnTo>
                    <a:pt x="75909" y="24269"/>
                  </a:lnTo>
                  <a:lnTo>
                    <a:pt x="68537" y="24269"/>
                  </a:lnTo>
                  <a:lnTo>
                    <a:pt x="64841" y="27959"/>
                  </a:lnTo>
                  <a:lnTo>
                    <a:pt x="64841" y="31650"/>
                  </a:lnTo>
                  <a:lnTo>
                    <a:pt x="61155" y="35340"/>
                  </a:lnTo>
                  <a:lnTo>
                    <a:pt x="61155" y="39031"/>
                  </a:lnTo>
                  <a:lnTo>
                    <a:pt x="57469" y="42722"/>
                  </a:lnTo>
                  <a:lnTo>
                    <a:pt x="53773" y="42722"/>
                  </a:lnTo>
                  <a:lnTo>
                    <a:pt x="53773" y="46412"/>
                  </a:lnTo>
                  <a:lnTo>
                    <a:pt x="50087" y="46412"/>
                  </a:lnTo>
                  <a:lnTo>
                    <a:pt x="46401" y="50102"/>
                  </a:lnTo>
                  <a:lnTo>
                    <a:pt x="42715" y="50102"/>
                  </a:lnTo>
                  <a:lnTo>
                    <a:pt x="39019" y="50102"/>
                  </a:lnTo>
                  <a:lnTo>
                    <a:pt x="35333" y="50102"/>
                  </a:lnTo>
                  <a:lnTo>
                    <a:pt x="31647" y="46412"/>
                  </a:lnTo>
                  <a:lnTo>
                    <a:pt x="27951" y="46412"/>
                  </a:lnTo>
                  <a:lnTo>
                    <a:pt x="24265" y="46412"/>
                  </a:lnTo>
                  <a:lnTo>
                    <a:pt x="24265" y="42722"/>
                  </a:lnTo>
                  <a:lnTo>
                    <a:pt x="20579" y="42722"/>
                  </a:lnTo>
                  <a:lnTo>
                    <a:pt x="16883" y="42722"/>
                  </a:lnTo>
                  <a:lnTo>
                    <a:pt x="16883" y="39031"/>
                  </a:lnTo>
                  <a:lnTo>
                    <a:pt x="13197" y="39031"/>
                  </a:lnTo>
                  <a:lnTo>
                    <a:pt x="5815" y="46412"/>
                  </a:lnTo>
                  <a:lnTo>
                    <a:pt x="9511" y="53792"/>
                  </a:lnTo>
                  <a:lnTo>
                    <a:pt x="13197" y="57483"/>
                  </a:lnTo>
                  <a:lnTo>
                    <a:pt x="16883" y="61174"/>
                  </a:lnTo>
                  <a:lnTo>
                    <a:pt x="16883" y="64864"/>
                  </a:lnTo>
                  <a:lnTo>
                    <a:pt x="24265" y="64864"/>
                  </a:lnTo>
                  <a:lnTo>
                    <a:pt x="31647" y="64864"/>
                  </a:lnTo>
                  <a:lnTo>
                    <a:pt x="35333" y="68555"/>
                  </a:lnTo>
                  <a:lnTo>
                    <a:pt x="46401" y="72246"/>
                  </a:lnTo>
                  <a:lnTo>
                    <a:pt x="50087" y="79627"/>
                  </a:lnTo>
                  <a:lnTo>
                    <a:pt x="53773" y="83317"/>
                  </a:lnTo>
                  <a:lnTo>
                    <a:pt x="57469" y="83317"/>
                  </a:lnTo>
                  <a:lnTo>
                    <a:pt x="64841" y="90698"/>
                  </a:lnTo>
                  <a:lnTo>
                    <a:pt x="68537" y="101770"/>
                  </a:lnTo>
                  <a:lnTo>
                    <a:pt x="75909" y="116533"/>
                  </a:lnTo>
                  <a:lnTo>
                    <a:pt x="75909" y="120223"/>
                  </a:lnTo>
                  <a:lnTo>
                    <a:pt x="79605" y="120223"/>
                  </a:lnTo>
                  <a:lnTo>
                    <a:pt x="83291" y="123914"/>
                  </a:lnTo>
                  <a:lnTo>
                    <a:pt x="83291" y="127604"/>
                  </a:lnTo>
                  <a:lnTo>
                    <a:pt x="86978" y="131295"/>
                  </a:lnTo>
                  <a:lnTo>
                    <a:pt x="86978" y="134985"/>
                  </a:lnTo>
                  <a:lnTo>
                    <a:pt x="86978" y="138675"/>
                  </a:lnTo>
                  <a:lnTo>
                    <a:pt x="79605" y="142366"/>
                  </a:lnTo>
                  <a:lnTo>
                    <a:pt x="75909" y="146057"/>
                  </a:lnTo>
                  <a:lnTo>
                    <a:pt x="72223" y="149747"/>
                  </a:lnTo>
                  <a:lnTo>
                    <a:pt x="72223" y="153438"/>
                  </a:lnTo>
                  <a:lnTo>
                    <a:pt x="72223" y="157129"/>
                  </a:lnTo>
                  <a:lnTo>
                    <a:pt x="75909" y="157129"/>
                  </a:lnTo>
                  <a:lnTo>
                    <a:pt x="75909" y="153438"/>
                  </a:lnTo>
                  <a:lnTo>
                    <a:pt x="83291" y="157129"/>
                  </a:lnTo>
                  <a:lnTo>
                    <a:pt x="86978" y="157129"/>
                  </a:lnTo>
                  <a:lnTo>
                    <a:pt x="94359" y="160819"/>
                  </a:lnTo>
                  <a:lnTo>
                    <a:pt x="98046" y="164510"/>
                  </a:lnTo>
                  <a:lnTo>
                    <a:pt x="101741" y="168200"/>
                  </a:lnTo>
                  <a:lnTo>
                    <a:pt x="109114" y="168200"/>
                  </a:lnTo>
                  <a:lnTo>
                    <a:pt x="112809" y="175582"/>
                  </a:lnTo>
                  <a:lnTo>
                    <a:pt x="109114" y="179272"/>
                  </a:lnTo>
                  <a:lnTo>
                    <a:pt x="98046" y="186653"/>
                  </a:lnTo>
                  <a:lnTo>
                    <a:pt x="94359" y="186653"/>
                  </a:lnTo>
                  <a:lnTo>
                    <a:pt x="83291" y="190344"/>
                  </a:lnTo>
                  <a:lnTo>
                    <a:pt x="83291" y="194035"/>
                  </a:lnTo>
                  <a:lnTo>
                    <a:pt x="75909" y="197725"/>
                  </a:lnTo>
                  <a:lnTo>
                    <a:pt x="72223" y="197725"/>
                  </a:lnTo>
                  <a:lnTo>
                    <a:pt x="64841" y="201416"/>
                  </a:lnTo>
                  <a:lnTo>
                    <a:pt x="61155" y="197725"/>
                  </a:lnTo>
                  <a:lnTo>
                    <a:pt x="57469" y="194035"/>
                  </a:lnTo>
                  <a:lnTo>
                    <a:pt x="27951" y="201416"/>
                  </a:lnTo>
                  <a:lnTo>
                    <a:pt x="24265" y="205107"/>
                  </a:lnTo>
                  <a:lnTo>
                    <a:pt x="24265" y="212488"/>
                  </a:lnTo>
                  <a:lnTo>
                    <a:pt x="24265" y="216178"/>
                  </a:lnTo>
                  <a:lnTo>
                    <a:pt x="24265" y="219868"/>
                  </a:lnTo>
                  <a:lnTo>
                    <a:pt x="27951" y="223559"/>
                  </a:lnTo>
                  <a:lnTo>
                    <a:pt x="27951" y="227249"/>
                  </a:lnTo>
                  <a:lnTo>
                    <a:pt x="13197" y="223559"/>
                  </a:lnTo>
                  <a:lnTo>
                    <a:pt x="16883" y="227249"/>
                  </a:lnTo>
                  <a:lnTo>
                    <a:pt x="20579" y="227249"/>
                  </a:lnTo>
                  <a:lnTo>
                    <a:pt x="24265" y="227249"/>
                  </a:lnTo>
                  <a:lnTo>
                    <a:pt x="24265" y="230940"/>
                  </a:lnTo>
                  <a:lnTo>
                    <a:pt x="27951" y="234630"/>
                  </a:lnTo>
                  <a:lnTo>
                    <a:pt x="27951" y="238321"/>
                  </a:lnTo>
                  <a:lnTo>
                    <a:pt x="27951" y="242012"/>
                  </a:lnTo>
                  <a:lnTo>
                    <a:pt x="31647" y="245702"/>
                  </a:lnTo>
                  <a:lnTo>
                    <a:pt x="35333" y="249393"/>
                  </a:lnTo>
                  <a:lnTo>
                    <a:pt x="35333" y="253083"/>
                  </a:lnTo>
                  <a:lnTo>
                    <a:pt x="35333" y="256774"/>
                  </a:lnTo>
                  <a:lnTo>
                    <a:pt x="39019" y="260465"/>
                  </a:lnTo>
                  <a:lnTo>
                    <a:pt x="39019" y="267846"/>
                  </a:lnTo>
                  <a:lnTo>
                    <a:pt x="39019" y="275227"/>
                  </a:lnTo>
                  <a:lnTo>
                    <a:pt x="46401" y="271537"/>
                  </a:lnTo>
                  <a:lnTo>
                    <a:pt x="50087" y="275227"/>
                  </a:lnTo>
                  <a:lnTo>
                    <a:pt x="57469" y="286299"/>
                  </a:lnTo>
                  <a:lnTo>
                    <a:pt x="61155" y="293680"/>
                  </a:lnTo>
                  <a:lnTo>
                    <a:pt x="68537" y="304751"/>
                  </a:lnTo>
                  <a:lnTo>
                    <a:pt x="68537" y="312132"/>
                  </a:lnTo>
                  <a:lnTo>
                    <a:pt x="75909" y="308442"/>
                  </a:lnTo>
                  <a:lnTo>
                    <a:pt x="79605" y="304751"/>
                  </a:lnTo>
                  <a:lnTo>
                    <a:pt x="83291" y="301060"/>
                  </a:lnTo>
                  <a:lnTo>
                    <a:pt x="83291" y="304751"/>
                  </a:lnTo>
                  <a:lnTo>
                    <a:pt x="86978" y="308442"/>
                  </a:lnTo>
                  <a:lnTo>
                    <a:pt x="90673" y="304751"/>
                  </a:lnTo>
                  <a:lnTo>
                    <a:pt x="98046" y="297371"/>
                  </a:lnTo>
                  <a:lnTo>
                    <a:pt x="105427" y="289990"/>
                  </a:lnTo>
                  <a:lnTo>
                    <a:pt x="109114" y="286299"/>
                  </a:lnTo>
                  <a:lnTo>
                    <a:pt x="112809" y="286299"/>
                  </a:lnTo>
                  <a:lnTo>
                    <a:pt x="116495" y="286299"/>
                  </a:lnTo>
                  <a:lnTo>
                    <a:pt x="120182" y="282608"/>
                  </a:lnTo>
                  <a:lnTo>
                    <a:pt x="123877" y="286299"/>
                  </a:lnTo>
                  <a:lnTo>
                    <a:pt x="127564" y="286299"/>
                  </a:lnTo>
                  <a:lnTo>
                    <a:pt x="131250" y="289990"/>
                  </a:lnTo>
                  <a:lnTo>
                    <a:pt x="134936" y="293680"/>
                  </a:lnTo>
                  <a:lnTo>
                    <a:pt x="134936" y="297371"/>
                  </a:lnTo>
                  <a:lnTo>
                    <a:pt x="134936" y="301060"/>
                  </a:lnTo>
                  <a:lnTo>
                    <a:pt x="138632" y="304751"/>
                  </a:lnTo>
                  <a:lnTo>
                    <a:pt x="149700" y="308442"/>
                  </a:lnTo>
                  <a:lnTo>
                    <a:pt x="153386" y="312132"/>
                  </a:lnTo>
                  <a:lnTo>
                    <a:pt x="153386" y="315823"/>
                  </a:lnTo>
                  <a:lnTo>
                    <a:pt x="157072" y="326895"/>
                  </a:lnTo>
                  <a:lnTo>
                    <a:pt x="157072" y="334276"/>
                  </a:lnTo>
                  <a:lnTo>
                    <a:pt x="160768" y="337967"/>
                  </a:lnTo>
                  <a:lnTo>
                    <a:pt x="164454" y="341657"/>
                  </a:lnTo>
                  <a:lnTo>
                    <a:pt x="164454" y="349038"/>
                  </a:lnTo>
                  <a:lnTo>
                    <a:pt x="160768" y="352729"/>
                  </a:lnTo>
                  <a:lnTo>
                    <a:pt x="160768" y="356420"/>
                  </a:lnTo>
                  <a:lnTo>
                    <a:pt x="160768" y="363801"/>
                  </a:lnTo>
                  <a:lnTo>
                    <a:pt x="164454" y="367491"/>
                  </a:lnTo>
                  <a:lnTo>
                    <a:pt x="168140" y="367491"/>
                  </a:lnTo>
                  <a:lnTo>
                    <a:pt x="168140" y="371182"/>
                  </a:lnTo>
                  <a:lnTo>
                    <a:pt x="168140" y="374873"/>
                  </a:lnTo>
                  <a:lnTo>
                    <a:pt x="168140" y="382253"/>
                  </a:lnTo>
                  <a:lnTo>
                    <a:pt x="164454" y="382253"/>
                  </a:lnTo>
                  <a:lnTo>
                    <a:pt x="164454" y="385943"/>
                  </a:lnTo>
                  <a:lnTo>
                    <a:pt x="160768" y="385943"/>
                  </a:lnTo>
                  <a:lnTo>
                    <a:pt x="153386" y="389634"/>
                  </a:lnTo>
                  <a:lnTo>
                    <a:pt x="146004" y="389634"/>
                  </a:lnTo>
                  <a:lnTo>
                    <a:pt x="146004" y="393323"/>
                  </a:lnTo>
                  <a:lnTo>
                    <a:pt x="142318" y="393323"/>
                  </a:lnTo>
                  <a:lnTo>
                    <a:pt x="142318" y="397018"/>
                  </a:lnTo>
                  <a:lnTo>
                    <a:pt x="146004" y="400704"/>
                  </a:lnTo>
                  <a:lnTo>
                    <a:pt x="149700" y="400704"/>
                  </a:lnTo>
                  <a:lnTo>
                    <a:pt x="153386" y="404400"/>
                  </a:lnTo>
                  <a:lnTo>
                    <a:pt x="149700" y="404400"/>
                  </a:lnTo>
                  <a:lnTo>
                    <a:pt x="146004" y="408086"/>
                  </a:lnTo>
                  <a:lnTo>
                    <a:pt x="142318" y="408086"/>
                  </a:lnTo>
                  <a:lnTo>
                    <a:pt x="142318" y="415468"/>
                  </a:lnTo>
                  <a:lnTo>
                    <a:pt x="142318" y="422850"/>
                  </a:lnTo>
                  <a:lnTo>
                    <a:pt x="142318" y="430232"/>
                  </a:lnTo>
                  <a:lnTo>
                    <a:pt x="138632" y="430232"/>
                  </a:lnTo>
                  <a:lnTo>
                    <a:pt x="138632" y="433918"/>
                  </a:lnTo>
                  <a:lnTo>
                    <a:pt x="142318" y="433918"/>
                  </a:lnTo>
                  <a:lnTo>
                    <a:pt x="146004" y="433918"/>
                  </a:lnTo>
                  <a:lnTo>
                    <a:pt x="146004" y="437614"/>
                  </a:lnTo>
                  <a:lnTo>
                    <a:pt x="146004" y="448682"/>
                  </a:lnTo>
                  <a:lnTo>
                    <a:pt x="149700" y="448682"/>
                  </a:lnTo>
                  <a:lnTo>
                    <a:pt x="153386" y="448682"/>
                  </a:lnTo>
                  <a:lnTo>
                    <a:pt x="157072" y="448682"/>
                  </a:lnTo>
                  <a:lnTo>
                    <a:pt x="157072" y="452377"/>
                  </a:lnTo>
                  <a:lnTo>
                    <a:pt x="157072" y="456064"/>
                  </a:lnTo>
                  <a:lnTo>
                    <a:pt x="160768" y="456064"/>
                  </a:lnTo>
                  <a:lnTo>
                    <a:pt x="160768" y="467132"/>
                  </a:lnTo>
                  <a:lnTo>
                    <a:pt x="164454" y="470827"/>
                  </a:lnTo>
                  <a:lnTo>
                    <a:pt x="168140" y="474514"/>
                  </a:lnTo>
                  <a:lnTo>
                    <a:pt x="168140" y="478209"/>
                  </a:lnTo>
                  <a:lnTo>
                    <a:pt x="168140" y="481895"/>
                  </a:lnTo>
                  <a:lnTo>
                    <a:pt x="168140" y="485591"/>
                  </a:lnTo>
                  <a:lnTo>
                    <a:pt x="171836" y="489277"/>
                  </a:lnTo>
                  <a:lnTo>
                    <a:pt x="175522" y="489277"/>
                  </a:lnTo>
                  <a:lnTo>
                    <a:pt x="179208" y="489277"/>
                  </a:lnTo>
                  <a:lnTo>
                    <a:pt x="182904" y="489277"/>
                  </a:lnTo>
                  <a:lnTo>
                    <a:pt x="182904" y="492973"/>
                  </a:lnTo>
                  <a:lnTo>
                    <a:pt x="179208" y="492973"/>
                  </a:lnTo>
                  <a:lnTo>
                    <a:pt x="175522" y="496659"/>
                  </a:lnTo>
                  <a:lnTo>
                    <a:pt x="175522" y="500355"/>
                  </a:lnTo>
                  <a:lnTo>
                    <a:pt x="179208" y="507737"/>
                  </a:lnTo>
                  <a:lnTo>
                    <a:pt x="182904" y="507737"/>
                  </a:lnTo>
                  <a:lnTo>
                    <a:pt x="186590" y="507737"/>
                  </a:lnTo>
                  <a:lnTo>
                    <a:pt x="186590" y="504041"/>
                  </a:lnTo>
                  <a:lnTo>
                    <a:pt x="193962" y="500355"/>
                  </a:lnTo>
                  <a:lnTo>
                    <a:pt x="197658" y="500355"/>
                  </a:lnTo>
                  <a:lnTo>
                    <a:pt x="197658" y="504041"/>
                  </a:lnTo>
                  <a:lnTo>
                    <a:pt x="205030" y="504041"/>
                  </a:lnTo>
                  <a:lnTo>
                    <a:pt x="208726" y="504041"/>
                  </a:lnTo>
                  <a:lnTo>
                    <a:pt x="212412" y="507737"/>
                  </a:lnTo>
                  <a:lnTo>
                    <a:pt x="212412" y="504041"/>
                  </a:lnTo>
                  <a:lnTo>
                    <a:pt x="216098" y="504041"/>
                  </a:lnTo>
                  <a:lnTo>
                    <a:pt x="219794" y="504041"/>
                  </a:lnTo>
                  <a:lnTo>
                    <a:pt x="223480" y="504041"/>
                  </a:lnTo>
                  <a:lnTo>
                    <a:pt x="230862" y="504041"/>
                  </a:lnTo>
                  <a:lnTo>
                    <a:pt x="234548" y="504041"/>
                  </a:lnTo>
                  <a:lnTo>
                    <a:pt x="238235" y="507737"/>
                  </a:lnTo>
                  <a:lnTo>
                    <a:pt x="241930" y="504041"/>
                  </a:lnTo>
                  <a:lnTo>
                    <a:pt x="245616" y="504041"/>
                  </a:lnTo>
                  <a:lnTo>
                    <a:pt x="249303" y="504041"/>
                  </a:lnTo>
                  <a:lnTo>
                    <a:pt x="252998" y="504041"/>
                  </a:lnTo>
                  <a:lnTo>
                    <a:pt x="252998" y="507737"/>
                  </a:lnTo>
                  <a:lnTo>
                    <a:pt x="264066" y="507737"/>
                  </a:lnTo>
                  <a:lnTo>
                    <a:pt x="264066" y="504041"/>
                  </a:lnTo>
                  <a:lnTo>
                    <a:pt x="271439" y="504041"/>
                  </a:lnTo>
                  <a:lnTo>
                    <a:pt x="271439" y="496659"/>
                  </a:lnTo>
                  <a:lnTo>
                    <a:pt x="275125" y="496659"/>
                  </a:lnTo>
                  <a:lnTo>
                    <a:pt x="278821" y="492973"/>
                  </a:lnTo>
                  <a:lnTo>
                    <a:pt x="286193" y="492973"/>
                  </a:lnTo>
                  <a:lnTo>
                    <a:pt x="289889" y="492973"/>
                  </a:lnTo>
                  <a:lnTo>
                    <a:pt x="293575" y="489277"/>
                  </a:lnTo>
                  <a:lnTo>
                    <a:pt x="293575" y="492973"/>
                  </a:lnTo>
                  <a:lnTo>
                    <a:pt x="297261" y="492973"/>
                  </a:lnTo>
                  <a:lnTo>
                    <a:pt x="300957" y="492973"/>
                  </a:lnTo>
                  <a:lnTo>
                    <a:pt x="308329" y="492973"/>
                  </a:lnTo>
                  <a:lnTo>
                    <a:pt x="312025" y="492973"/>
                  </a:lnTo>
                  <a:lnTo>
                    <a:pt x="312025" y="496659"/>
                  </a:lnTo>
                  <a:lnTo>
                    <a:pt x="312025" y="500355"/>
                  </a:lnTo>
                  <a:lnTo>
                    <a:pt x="315711" y="507737"/>
                  </a:lnTo>
                  <a:lnTo>
                    <a:pt x="326779" y="515109"/>
                  </a:lnTo>
                  <a:lnTo>
                    <a:pt x="326779" y="522491"/>
                  </a:lnTo>
                  <a:lnTo>
                    <a:pt x="330465" y="522491"/>
                  </a:lnTo>
                  <a:lnTo>
                    <a:pt x="330465" y="526187"/>
                  </a:lnTo>
                  <a:lnTo>
                    <a:pt x="337847" y="526187"/>
                  </a:lnTo>
                  <a:lnTo>
                    <a:pt x="337847" y="533569"/>
                  </a:lnTo>
                  <a:lnTo>
                    <a:pt x="341533" y="537255"/>
                  </a:lnTo>
                  <a:lnTo>
                    <a:pt x="341533" y="540951"/>
                  </a:lnTo>
                  <a:lnTo>
                    <a:pt x="345219" y="540951"/>
                  </a:lnTo>
                  <a:lnTo>
                    <a:pt x="348915" y="544637"/>
                  </a:lnTo>
                  <a:lnTo>
                    <a:pt x="356287" y="540951"/>
                  </a:lnTo>
                  <a:lnTo>
                    <a:pt x="359983" y="540951"/>
                  </a:lnTo>
                  <a:lnTo>
                    <a:pt x="378424" y="544637"/>
                  </a:lnTo>
                  <a:lnTo>
                    <a:pt x="393187" y="540951"/>
                  </a:lnTo>
                  <a:lnTo>
                    <a:pt x="396873" y="540951"/>
                  </a:lnTo>
                  <a:lnTo>
                    <a:pt x="404255" y="544637"/>
                  </a:lnTo>
                  <a:lnTo>
                    <a:pt x="400560" y="548332"/>
                  </a:lnTo>
                  <a:lnTo>
                    <a:pt x="404255" y="552019"/>
                  </a:lnTo>
                  <a:lnTo>
                    <a:pt x="407942" y="555714"/>
                  </a:lnTo>
                  <a:lnTo>
                    <a:pt x="407942" y="552019"/>
                  </a:lnTo>
                  <a:lnTo>
                    <a:pt x="411628" y="548332"/>
                  </a:lnTo>
                  <a:lnTo>
                    <a:pt x="415314" y="544637"/>
                  </a:lnTo>
                  <a:lnTo>
                    <a:pt x="419010" y="548332"/>
                  </a:lnTo>
                  <a:lnTo>
                    <a:pt x="419010" y="552019"/>
                  </a:lnTo>
                  <a:lnTo>
                    <a:pt x="422696" y="544637"/>
                  </a:lnTo>
                  <a:lnTo>
                    <a:pt x="426382" y="544637"/>
                  </a:lnTo>
                  <a:lnTo>
                    <a:pt x="437450" y="552019"/>
                  </a:lnTo>
                  <a:lnTo>
                    <a:pt x="437450" y="555714"/>
                  </a:lnTo>
                  <a:lnTo>
                    <a:pt x="437450" y="559400"/>
                  </a:lnTo>
                  <a:lnTo>
                    <a:pt x="437450" y="570468"/>
                  </a:lnTo>
                  <a:lnTo>
                    <a:pt x="430078" y="581546"/>
                  </a:lnTo>
                  <a:lnTo>
                    <a:pt x="437450" y="581546"/>
                  </a:lnTo>
                  <a:lnTo>
                    <a:pt x="441146" y="581546"/>
                  </a:lnTo>
                  <a:lnTo>
                    <a:pt x="448518" y="585232"/>
                  </a:lnTo>
                  <a:lnTo>
                    <a:pt x="455900" y="588928"/>
                  </a:lnTo>
                  <a:lnTo>
                    <a:pt x="459586" y="588928"/>
                  </a:lnTo>
                  <a:lnTo>
                    <a:pt x="481722" y="588928"/>
                  </a:lnTo>
                  <a:lnTo>
                    <a:pt x="511240" y="588928"/>
                  </a:lnTo>
                  <a:lnTo>
                    <a:pt x="522308" y="588928"/>
                  </a:lnTo>
                  <a:lnTo>
                    <a:pt x="525994" y="585232"/>
                  </a:lnTo>
                  <a:lnTo>
                    <a:pt x="529680" y="581546"/>
                  </a:lnTo>
                  <a:lnTo>
                    <a:pt x="533376" y="577850"/>
                  </a:lnTo>
                  <a:lnTo>
                    <a:pt x="533376" y="574164"/>
                  </a:lnTo>
                  <a:lnTo>
                    <a:pt x="537062" y="555714"/>
                  </a:lnTo>
                  <a:lnTo>
                    <a:pt x="540749" y="555714"/>
                  </a:lnTo>
                  <a:lnTo>
                    <a:pt x="540749" y="552019"/>
                  </a:lnTo>
                  <a:lnTo>
                    <a:pt x="551817" y="544637"/>
                  </a:lnTo>
                  <a:lnTo>
                    <a:pt x="551817" y="540951"/>
                  </a:lnTo>
                  <a:lnTo>
                    <a:pt x="562885" y="537255"/>
                  </a:lnTo>
                  <a:lnTo>
                    <a:pt x="573953" y="537255"/>
                  </a:lnTo>
                  <a:lnTo>
                    <a:pt x="577639" y="529873"/>
                  </a:lnTo>
                  <a:lnTo>
                    <a:pt x="577639" y="526187"/>
                  </a:lnTo>
                  <a:lnTo>
                    <a:pt x="581335" y="522491"/>
                  </a:lnTo>
                  <a:lnTo>
                    <a:pt x="581335" y="518805"/>
                  </a:lnTo>
                  <a:lnTo>
                    <a:pt x="585021" y="515109"/>
                  </a:lnTo>
                  <a:lnTo>
                    <a:pt x="585021" y="511423"/>
                  </a:lnTo>
                  <a:lnTo>
                    <a:pt x="585021" y="507737"/>
                  </a:lnTo>
                  <a:lnTo>
                    <a:pt x="585021" y="504041"/>
                  </a:lnTo>
                  <a:lnTo>
                    <a:pt x="588707" y="500355"/>
                  </a:lnTo>
                  <a:lnTo>
                    <a:pt x="596089" y="496659"/>
                  </a:lnTo>
                  <a:lnTo>
                    <a:pt x="599775" y="500355"/>
                  </a:lnTo>
                  <a:lnTo>
                    <a:pt x="603471" y="500355"/>
                  </a:lnTo>
                  <a:lnTo>
                    <a:pt x="607157" y="500355"/>
                  </a:lnTo>
                  <a:lnTo>
                    <a:pt x="614539" y="500355"/>
                  </a:lnTo>
                  <a:lnTo>
                    <a:pt x="625597" y="492973"/>
                  </a:lnTo>
                  <a:lnTo>
                    <a:pt x="625597" y="489277"/>
                  </a:lnTo>
                  <a:lnTo>
                    <a:pt x="614539" y="474514"/>
                  </a:lnTo>
                  <a:lnTo>
                    <a:pt x="610843" y="470827"/>
                  </a:lnTo>
                  <a:lnTo>
                    <a:pt x="610843" y="463446"/>
                  </a:lnTo>
                  <a:lnTo>
                    <a:pt x="607157" y="463446"/>
                  </a:lnTo>
                  <a:lnTo>
                    <a:pt x="607157" y="459759"/>
                  </a:lnTo>
                  <a:lnTo>
                    <a:pt x="607157" y="456064"/>
                  </a:lnTo>
                  <a:lnTo>
                    <a:pt x="607157" y="452377"/>
                  </a:lnTo>
                  <a:lnTo>
                    <a:pt x="607157" y="448682"/>
                  </a:lnTo>
                  <a:lnTo>
                    <a:pt x="610843" y="437614"/>
                  </a:lnTo>
                  <a:lnTo>
                    <a:pt x="610843" y="433918"/>
                  </a:lnTo>
                  <a:lnTo>
                    <a:pt x="614539" y="433918"/>
                  </a:lnTo>
                  <a:lnTo>
                    <a:pt x="614539" y="430232"/>
                  </a:lnTo>
                  <a:lnTo>
                    <a:pt x="618225" y="430232"/>
                  </a:lnTo>
                  <a:lnTo>
                    <a:pt x="618225" y="426536"/>
                  </a:lnTo>
                  <a:lnTo>
                    <a:pt x="618225" y="422850"/>
                  </a:lnTo>
                  <a:lnTo>
                    <a:pt x="621911" y="415468"/>
                  </a:lnTo>
                  <a:lnTo>
                    <a:pt x="621911" y="411782"/>
                  </a:lnTo>
                  <a:lnTo>
                    <a:pt x="629293" y="400704"/>
                  </a:lnTo>
                  <a:lnTo>
                    <a:pt x="629293" y="382253"/>
                  </a:lnTo>
                  <a:lnTo>
                    <a:pt x="621911" y="367491"/>
                  </a:lnTo>
                  <a:lnTo>
                    <a:pt x="621911" y="363801"/>
                  </a:lnTo>
                  <a:lnTo>
                    <a:pt x="621911" y="360110"/>
                  </a:lnTo>
                  <a:lnTo>
                    <a:pt x="618225" y="360110"/>
                  </a:lnTo>
                  <a:lnTo>
                    <a:pt x="614539" y="360110"/>
                  </a:lnTo>
                  <a:lnTo>
                    <a:pt x="610843" y="360110"/>
                  </a:lnTo>
                  <a:lnTo>
                    <a:pt x="607157" y="352729"/>
                  </a:lnTo>
                  <a:lnTo>
                    <a:pt x="603471" y="345348"/>
                  </a:lnTo>
                  <a:lnTo>
                    <a:pt x="596089" y="337967"/>
                  </a:lnTo>
                  <a:lnTo>
                    <a:pt x="596089" y="334276"/>
                  </a:lnTo>
                  <a:lnTo>
                    <a:pt x="592403" y="326895"/>
                  </a:lnTo>
                  <a:lnTo>
                    <a:pt x="592403" y="319514"/>
                  </a:lnTo>
                  <a:lnTo>
                    <a:pt x="588707" y="312132"/>
                  </a:lnTo>
                  <a:lnTo>
                    <a:pt x="588707" y="308442"/>
                  </a:lnTo>
                  <a:lnTo>
                    <a:pt x="585021" y="308442"/>
                  </a:lnTo>
                  <a:lnTo>
                    <a:pt x="581335" y="308442"/>
                  </a:lnTo>
                  <a:lnTo>
                    <a:pt x="577639" y="315823"/>
                  </a:lnTo>
                  <a:lnTo>
                    <a:pt x="573953" y="326895"/>
                  </a:lnTo>
                  <a:lnTo>
                    <a:pt x="566571" y="330585"/>
                  </a:lnTo>
                  <a:lnTo>
                    <a:pt x="566571" y="334276"/>
                  </a:lnTo>
                  <a:lnTo>
                    <a:pt x="562885" y="334276"/>
                  </a:lnTo>
                  <a:lnTo>
                    <a:pt x="544444" y="330585"/>
                  </a:lnTo>
                  <a:lnTo>
                    <a:pt x="537062" y="326895"/>
                  </a:lnTo>
                  <a:lnTo>
                    <a:pt x="525994" y="323204"/>
                  </a:lnTo>
                  <a:lnTo>
                    <a:pt x="518612" y="323204"/>
                  </a:lnTo>
                  <a:lnTo>
                    <a:pt x="522308" y="315823"/>
                  </a:lnTo>
                  <a:lnTo>
                    <a:pt x="514926" y="315823"/>
                  </a:lnTo>
                  <a:lnTo>
                    <a:pt x="503858" y="315823"/>
                  </a:lnTo>
                  <a:lnTo>
                    <a:pt x="481722" y="315823"/>
                  </a:lnTo>
                  <a:lnTo>
                    <a:pt x="474350" y="315823"/>
                  </a:lnTo>
                  <a:lnTo>
                    <a:pt x="470654" y="312132"/>
                  </a:lnTo>
                  <a:lnTo>
                    <a:pt x="455900" y="304751"/>
                  </a:lnTo>
                  <a:lnTo>
                    <a:pt x="452214" y="301060"/>
                  </a:lnTo>
                  <a:lnTo>
                    <a:pt x="444832" y="297371"/>
                  </a:lnTo>
                  <a:lnTo>
                    <a:pt x="448518" y="267846"/>
                  </a:lnTo>
                  <a:lnTo>
                    <a:pt x="441146" y="256774"/>
                  </a:lnTo>
                  <a:lnTo>
                    <a:pt x="433764" y="242012"/>
                  </a:lnTo>
                  <a:lnTo>
                    <a:pt x="437450" y="242012"/>
                  </a:lnTo>
                  <a:lnTo>
                    <a:pt x="444832" y="245702"/>
                  </a:lnTo>
                  <a:lnTo>
                    <a:pt x="452214" y="245702"/>
                  </a:lnTo>
                  <a:lnTo>
                    <a:pt x="455900" y="234630"/>
                  </a:lnTo>
                  <a:lnTo>
                    <a:pt x="463282" y="234630"/>
                  </a:lnTo>
                  <a:lnTo>
                    <a:pt x="470654" y="238321"/>
                  </a:lnTo>
                  <a:lnTo>
                    <a:pt x="474350" y="234630"/>
                  </a:lnTo>
                  <a:lnTo>
                    <a:pt x="452214" y="216178"/>
                  </a:lnTo>
                  <a:lnTo>
                    <a:pt x="452214" y="208797"/>
                  </a:lnTo>
                  <a:lnTo>
                    <a:pt x="455900" y="194035"/>
                  </a:lnTo>
                  <a:lnTo>
                    <a:pt x="455900" y="190344"/>
                  </a:lnTo>
                  <a:lnTo>
                    <a:pt x="452214" y="186653"/>
                  </a:lnTo>
                  <a:lnTo>
                    <a:pt x="448518" y="182963"/>
                  </a:lnTo>
                  <a:lnTo>
                    <a:pt x="444832" y="182963"/>
                  </a:lnTo>
                  <a:lnTo>
                    <a:pt x="444832" y="179272"/>
                  </a:lnTo>
                  <a:lnTo>
                    <a:pt x="444832" y="175582"/>
                  </a:lnTo>
                  <a:lnTo>
                    <a:pt x="444832" y="171891"/>
                  </a:lnTo>
                  <a:lnTo>
                    <a:pt x="448518" y="168200"/>
                  </a:lnTo>
                  <a:lnTo>
                    <a:pt x="444832" y="164510"/>
                  </a:lnTo>
                  <a:lnTo>
                    <a:pt x="437450" y="164510"/>
                  </a:lnTo>
                  <a:lnTo>
                    <a:pt x="422696" y="157129"/>
                  </a:lnTo>
                  <a:lnTo>
                    <a:pt x="415314" y="153438"/>
                  </a:lnTo>
                  <a:lnTo>
                    <a:pt x="407942" y="149747"/>
                  </a:lnTo>
                  <a:lnTo>
                    <a:pt x="400560" y="146057"/>
                  </a:lnTo>
                  <a:lnTo>
                    <a:pt x="400560" y="149747"/>
                  </a:lnTo>
                  <a:lnTo>
                    <a:pt x="396873" y="149747"/>
                  </a:lnTo>
                  <a:lnTo>
                    <a:pt x="385805" y="153438"/>
                  </a:lnTo>
                  <a:lnTo>
                    <a:pt x="371051" y="153438"/>
                  </a:lnTo>
                  <a:lnTo>
                    <a:pt x="367355" y="157129"/>
                  </a:lnTo>
                  <a:lnTo>
                    <a:pt x="359983" y="164510"/>
                  </a:lnTo>
                  <a:lnTo>
                    <a:pt x="352601" y="171891"/>
                  </a:lnTo>
                  <a:lnTo>
                    <a:pt x="356287" y="194035"/>
                  </a:lnTo>
                  <a:lnTo>
                    <a:pt x="356287" y="197725"/>
                  </a:lnTo>
                  <a:lnTo>
                    <a:pt x="352601" y="197725"/>
                  </a:lnTo>
                  <a:lnTo>
                    <a:pt x="348915" y="194035"/>
                  </a:lnTo>
                  <a:lnTo>
                    <a:pt x="345219" y="194035"/>
                  </a:lnTo>
                  <a:lnTo>
                    <a:pt x="337847" y="194035"/>
                  </a:lnTo>
                  <a:lnTo>
                    <a:pt x="334161" y="190344"/>
                  </a:lnTo>
                  <a:lnTo>
                    <a:pt x="330465" y="186653"/>
                  </a:lnTo>
                  <a:lnTo>
                    <a:pt x="330465" y="190344"/>
                  </a:lnTo>
                  <a:lnTo>
                    <a:pt x="326779" y="194035"/>
                  </a:lnTo>
                  <a:lnTo>
                    <a:pt x="323093" y="197725"/>
                  </a:lnTo>
                  <a:lnTo>
                    <a:pt x="319397" y="194035"/>
                  </a:lnTo>
                  <a:lnTo>
                    <a:pt x="315711" y="194035"/>
                  </a:lnTo>
                  <a:lnTo>
                    <a:pt x="315711" y="190344"/>
                  </a:lnTo>
                  <a:lnTo>
                    <a:pt x="315711" y="186653"/>
                  </a:lnTo>
                  <a:lnTo>
                    <a:pt x="312025" y="186653"/>
                  </a:lnTo>
                  <a:lnTo>
                    <a:pt x="308329" y="190344"/>
                  </a:lnTo>
                  <a:lnTo>
                    <a:pt x="308329" y="194035"/>
                  </a:lnTo>
                  <a:lnTo>
                    <a:pt x="304643" y="194035"/>
                  </a:lnTo>
                  <a:lnTo>
                    <a:pt x="304643" y="190344"/>
                  </a:lnTo>
                  <a:lnTo>
                    <a:pt x="300957" y="190344"/>
                  </a:lnTo>
                  <a:lnTo>
                    <a:pt x="300957" y="194035"/>
                  </a:lnTo>
                  <a:lnTo>
                    <a:pt x="297261" y="194035"/>
                  </a:lnTo>
                  <a:lnTo>
                    <a:pt x="293575" y="194035"/>
                  </a:lnTo>
                  <a:lnTo>
                    <a:pt x="293575" y="197725"/>
                  </a:lnTo>
                  <a:lnTo>
                    <a:pt x="289889" y="197725"/>
                  </a:lnTo>
                  <a:lnTo>
                    <a:pt x="286193" y="194035"/>
                  </a:lnTo>
                  <a:lnTo>
                    <a:pt x="286193" y="186653"/>
                  </a:lnTo>
                  <a:lnTo>
                    <a:pt x="282507" y="182963"/>
                  </a:lnTo>
                  <a:lnTo>
                    <a:pt x="282507" y="179272"/>
                  </a:lnTo>
                  <a:lnTo>
                    <a:pt x="278821" y="179272"/>
                  </a:lnTo>
                  <a:lnTo>
                    <a:pt x="278821" y="175582"/>
                  </a:lnTo>
                  <a:lnTo>
                    <a:pt x="278821" y="171891"/>
                  </a:lnTo>
                  <a:lnTo>
                    <a:pt x="275125" y="171891"/>
                  </a:lnTo>
                  <a:lnTo>
                    <a:pt x="271439" y="168200"/>
                  </a:lnTo>
                  <a:lnTo>
                    <a:pt x="267753" y="168200"/>
                  </a:lnTo>
                  <a:lnTo>
                    <a:pt x="264066" y="164510"/>
                  </a:lnTo>
                  <a:lnTo>
                    <a:pt x="264066" y="160819"/>
                  </a:lnTo>
                  <a:lnTo>
                    <a:pt x="260371" y="160819"/>
                  </a:lnTo>
                  <a:lnTo>
                    <a:pt x="260371" y="157129"/>
                  </a:lnTo>
                  <a:lnTo>
                    <a:pt x="264066" y="157129"/>
                  </a:lnTo>
                  <a:lnTo>
                    <a:pt x="264066" y="153438"/>
                  </a:lnTo>
                  <a:lnTo>
                    <a:pt x="260371" y="153438"/>
                  </a:lnTo>
                  <a:lnTo>
                    <a:pt x="256684" y="153438"/>
                  </a:lnTo>
                  <a:lnTo>
                    <a:pt x="252998" y="157129"/>
                  </a:lnTo>
                  <a:lnTo>
                    <a:pt x="249303" y="157129"/>
                  </a:lnTo>
                  <a:lnTo>
                    <a:pt x="245616" y="157129"/>
                  </a:lnTo>
                  <a:lnTo>
                    <a:pt x="241930" y="157129"/>
                  </a:lnTo>
                  <a:lnTo>
                    <a:pt x="241930" y="153438"/>
                  </a:lnTo>
                  <a:lnTo>
                    <a:pt x="238235" y="153438"/>
                  </a:lnTo>
                  <a:lnTo>
                    <a:pt x="238235" y="157129"/>
                  </a:lnTo>
                  <a:lnTo>
                    <a:pt x="234548" y="157129"/>
                  </a:lnTo>
                  <a:lnTo>
                    <a:pt x="230862" y="157129"/>
                  </a:lnTo>
                  <a:lnTo>
                    <a:pt x="230862" y="153438"/>
                  </a:lnTo>
                  <a:lnTo>
                    <a:pt x="227166" y="153438"/>
                  </a:lnTo>
                  <a:lnTo>
                    <a:pt x="223480" y="149747"/>
                  </a:lnTo>
                  <a:lnTo>
                    <a:pt x="223480" y="146057"/>
                  </a:lnTo>
                  <a:lnTo>
                    <a:pt x="219794" y="146057"/>
                  </a:lnTo>
                  <a:lnTo>
                    <a:pt x="216098" y="146057"/>
                  </a:lnTo>
                  <a:lnTo>
                    <a:pt x="212412" y="146057"/>
                  </a:lnTo>
                  <a:lnTo>
                    <a:pt x="212412" y="142366"/>
                  </a:lnTo>
                  <a:lnTo>
                    <a:pt x="208726" y="142366"/>
                  </a:lnTo>
                  <a:lnTo>
                    <a:pt x="205030" y="142366"/>
                  </a:lnTo>
                  <a:lnTo>
                    <a:pt x="201344" y="142366"/>
                  </a:lnTo>
                  <a:lnTo>
                    <a:pt x="197658" y="146057"/>
                  </a:lnTo>
                  <a:lnTo>
                    <a:pt x="197658" y="149747"/>
                  </a:lnTo>
                  <a:lnTo>
                    <a:pt x="193962" y="146057"/>
                  </a:lnTo>
                  <a:lnTo>
                    <a:pt x="193962" y="142366"/>
                  </a:lnTo>
                  <a:lnTo>
                    <a:pt x="190276" y="146057"/>
                  </a:lnTo>
                  <a:lnTo>
                    <a:pt x="193962" y="149747"/>
                  </a:lnTo>
                  <a:lnTo>
                    <a:pt x="182904" y="146057"/>
                  </a:lnTo>
                  <a:lnTo>
                    <a:pt x="186590" y="142366"/>
                  </a:lnTo>
                  <a:lnTo>
                    <a:pt x="186590" y="138675"/>
                  </a:lnTo>
                  <a:lnTo>
                    <a:pt x="179208" y="134985"/>
                  </a:lnTo>
                  <a:lnTo>
                    <a:pt x="179208" y="131295"/>
                  </a:lnTo>
                  <a:lnTo>
                    <a:pt x="171836" y="120223"/>
                  </a:lnTo>
                  <a:lnTo>
                    <a:pt x="171836" y="116533"/>
                  </a:lnTo>
                  <a:lnTo>
                    <a:pt x="171836" y="112842"/>
                  </a:lnTo>
                  <a:lnTo>
                    <a:pt x="168140" y="105461"/>
                  </a:lnTo>
                  <a:lnTo>
                    <a:pt x="164454" y="98080"/>
                  </a:lnTo>
                  <a:lnTo>
                    <a:pt x="160768" y="90698"/>
                  </a:lnTo>
                  <a:lnTo>
                    <a:pt x="160768" y="87008"/>
                  </a:lnTo>
                  <a:lnTo>
                    <a:pt x="164454" y="87008"/>
                  </a:lnTo>
                  <a:lnTo>
                    <a:pt x="168140" y="83317"/>
                  </a:lnTo>
                  <a:lnTo>
                    <a:pt x="179208" y="79627"/>
                  </a:lnTo>
                  <a:lnTo>
                    <a:pt x="182904" y="75936"/>
                  </a:lnTo>
                  <a:lnTo>
                    <a:pt x="186590" y="75936"/>
                  </a:lnTo>
                  <a:lnTo>
                    <a:pt x="186590" y="72246"/>
                  </a:lnTo>
                  <a:lnTo>
                    <a:pt x="193962" y="64864"/>
                  </a:lnTo>
                  <a:lnTo>
                    <a:pt x="197658" y="61174"/>
                  </a:lnTo>
                  <a:lnTo>
                    <a:pt x="201344" y="53792"/>
                  </a:lnTo>
                  <a:lnTo>
                    <a:pt x="197658" y="53792"/>
                  </a:lnTo>
                  <a:lnTo>
                    <a:pt x="193962" y="46412"/>
                  </a:lnTo>
                  <a:lnTo>
                    <a:pt x="190276" y="42722"/>
                  </a:lnTo>
                  <a:lnTo>
                    <a:pt x="186590" y="39031"/>
                  </a:lnTo>
                  <a:lnTo>
                    <a:pt x="179208" y="31650"/>
                  </a:lnTo>
                  <a:lnTo>
                    <a:pt x="175522" y="27959"/>
                  </a:lnTo>
                  <a:lnTo>
                    <a:pt x="164454" y="16887"/>
                  </a:lnTo>
                  <a:lnTo>
                    <a:pt x="164454" y="13197"/>
                  </a:lnTo>
                  <a:lnTo>
                    <a:pt x="160768" y="5815"/>
                  </a:lnTo>
                  <a:close/>
                  <a:moveTo>
                    <a:pt x="186590" y="507737"/>
                  </a:moveTo>
                  <a:lnTo>
                    <a:pt x="186590" y="511423"/>
                  </a:lnTo>
                  <a:lnTo>
                    <a:pt x="186590" y="515109"/>
                  </a:lnTo>
                  <a:lnTo>
                    <a:pt x="190276" y="511423"/>
                  </a:lnTo>
                  <a:lnTo>
                    <a:pt x="186590" y="507737"/>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98" name="Freeform: Shape 97">
              <a:extLst>
                <a:ext uri="{FF2B5EF4-FFF2-40B4-BE49-F238E27FC236}">
                  <a16:creationId xmlns:a16="http://schemas.microsoft.com/office/drawing/2014/main" id="{96914177-5547-42CD-B28A-874C576A1E93}"/>
                </a:ext>
              </a:extLst>
            </p:cNvPr>
            <p:cNvSpPr/>
            <p:nvPr/>
          </p:nvSpPr>
          <p:spPr>
            <a:xfrm>
              <a:off x="5401604" y="3035721"/>
              <a:ext cx="2042957" cy="1425814"/>
            </a:xfrm>
            <a:custGeom>
              <a:avLst/>
              <a:gdLst>
                <a:gd name="connsiteX0" fmla="*/ 437447 w 914400"/>
                <a:gd name="connsiteY0" fmla="*/ 5812 h 638175"/>
                <a:gd name="connsiteX1" fmla="*/ 430065 w 914400"/>
                <a:gd name="connsiteY1" fmla="*/ 9502 h 638175"/>
                <a:gd name="connsiteX2" fmla="*/ 430065 w 914400"/>
                <a:gd name="connsiteY2" fmla="*/ 13193 h 638175"/>
                <a:gd name="connsiteX3" fmla="*/ 426379 w 914400"/>
                <a:gd name="connsiteY3" fmla="*/ 24264 h 638175"/>
                <a:gd name="connsiteX4" fmla="*/ 422693 w 914400"/>
                <a:gd name="connsiteY4" fmla="*/ 31645 h 638175"/>
                <a:gd name="connsiteX5" fmla="*/ 422693 w 914400"/>
                <a:gd name="connsiteY5" fmla="*/ 35335 h 638175"/>
                <a:gd name="connsiteX6" fmla="*/ 422693 w 914400"/>
                <a:gd name="connsiteY6" fmla="*/ 39026 h 638175"/>
                <a:gd name="connsiteX7" fmla="*/ 418998 w 914400"/>
                <a:gd name="connsiteY7" fmla="*/ 46407 h 638175"/>
                <a:gd name="connsiteX8" fmla="*/ 418998 w 914400"/>
                <a:gd name="connsiteY8" fmla="*/ 50098 h 638175"/>
                <a:gd name="connsiteX9" fmla="*/ 418998 w 914400"/>
                <a:gd name="connsiteY9" fmla="*/ 53789 h 638175"/>
                <a:gd name="connsiteX10" fmla="*/ 415311 w 914400"/>
                <a:gd name="connsiteY10" fmla="*/ 50098 h 638175"/>
                <a:gd name="connsiteX11" fmla="*/ 415311 w 914400"/>
                <a:gd name="connsiteY11" fmla="*/ 57479 h 638175"/>
                <a:gd name="connsiteX12" fmla="*/ 411625 w 914400"/>
                <a:gd name="connsiteY12" fmla="*/ 57479 h 638175"/>
                <a:gd name="connsiteX13" fmla="*/ 411625 w 914400"/>
                <a:gd name="connsiteY13" fmla="*/ 53789 h 638175"/>
                <a:gd name="connsiteX14" fmla="*/ 411625 w 914400"/>
                <a:gd name="connsiteY14" fmla="*/ 50098 h 638175"/>
                <a:gd name="connsiteX15" fmla="*/ 407929 w 914400"/>
                <a:gd name="connsiteY15" fmla="*/ 57479 h 638175"/>
                <a:gd name="connsiteX16" fmla="*/ 407929 w 914400"/>
                <a:gd name="connsiteY16" fmla="*/ 61170 h 638175"/>
                <a:gd name="connsiteX17" fmla="*/ 411625 w 914400"/>
                <a:gd name="connsiteY17" fmla="*/ 61170 h 638175"/>
                <a:gd name="connsiteX18" fmla="*/ 411625 w 914400"/>
                <a:gd name="connsiteY18" fmla="*/ 64860 h 638175"/>
                <a:gd name="connsiteX19" fmla="*/ 407929 w 914400"/>
                <a:gd name="connsiteY19" fmla="*/ 64860 h 638175"/>
                <a:gd name="connsiteX20" fmla="*/ 411625 w 914400"/>
                <a:gd name="connsiteY20" fmla="*/ 68551 h 638175"/>
                <a:gd name="connsiteX21" fmla="*/ 407929 w 914400"/>
                <a:gd name="connsiteY21" fmla="*/ 72242 h 638175"/>
                <a:gd name="connsiteX22" fmla="*/ 404243 w 914400"/>
                <a:gd name="connsiteY22" fmla="*/ 75932 h 638175"/>
                <a:gd name="connsiteX23" fmla="*/ 393175 w 914400"/>
                <a:gd name="connsiteY23" fmla="*/ 87004 h 638175"/>
                <a:gd name="connsiteX24" fmla="*/ 385793 w 914400"/>
                <a:gd name="connsiteY24" fmla="*/ 94385 h 638175"/>
                <a:gd name="connsiteX25" fmla="*/ 378421 w 914400"/>
                <a:gd name="connsiteY25" fmla="*/ 98075 h 638175"/>
                <a:gd name="connsiteX26" fmla="*/ 378421 w 914400"/>
                <a:gd name="connsiteY26" fmla="*/ 101766 h 638175"/>
                <a:gd name="connsiteX27" fmla="*/ 374725 w 914400"/>
                <a:gd name="connsiteY27" fmla="*/ 101766 h 638175"/>
                <a:gd name="connsiteX28" fmla="*/ 371039 w 914400"/>
                <a:gd name="connsiteY28" fmla="*/ 105456 h 638175"/>
                <a:gd name="connsiteX29" fmla="*/ 367353 w 914400"/>
                <a:gd name="connsiteY29" fmla="*/ 105456 h 638175"/>
                <a:gd name="connsiteX30" fmla="*/ 363667 w 914400"/>
                <a:gd name="connsiteY30" fmla="*/ 109147 h 638175"/>
                <a:gd name="connsiteX31" fmla="*/ 363667 w 914400"/>
                <a:gd name="connsiteY31" fmla="*/ 112837 h 638175"/>
                <a:gd name="connsiteX32" fmla="*/ 359971 w 914400"/>
                <a:gd name="connsiteY32" fmla="*/ 112837 h 638175"/>
                <a:gd name="connsiteX33" fmla="*/ 359971 w 914400"/>
                <a:gd name="connsiteY33" fmla="*/ 116528 h 638175"/>
                <a:gd name="connsiteX34" fmla="*/ 356285 w 914400"/>
                <a:gd name="connsiteY34" fmla="*/ 116528 h 638175"/>
                <a:gd name="connsiteX35" fmla="*/ 352599 w 914400"/>
                <a:gd name="connsiteY35" fmla="*/ 116528 h 638175"/>
                <a:gd name="connsiteX36" fmla="*/ 345217 w 914400"/>
                <a:gd name="connsiteY36" fmla="*/ 120218 h 638175"/>
                <a:gd name="connsiteX37" fmla="*/ 341531 w 914400"/>
                <a:gd name="connsiteY37" fmla="*/ 123909 h 638175"/>
                <a:gd name="connsiteX38" fmla="*/ 337835 w 914400"/>
                <a:gd name="connsiteY38" fmla="*/ 123909 h 638175"/>
                <a:gd name="connsiteX39" fmla="*/ 334149 w 914400"/>
                <a:gd name="connsiteY39" fmla="*/ 127597 h 638175"/>
                <a:gd name="connsiteX40" fmla="*/ 326767 w 914400"/>
                <a:gd name="connsiteY40" fmla="*/ 131293 h 638175"/>
                <a:gd name="connsiteX41" fmla="*/ 323081 w 914400"/>
                <a:gd name="connsiteY41" fmla="*/ 131293 h 638175"/>
                <a:gd name="connsiteX42" fmla="*/ 319395 w 914400"/>
                <a:gd name="connsiteY42" fmla="*/ 134979 h 638175"/>
                <a:gd name="connsiteX43" fmla="*/ 315699 w 914400"/>
                <a:gd name="connsiteY43" fmla="*/ 138675 h 638175"/>
                <a:gd name="connsiteX44" fmla="*/ 315699 w 914400"/>
                <a:gd name="connsiteY44" fmla="*/ 142361 h 638175"/>
                <a:gd name="connsiteX45" fmla="*/ 312013 w 914400"/>
                <a:gd name="connsiteY45" fmla="*/ 142361 h 638175"/>
                <a:gd name="connsiteX46" fmla="*/ 308326 w 914400"/>
                <a:gd name="connsiteY46" fmla="*/ 142361 h 638175"/>
                <a:gd name="connsiteX47" fmla="*/ 308326 w 914400"/>
                <a:gd name="connsiteY47" fmla="*/ 146057 h 638175"/>
                <a:gd name="connsiteX48" fmla="*/ 308326 w 914400"/>
                <a:gd name="connsiteY48" fmla="*/ 149743 h 638175"/>
                <a:gd name="connsiteX49" fmla="*/ 304631 w 914400"/>
                <a:gd name="connsiteY49" fmla="*/ 149743 h 638175"/>
                <a:gd name="connsiteX50" fmla="*/ 304631 w 914400"/>
                <a:gd name="connsiteY50" fmla="*/ 153439 h 638175"/>
                <a:gd name="connsiteX51" fmla="*/ 300945 w 914400"/>
                <a:gd name="connsiteY51" fmla="*/ 153439 h 638175"/>
                <a:gd name="connsiteX52" fmla="*/ 300945 w 914400"/>
                <a:gd name="connsiteY52" fmla="*/ 157125 h 638175"/>
                <a:gd name="connsiteX53" fmla="*/ 297258 w 914400"/>
                <a:gd name="connsiteY53" fmla="*/ 157125 h 638175"/>
                <a:gd name="connsiteX54" fmla="*/ 297258 w 914400"/>
                <a:gd name="connsiteY54" fmla="*/ 160811 h 638175"/>
                <a:gd name="connsiteX55" fmla="*/ 289877 w 914400"/>
                <a:gd name="connsiteY55" fmla="*/ 164507 h 638175"/>
                <a:gd name="connsiteX56" fmla="*/ 286190 w 914400"/>
                <a:gd name="connsiteY56" fmla="*/ 168193 h 638175"/>
                <a:gd name="connsiteX57" fmla="*/ 282504 w 914400"/>
                <a:gd name="connsiteY57" fmla="*/ 171889 h 638175"/>
                <a:gd name="connsiteX58" fmla="*/ 282504 w 914400"/>
                <a:gd name="connsiteY58" fmla="*/ 175575 h 638175"/>
                <a:gd name="connsiteX59" fmla="*/ 278808 w 914400"/>
                <a:gd name="connsiteY59" fmla="*/ 182957 h 638175"/>
                <a:gd name="connsiteX60" fmla="*/ 278808 w 914400"/>
                <a:gd name="connsiteY60" fmla="*/ 190338 h 638175"/>
                <a:gd name="connsiteX61" fmla="*/ 275122 w 914400"/>
                <a:gd name="connsiteY61" fmla="*/ 197720 h 638175"/>
                <a:gd name="connsiteX62" fmla="*/ 275122 w 914400"/>
                <a:gd name="connsiteY62" fmla="*/ 201407 h 638175"/>
                <a:gd name="connsiteX63" fmla="*/ 271436 w 914400"/>
                <a:gd name="connsiteY63" fmla="*/ 208788 h 638175"/>
                <a:gd name="connsiteX64" fmla="*/ 267740 w 914400"/>
                <a:gd name="connsiteY64" fmla="*/ 212484 h 638175"/>
                <a:gd name="connsiteX65" fmla="*/ 252986 w 914400"/>
                <a:gd name="connsiteY65" fmla="*/ 212484 h 638175"/>
                <a:gd name="connsiteX66" fmla="*/ 249300 w 914400"/>
                <a:gd name="connsiteY66" fmla="*/ 212484 h 638175"/>
                <a:gd name="connsiteX67" fmla="*/ 241918 w 914400"/>
                <a:gd name="connsiteY67" fmla="*/ 219866 h 638175"/>
                <a:gd name="connsiteX68" fmla="*/ 238232 w 914400"/>
                <a:gd name="connsiteY68" fmla="*/ 216170 h 638175"/>
                <a:gd name="connsiteX69" fmla="*/ 234536 w 914400"/>
                <a:gd name="connsiteY69" fmla="*/ 219866 h 638175"/>
                <a:gd name="connsiteX70" fmla="*/ 223478 w 914400"/>
                <a:gd name="connsiteY70" fmla="*/ 223552 h 638175"/>
                <a:gd name="connsiteX71" fmla="*/ 216096 w 914400"/>
                <a:gd name="connsiteY71" fmla="*/ 223552 h 638175"/>
                <a:gd name="connsiteX72" fmla="*/ 212410 w 914400"/>
                <a:gd name="connsiteY72" fmla="*/ 227248 h 638175"/>
                <a:gd name="connsiteX73" fmla="*/ 205028 w 914400"/>
                <a:gd name="connsiteY73" fmla="*/ 227248 h 638175"/>
                <a:gd name="connsiteX74" fmla="*/ 201342 w 914400"/>
                <a:gd name="connsiteY74" fmla="*/ 245698 h 638175"/>
                <a:gd name="connsiteX75" fmla="*/ 201342 w 914400"/>
                <a:gd name="connsiteY75" fmla="*/ 249384 h 638175"/>
                <a:gd name="connsiteX76" fmla="*/ 208714 w 914400"/>
                <a:gd name="connsiteY76" fmla="*/ 253080 h 638175"/>
                <a:gd name="connsiteX77" fmla="*/ 208714 w 914400"/>
                <a:gd name="connsiteY77" fmla="*/ 249384 h 638175"/>
                <a:gd name="connsiteX78" fmla="*/ 223478 w 914400"/>
                <a:gd name="connsiteY78" fmla="*/ 260461 h 638175"/>
                <a:gd name="connsiteX79" fmla="*/ 223478 w 914400"/>
                <a:gd name="connsiteY79" fmla="*/ 264148 h 638175"/>
                <a:gd name="connsiteX80" fmla="*/ 223478 w 914400"/>
                <a:gd name="connsiteY80" fmla="*/ 267843 h 638175"/>
                <a:gd name="connsiteX81" fmla="*/ 223478 w 914400"/>
                <a:gd name="connsiteY81" fmla="*/ 271530 h 638175"/>
                <a:gd name="connsiteX82" fmla="*/ 223478 w 914400"/>
                <a:gd name="connsiteY82" fmla="*/ 275225 h 638175"/>
                <a:gd name="connsiteX83" fmla="*/ 223478 w 914400"/>
                <a:gd name="connsiteY83" fmla="*/ 286293 h 638175"/>
                <a:gd name="connsiteX84" fmla="*/ 227164 w 914400"/>
                <a:gd name="connsiteY84" fmla="*/ 289989 h 638175"/>
                <a:gd name="connsiteX85" fmla="*/ 245604 w 914400"/>
                <a:gd name="connsiteY85" fmla="*/ 289989 h 638175"/>
                <a:gd name="connsiteX86" fmla="*/ 245604 w 914400"/>
                <a:gd name="connsiteY86" fmla="*/ 293675 h 638175"/>
                <a:gd name="connsiteX87" fmla="*/ 241918 w 914400"/>
                <a:gd name="connsiteY87" fmla="*/ 293675 h 638175"/>
                <a:gd name="connsiteX88" fmla="*/ 245604 w 914400"/>
                <a:gd name="connsiteY88" fmla="*/ 297361 h 638175"/>
                <a:gd name="connsiteX89" fmla="*/ 245604 w 914400"/>
                <a:gd name="connsiteY89" fmla="*/ 301057 h 638175"/>
                <a:gd name="connsiteX90" fmla="*/ 245604 w 914400"/>
                <a:gd name="connsiteY90" fmla="*/ 304743 h 638175"/>
                <a:gd name="connsiteX91" fmla="*/ 249300 w 914400"/>
                <a:gd name="connsiteY91" fmla="*/ 304743 h 638175"/>
                <a:gd name="connsiteX92" fmla="*/ 252986 w 914400"/>
                <a:gd name="connsiteY92" fmla="*/ 304743 h 638175"/>
                <a:gd name="connsiteX93" fmla="*/ 252986 w 914400"/>
                <a:gd name="connsiteY93" fmla="*/ 312125 h 638175"/>
                <a:gd name="connsiteX94" fmla="*/ 260368 w 914400"/>
                <a:gd name="connsiteY94" fmla="*/ 312125 h 638175"/>
                <a:gd name="connsiteX95" fmla="*/ 260368 w 914400"/>
                <a:gd name="connsiteY95" fmla="*/ 315821 h 638175"/>
                <a:gd name="connsiteX96" fmla="*/ 260368 w 914400"/>
                <a:gd name="connsiteY96" fmla="*/ 319507 h 638175"/>
                <a:gd name="connsiteX97" fmla="*/ 252986 w 914400"/>
                <a:gd name="connsiteY97" fmla="*/ 319507 h 638175"/>
                <a:gd name="connsiteX98" fmla="*/ 252986 w 914400"/>
                <a:gd name="connsiteY98" fmla="*/ 323203 h 638175"/>
                <a:gd name="connsiteX99" fmla="*/ 252986 w 914400"/>
                <a:gd name="connsiteY99" fmla="*/ 326889 h 638175"/>
                <a:gd name="connsiteX100" fmla="*/ 256672 w 914400"/>
                <a:gd name="connsiteY100" fmla="*/ 326889 h 638175"/>
                <a:gd name="connsiteX101" fmla="*/ 256672 w 914400"/>
                <a:gd name="connsiteY101" fmla="*/ 330585 h 638175"/>
                <a:gd name="connsiteX102" fmla="*/ 252986 w 914400"/>
                <a:gd name="connsiteY102" fmla="*/ 330585 h 638175"/>
                <a:gd name="connsiteX103" fmla="*/ 249300 w 914400"/>
                <a:gd name="connsiteY103" fmla="*/ 330585 h 638175"/>
                <a:gd name="connsiteX104" fmla="*/ 249300 w 914400"/>
                <a:gd name="connsiteY104" fmla="*/ 334271 h 638175"/>
                <a:gd name="connsiteX105" fmla="*/ 245604 w 914400"/>
                <a:gd name="connsiteY105" fmla="*/ 337966 h 638175"/>
                <a:gd name="connsiteX106" fmla="*/ 245604 w 914400"/>
                <a:gd name="connsiteY106" fmla="*/ 345339 h 638175"/>
                <a:gd name="connsiteX107" fmla="*/ 245604 w 914400"/>
                <a:gd name="connsiteY107" fmla="*/ 349035 h 638175"/>
                <a:gd name="connsiteX108" fmla="*/ 241918 w 914400"/>
                <a:gd name="connsiteY108" fmla="*/ 352721 h 638175"/>
                <a:gd name="connsiteX109" fmla="*/ 238232 w 914400"/>
                <a:gd name="connsiteY109" fmla="*/ 356416 h 638175"/>
                <a:gd name="connsiteX110" fmla="*/ 234536 w 914400"/>
                <a:gd name="connsiteY110" fmla="*/ 356416 h 638175"/>
                <a:gd name="connsiteX111" fmla="*/ 234536 w 914400"/>
                <a:gd name="connsiteY111" fmla="*/ 360103 h 638175"/>
                <a:gd name="connsiteX112" fmla="*/ 238232 w 914400"/>
                <a:gd name="connsiteY112" fmla="*/ 363798 h 638175"/>
                <a:gd name="connsiteX113" fmla="*/ 245604 w 914400"/>
                <a:gd name="connsiteY113" fmla="*/ 367484 h 638175"/>
                <a:gd name="connsiteX114" fmla="*/ 249300 w 914400"/>
                <a:gd name="connsiteY114" fmla="*/ 367484 h 638175"/>
                <a:gd name="connsiteX115" fmla="*/ 252986 w 914400"/>
                <a:gd name="connsiteY115" fmla="*/ 367484 h 638175"/>
                <a:gd name="connsiteX116" fmla="*/ 256672 w 914400"/>
                <a:gd name="connsiteY116" fmla="*/ 363798 h 638175"/>
                <a:gd name="connsiteX117" fmla="*/ 260368 w 914400"/>
                <a:gd name="connsiteY117" fmla="*/ 360103 h 638175"/>
                <a:gd name="connsiteX118" fmla="*/ 264054 w 914400"/>
                <a:gd name="connsiteY118" fmla="*/ 360103 h 638175"/>
                <a:gd name="connsiteX119" fmla="*/ 267740 w 914400"/>
                <a:gd name="connsiteY119" fmla="*/ 356416 h 638175"/>
                <a:gd name="connsiteX120" fmla="*/ 267740 w 914400"/>
                <a:gd name="connsiteY120" fmla="*/ 352721 h 638175"/>
                <a:gd name="connsiteX121" fmla="*/ 271436 w 914400"/>
                <a:gd name="connsiteY121" fmla="*/ 352721 h 638175"/>
                <a:gd name="connsiteX122" fmla="*/ 271436 w 914400"/>
                <a:gd name="connsiteY122" fmla="*/ 349035 h 638175"/>
                <a:gd name="connsiteX123" fmla="*/ 271436 w 914400"/>
                <a:gd name="connsiteY123" fmla="*/ 345339 h 638175"/>
                <a:gd name="connsiteX124" fmla="*/ 267740 w 914400"/>
                <a:gd name="connsiteY124" fmla="*/ 341653 h 638175"/>
                <a:gd name="connsiteX125" fmla="*/ 278808 w 914400"/>
                <a:gd name="connsiteY125" fmla="*/ 337966 h 638175"/>
                <a:gd name="connsiteX126" fmla="*/ 282504 w 914400"/>
                <a:gd name="connsiteY126" fmla="*/ 345339 h 638175"/>
                <a:gd name="connsiteX127" fmla="*/ 282504 w 914400"/>
                <a:gd name="connsiteY127" fmla="*/ 349035 h 638175"/>
                <a:gd name="connsiteX128" fmla="*/ 282504 w 914400"/>
                <a:gd name="connsiteY128" fmla="*/ 352721 h 638175"/>
                <a:gd name="connsiteX129" fmla="*/ 282504 w 914400"/>
                <a:gd name="connsiteY129" fmla="*/ 356416 h 638175"/>
                <a:gd name="connsiteX130" fmla="*/ 286190 w 914400"/>
                <a:gd name="connsiteY130" fmla="*/ 360103 h 638175"/>
                <a:gd name="connsiteX131" fmla="*/ 282504 w 914400"/>
                <a:gd name="connsiteY131" fmla="*/ 363798 h 638175"/>
                <a:gd name="connsiteX132" fmla="*/ 282504 w 914400"/>
                <a:gd name="connsiteY132" fmla="*/ 367484 h 638175"/>
                <a:gd name="connsiteX133" fmla="*/ 282504 w 914400"/>
                <a:gd name="connsiteY133" fmla="*/ 385944 h 638175"/>
                <a:gd name="connsiteX134" fmla="*/ 289877 w 914400"/>
                <a:gd name="connsiteY134" fmla="*/ 385944 h 638175"/>
                <a:gd name="connsiteX135" fmla="*/ 289877 w 914400"/>
                <a:gd name="connsiteY135" fmla="*/ 389630 h 638175"/>
                <a:gd name="connsiteX136" fmla="*/ 286190 w 914400"/>
                <a:gd name="connsiteY136" fmla="*/ 389630 h 638175"/>
                <a:gd name="connsiteX137" fmla="*/ 297258 w 914400"/>
                <a:gd name="connsiteY137" fmla="*/ 397012 h 638175"/>
                <a:gd name="connsiteX138" fmla="*/ 297258 w 914400"/>
                <a:gd name="connsiteY138" fmla="*/ 408080 h 638175"/>
                <a:gd name="connsiteX139" fmla="*/ 297258 w 914400"/>
                <a:gd name="connsiteY139" fmla="*/ 411776 h 638175"/>
                <a:gd name="connsiteX140" fmla="*/ 297258 w 914400"/>
                <a:gd name="connsiteY140" fmla="*/ 415462 h 638175"/>
                <a:gd name="connsiteX141" fmla="*/ 297258 w 914400"/>
                <a:gd name="connsiteY141" fmla="*/ 419158 h 638175"/>
                <a:gd name="connsiteX142" fmla="*/ 300945 w 914400"/>
                <a:gd name="connsiteY142" fmla="*/ 422844 h 638175"/>
                <a:gd name="connsiteX143" fmla="*/ 304631 w 914400"/>
                <a:gd name="connsiteY143" fmla="*/ 426539 h 638175"/>
                <a:gd name="connsiteX144" fmla="*/ 308326 w 914400"/>
                <a:gd name="connsiteY144" fmla="*/ 426539 h 638175"/>
                <a:gd name="connsiteX145" fmla="*/ 308326 w 914400"/>
                <a:gd name="connsiteY145" fmla="*/ 430226 h 638175"/>
                <a:gd name="connsiteX146" fmla="*/ 312013 w 914400"/>
                <a:gd name="connsiteY146" fmla="*/ 437607 h 638175"/>
                <a:gd name="connsiteX147" fmla="*/ 312013 w 914400"/>
                <a:gd name="connsiteY147" fmla="*/ 441294 h 638175"/>
                <a:gd name="connsiteX148" fmla="*/ 315699 w 914400"/>
                <a:gd name="connsiteY148" fmla="*/ 444989 h 638175"/>
                <a:gd name="connsiteX149" fmla="*/ 312013 w 914400"/>
                <a:gd name="connsiteY149" fmla="*/ 448676 h 638175"/>
                <a:gd name="connsiteX150" fmla="*/ 315699 w 914400"/>
                <a:gd name="connsiteY150" fmla="*/ 452371 h 638175"/>
                <a:gd name="connsiteX151" fmla="*/ 315699 w 914400"/>
                <a:gd name="connsiteY151" fmla="*/ 456057 h 638175"/>
                <a:gd name="connsiteX152" fmla="*/ 315699 w 914400"/>
                <a:gd name="connsiteY152" fmla="*/ 459753 h 638175"/>
                <a:gd name="connsiteX153" fmla="*/ 312013 w 914400"/>
                <a:gd name="connsiteY153" fmla="*/ 463439 h 638175"/>
                <a:gd name="connsiteX154" fmla="*/ 304631 w 914400"/>
                <a:gd name="connsiteY154" fmla="*/ 467135 h 638175"/>
                <a:gd name="connsiteX155" fmla="*/ 297258 w 914400"/>
                <a:gd name="connsiteY155" fmla="*/ 463439 h 638175"/>
                <a:gd name="connsiteX156" fmla="*/ 286190 w 914400"/>
                <a:gd name="connsiteY156" fmla="*/ 459753 h 638175"/>
                <a:gd name="connsiteX157" fmla="*/ 278808 w 914400"/>
                <a:gd name="connsiteY157" fmla="*/ 456057 h 638175"/>
                <a:gd name="connsiteX158" fmla="*/ 275122 w 914400"/>
                <a:gd name="connsiteY158" fmla="*/ 448676 h 638175"/>
                <a:gd name="connsiteX159" fmla="*/ 271436 w 914400"/>
                <a:gd name="connsiteY159" fmla="*/ 448676 h 638175"/>
                <a:gd name="connsiteX160" fmla="*/ 267740 w 914400"/>
                <a:gd name="connsiteY160" fmla="*/ 448676 h 638175"/>
                <a:gd name="connsiteX161" fmla="*/ 264054 w 914400"/>
                <a:gd name="connsiteY161" fmla="*/ 444989 h 638175"/>
                <a:gd name="connsiteX162" fmla="*/ 260368 w 914400"/>
                <a:gd name="connsiteY162" fmla="*/ 444989 h 638175"/>
                <a:gd name="connsiteX163" fmla="*/ 252986 w 914400"/>
                <a:gd name="connsiteY163" fmla="*/ 441294 h 638175"/>
                <a:gd name="connsiteX164" fmla="*/ 249300 w 914400"/>
                <a:gd name="connsiteY164" fmla="*/ 437607 h 638175"/>
                <a:gd name="connsiteX165" fmla="*/ 245604 w 914400"/>
                <a:gd name="connsiteY165" fmla="*/ 437607 h 638175"/>
                <a:gd name="connsiteX166" fmla="*/ 241918 w 914400"/>
                <a:gd name="connsiteY166" fmla="*/ 437607 h 638175"/>
                <a:gd name="connsiteX167" fmla="*/ 230850 w 914400"/>
                <a:gd name="connsiteY167" fmla="*/ 437607 h 638175"/>
                <a:gd name="connsiteX168" fmla="*/ 227164 w 914400"/>
                <a:gd name="connsiteY168" fmla="*/ 433921 h 638175"/>
                <a:gd name="connsiteX169" fmla="*/ 223478 w 914400"/>
                <a:gd name="connsiteY169" fmla="*/ 433921 h 638175"/>
                <a:gd name="connsiteX170" fmla="*/ 219782 w 914400"/>
                <a:gd name="connsiteY170" fmla="*/ 437607 h 638175"/>
                <a:gd name="connsiteX171" fmla="*/ 216096 w 914400"/>
                <a:gd name="connsiteY171" fmla="*/ 441294 h 638175"/>
                <a:gd name="connsiteX172" fmla="*/ 212410 w 914400"/>
                <a:gd name="connsiteY172" fmla="*/ 441294 h 638175"/>
                <a:gd name="connsiteX173" fmla="*/ 205028 w 914400"/>
                <a:gd name="connsiteY173" fmla="*/ 444989 h 638175"/>
                <a:gd name="connsiteX174" fmla="*/ 201342 w 914400"/>
                <a:gd name="connsiteY174" fmla="*/ 444989 h 638175"/>
                <a:gd name="connsiteX175" fmla="*/ 197646 w 914400"/>
                <a:gd name="connsiteY175" fmla="*/ 448676 h 638175"/>
                <a:gd name="connsiteX176" fmla="*/ 193960 w 914400"/>
                <a:gd name="connsiteY176" fmla="*/ 448676 h 638175"/>
                <a:gd name="connsiteX177" fmla="*/ 186578 w 914400"/>
                <a:gd name="connsiteY177" fmla="*/ 444989 h 638175"/>
                <a:gd name="connsiteX178" fmla="*/ 182892 w 914400"/>
                <a:gd name="connsiteY178" fmla="*/ 448676 h 638175"/>
                <a:gd name="connsiteX179" fmla="*/ 179206 w 914400"/>
                <a:gd name="connsiteY179" fmla="*/ 448676 h 638175"/>
                <a:gd name="connsiteX180" fmla="*/ 175510 w 914400"/>
                <a:gd name="connsiteY180" fmla="*/ 452371 h 638175"/>
                <a:gd name="connsiteX181" fmla="*/ 175510 w 914400"/>
                <a:gd name="connsiteY181" fmla="*/ 456057 h 638175"/>
                <a:gd name="connsiteX182" fmla="*/ 171824 w 914400"/>
                <a:gd name="connsiteY182" fmla="*/ 456057 h 638175"/>
                <a:gd name="connsiteX183" fmla="*/ 168138 w 914400"/>
                <a:gd name="connsiteY183" fmla="*/ 459753 h 638175"/>
                <a:gd name="connsiteX184" fmla="*/ 164442 w 914400"/>
                <a:gd name="connsiteY184" fmla="*/ 459753 h 638175"/>
                <a:gd name="connsiteX185" fmla="*/ 160756 w 914400"/>
                <a:gd name="connsiteY185" fmla="*/ 456057 h 638175"/>
                <a:gd name="connsiteX186" fmla="*/ 157069 w 914400"/>
                <a:gd name="connsiteY186" fmla="*/ 452371 h 638175"/>
                <a:gd name="connsiteX187" fmla="*/ 146001 w 914400"/>
                <a:gd name="connsiteY187" fmla="*/ 452371 h 638175"/>
                <a:gd name="connsiteX188" fmla="*/ 142315 w 914400"/>
                <a:gd name="connsiteY188" fmla="*/ 452371 h 638175"/>
                <a:gd name="connsiteX189" fmla="*/ 134933 w 914400"/>
                <a:gd name="connsiteY189" fmla="*/ 444989 h 638175"/>
                <a:gd name="connsiteX190" fmla="*/ 127554 w 914400"/>
                <a:gd name="connsiteY190" fmla="*/ 441294 h 638175"/>
                <a:gd name="connsiteX191" fmla="*/ 123865 w 914400"/>
                <a:gd name="connsiteY191" fmla="*/ 441294 h 638175"/>
                <a:gd name="connsiteX192" fmla="*/ 120176 w 914400"/>
                <a:gd name="connsiteY192" fmla="*/ 441294 h 638175"/>
                <a:gd name="connsiteX193" fmla="*/ 120176 w 914400"/>
                <a:gd name="connsiteY193" fmla="*/ 448676 h 638175"/>
                <a:gd name="connsiteX194" fmla="*/ 116487 w 914400"/>
                <a:gd name="connsiteY194" fmla="*/ 452371 h 638175"/>
                <a:gd name="connsiteX195" fmla="*/ 112798 w 914400"/>
                <a:gd name="connsiteY195" fmla="*/ 456057 h 638175"/>
                <a:gd name="connsiteX196" fmla="*/ 109108 w 914400"/>
                <a:gd name="connsiteY196" fmla="*/ 456057 h 638175"/>
                <a:gd name="connsiteX197" fmla="*/ 105419 w 914400"/>
                <a:gd name="connsiteY197" fmla="*/ 456057 h 638175"/>
                <a:gd name="connsiteX198" fmla="*/ 101730 w 914400"/>
                <a:gd name="connsiteY198" fmla="*/ 452371 h 638175"/>
                <a:gd name="connsiteX199" fmla="*/ 98041 w 914400"/>
                <a:gd name="connsiteY199" fmla="*/ 448676 h 638175"/>
                <a:gd name="connsiteX200" fmla="*/ 94352 w 914400"/>
                <a:gd name="connsiteY200" fmla="*/ 456057 h 638175"/>
                <a:gd name="connsiteX201" fmla="*/ 90663 w 914400"/>
                <a:gd name="connsiteY201" fmla="*/ 467135 h 638175"/>
                <a:gd name="connsiteX202" fmla="*/ 83284 w 914400"/>
                <a:gd name="connsiteY202" fmla="*/ 474517 h 638175"/>
                <a:gd name="connsiteX203" fmla="*/ 79595 w 914400"/>
                <a:gd name="connsiteY203" fmla="*/ 478203 h 638175"/>
                <a:gd name="connsiteX204" fmla="*/ 83284 w 914400"/>
                <a:gd name="connsiteY204" fmla="*/ 478203 h 638175"/>
                <a:gd name="connsiteX205" fmla="*/ 79595 w 914400"/>
                <a:gd name="connsiteY205" fmla="*/ 481899 h 638175"/>
                <a:gd name="connsiteX206" fmla="*/ 75906 w 914400"/>
                <a:gd name="connsiteY206" fmla="*/ 489271 h 638175"/>
                <a:gd name="connsiteX207" fmla="*/ 72217 w 914400"/>
                <a:gd name="connsiteY207" fmla="*/ 489271 h 638175"/>
                <a:gd name="connsiteX208" fmla="*/ 72217 w 914400"/>
                <a:gd name="connsiteY208" fmla="*/ 492967 h 638175"/>
                <a:gd name="connsiteX209" fmla="*/ 68528 w 914400"/>
                <a:gd name="connsiteY209" fmla="*/ 504035 h 638175"/>
                <a:gd name="connsiteX210" fmla="*/ 64839 w 914400"/>
                <a:gd name="connsiteY210" fmla="*/ 507730 h 638175"/>
                <a:gd name="connsiteX211" fmla="*/ 64839 w 914400"/>
                <a:gd name="connsiteY211" fmla="*/ 511417 h 638175"/>
                <a:gd name="connsiteX212" fmla="*/ 61149 w 914400"/>
                <a:gd name="connsiteY212" fmla="*/ 511417 h 638175"/>
                <a:gd name="connsiteX213" fmla="*/ 53771 w 914400"/>
                <a:gd name="connsiteY213" fmla="*/ 511417 h 638175"/>
                <a:gd name="connsiteX214" fmla="*/ 50082 w 914400"/>
                <a:gd name="connsiteY214" fmla="*/ 511417 h 638175"/>
                <a:gd name="connsiteX215" fmla="*/ 50082 w 914400"/>
                <a:gd name="connsiteY215" fmla="*/ 518799 h 638175"/>
                <a:gd name="connsiteX216" fmla="*/ 46393 w 914400"/>
                <a:gd name="connsiteY216" fmla="*/ 522494 h 638175"/>
                <a:gd name="connsiteX217" fmla="*/ 42704 w 914400"/>
                <a:gd name="connsiteY217" fmla="*/ 522494 h 638175"/>
                <a:gd name="connsiteX218" fmla="*/ 39014 w 914400"/>
                <a:gd name="connsiteY218" fmla="*/ 522494 h 638175"/>
                <a:gd name="connsiteX219" fmla="*/ 35325 w 914400"/>
                <a:gd name="connsiteY219" fmla="*/ 522494 h 638175"/>
                <a:gd name="connsiteX220" fmla="*/ 35325 w 914400"/>
                <a:gd name="connsiteY220" fmla="*/ 526180 h 638175"/>
                <a:gd name="connsiteX221" fmla="*/ 35325 w 914400"/>
                <a:gd name="connsiteY221" fmla="*/ 529876 h 638175"/>
                <a:gd name="connsiteX222" fmla="*/ 39014 w 914400"/>
                <a:gd name="connsiteY222" fmla="*/ 533562 h 638175"/>
                <a:gd name="connsiteX223" fmla="*/ 39014 w 914400"/>
                <a:gd name="connsiteY223" fmla="*/ 537248 h 638175"/>
                <a:gd name="connsiteX224" fmla="*/ 35325 w 914400"/>
                <a:gd name="connsiteY224" fmla="*/ 537248 h 638175"/>
                <a:gd name="connsiteX225" fmla="*/ 31636 w 914400"/>
                <a:gd name="connsiteY225" fmla="*/ 533562 h 638175"/>
                <a:gd name="connsiteX226" fmla="*/ 20569 w 914400"/>
                <a:gd name="connsiteY226" fmla="*/ 537248 h 638175"/>
                <a:gd name="connsiteX227" fmla="*/ 16879 w 914400"/>
                <a:gd name="connsiteY227" fmla="*/ 533562 h 638175"/>
                <a:gd name="connsiteX228" fmla="*/ 9501 w 914400"/>
                <a:gd name="connsiteY228" fmla="*/ 537248 h 638175"/>
                <a:gd name="connsiteX229" fmla="*/ 5812 w 914400"/>
                <a:gd name="connsiteY229" fmla="*/ 533562 h 638175"/>
                <a:gd name="connsiteX230" fmla="*/ 5812 w 914400"/>
                <a:gd name="connsiteY230" fmla="*/ 537248 h 638175"/>
                <a:gd name="connsiteX231" fmla="*/ 5812 w 914400"/>
                <a:gd name="connsiteY231" fmla="*/ 540944 h 638175"/>
                <a:gd name="connsiteX232" fmla="*/ 9501 w 914400"/>
                <a:gd name="connsiteY232" fmla="*/ 544630 h 638175"/>
                <a:gd name="connsiteX233" fmla="*/ 5812 w 914400"/>
                <a:gd name="connsiteY233" fmla="*/ 544630 h 638175"/>
                <a:gd name="connsiteX234" fmla="*/ 9501 w 914400"/>
                <a:gd name="connsiteY234" fmla="*/ 548326 h 638175"/>
                <a:gd name="connsiteX235" fmla="*/ 13190 w 914400"/>
                <a:gd name="connsiteY235" fmla="*/ 548326 h 638175"/>
                <a:gd name="connsiteX236" fmla="*/ 16879 w 914400"/>
                <a:gd name="connsiteY236" fmla="*/ 548326 h 638175"/>
                <a:gd name="connsiteX237" fmla="*/ 24258 w 914400"/>
                <a:gd name="connsiteY237" fmla="*/ 548326 h 638175"/>
                <a:gd name="connsiteX238" fmla="*/ 20569 w 914400"/>
                <a:gd name="connsiteY238" fmla="*/ 563090 h 638175"/>
                <a:gd name="connsiteX239" fmla="*/ 20569 w 914400"/>
                <a:gd name="connsiteY239" fmla="*/ 566776 h 638175"/>
                <a:gd name="connsiteX240" fmla="*/ 13190 w 914400"/>
                <a:gd name="connsiteY240" fmla="*/ 566776 h 638175"/>
                <a:gd name="connsiteX241" fmla="*/ 13190 w 914400"/>
                <a:gd name="connsiteY241" fmla="*/ 570472 h 638175"/>
                <a:gd name="connsiteX242" fmla="*/ 13190 w 914400"/>
                <a:gd name="connsiteY242" fmla="*/ 574158 h 638175"/>
                <a:gd name="connsiteX243" fmla="*/ 16879 w 914400"/>
                <a:gd name="connsiteY243" fmla="*/ 574158 h 638175"/>
                <a:gd name="connsiteX244" fmla="*/ 20569 w 914400"/>
                <a:gd name="connsiteY244" fmla="*/ 577854 h 638175"/>
                <a:gd name="connsiteX245" fmla="*/ 27947 w 914400"/>
                <a:gd name="connsiteY245" fmla="*/ 581540 h 638175"/>
                <a:gd name="connsiteX246" fmla="*/ 31636 w 914400"/>
                <a:gd name="connsiteY246" fmla="*/ 585226 h 638175"/>
                <a:gd name="connsiteX247" fmla="*/ 35325 w 914400"/>
                <a:gd name="connsiteY247" fmla="*/ 585226 h 638175"/>
                <a:gd name="connsiteX248" fmla="*/ 35325 w 914400"/>
                <a:gd name="connsiteY248" fmla="*/ 588922 h 638175"/>
                <a:gd name="connsiteX249" fmla="*/ 39014 w 914400"/>
                <a:gd name="connsiteY249" fmla="*/ 592608 h 638175"/>
                <a:gd name="connsiteX250" fmla="*/ 39014 w 914400"/>
                <a:gd name="connsiteY250" fmla="*/ 596303 h 638175"/>
                <a:gd name="connsiteX251" fmla="*/ 42704 w 914400"/>
                <a:gd name="connsiteY251" fmla="*/ 596303 h 638175"/>
                <a:gd name="connsiteX252" fmla="*/ 42704 w 914400"/>
                <a:gd name="connsiteY252" fmla="*/ 599990 h 638175"/>
                <a:gd name="connsiteX253" fmla="*/ 46393 w 914400"/>
                <a:gd name="connsiteY253" fmla="*/ 599990 h 638175"/>
                <a:gd name="connsiteX254" fmla="*/ 50082 w 914400"/>
                <a:gd name="connsiteY254" fmla="*/ 596303 h 638175"/>
                <a:gd name="connsiteX255" fmla="*/ 53771 w 914400"/>
                <a:gd name="connsiteY255" fmla="*/ 592608 h 638175"/>
                <a:gd name="connsiteX256" fmla="*/ 57460 w 914400"/>
                <a:gd name="connsiteY256" fmla="*/ 592608 h 638175"/>
                <a:gd name="connsiteX257" fmla="*/ 61149 w 914400"/>
                <a:gd name="connsiteY257" fmla="*/ 596303 h 638175"/>
                <a:gd name="connsiteX258" fmla="*/ 64839 w 914400"/>
                <a:gd name="connsiteY258" fmla="*/ 599990 h 638175"/>
                <a:gd name="connsiteX259" fmla="*/ 75906 w 914400"/>
                <a:gd name="connsiteY259" fmla="*/ 603685 h 638175"/>
                <a:gd name="connsiteX260" fmla="*/ 75906 w 914400"/>
                <a:gd name="connsiteY260" fmla="*/ 607372 h 638175"/>
                <a:gd name="connsiteX261" fmla="*/ 75906 w 914400"/>
                <a:gd name="connsiteY261" fmla="*/ 611067 h 638175"/>
                <a:gd name="connsiteX262" fmla="*/ 75906 w 914400"/>
                <a:gd name="connsiteY262" fmla="*/ 614753 h 638175"/>
                <a:gd name="connsiteX263" fmla="*/ 79595 w 914400"/>
                <a:gd name="connsiteY263" fmla="*/ 618449 h 638175"/>
                <a:gd name="connsiteX264" fmla="*/ 75906 w 914400"/>
                <a:gd name="connsiteY264" fmla="*/ 622135 h 638175"/>
                <a:gd name="connsiteX265" fmla="*/ 72217 w 914400"/>
                <a:gd name="connsiteY265" fmla="*/ 625831 h 638175"/>
                <a:gd name="connsiteX266" fmla="*/ 68528 w 914400"/>
                <a:gd name="connsiteY266" fmla="*/ 625831 h 638175"/>
                <a:gd name="connsiteX267" fmla="*/ 68528 w 914400"/>
                <a:gd name="connsiteY267" fmla="*/ 629517 h 638175"/>
                <a:gd name="connsiteX268" fmla="*/ 72217 w 914400"/>
                <a:gd name="connsiteY268" fmla="*/ 633203 h 638175"/>
                <a:gd name="connsiteX269" fmla="*/ 79595 w 914400"/>
                <a:gd name="connsiteY269" fmla="*/ 629517 h 638175"/>
                <a:gd name="connsiteX270" fmla="*/ 86973 w 914400"/>
                <a:gd name="connsiteY270" fmla="*/ 629517 h 638175"/>
                <a:gd name="connsiteX271" fmla="*/ 94352 w 914400"/>
                <a:gd name="connsiteY271" fmla="*/ 629517 h 638175"/>
                <a:gd name="connsiteX272" fmla="*/ 98041 w 914400"/>
                <a:gd name="connsiteY272" fmla="*/ 629517 h 638175"/>
                <a:gd name="connsiteX273" fmla="*/ 105419 w 914400"/>
                <a:gd name="connsiteY273" fmla="*/ 629517 h 638175"/>
                <a:gd name="connsiteX274" fmla="*/ 109108 w 914400"/>
                <a:gd name="connsiteY274" fmla="*/ 629517 h 638175"/>
                <a:gd name="connsiteX275" fmla="*/ 112798 w 914400"/>
                <a:gd name="connsiteY275" fmla="*/ 629517 h 638175"/>
                <a:gd name="connsiteX276" fmla="*/ 116487 w 914400"/>
                <a:gd name="connsiteY276" fmla="*/ 625831 h 638175"/>
                <a:gd name="connsiteX277" fmla="*/ 120176 w 914400"/>
                <a:gd name="connsiteY277" fmla="*/ 629517 h 638175"/>
                <a:gd name="connsiteX278" fmla="*/ 127554 w 914400"/>
                <a:gd name="connsiteY278" fmla="*/ 633203 h 638175"/>
                <a:gd name="connsiteX279" fmla="*/ 131243 w 914400"/>
                <a:gd name="connsiteY279" fmla="*/ 636899 h 638175"/>
                <a:gd name="connsiteX280" fmla="*/ 134933 w 914400"/>
                <a:gd name="connsiteY280" fmla="*/ 633203 h 638175"/>
                <a:gd name="connsiteX281" fmla="*/ 138620 w 914400"/>
                <a:gd name="connsiteY281" fmla="*/ 629517 h 638175"/>
                <a:gd name="connsiteX282" fmla="*/ 146001 w 914400"/>
                <a:gd name="connsiteY282" fmla="*/ 629517 h 638175"/>
                <a:gd name="connsiteX283" fmla="*/ 153383 w 914400"/>
                <a:gd name="connsiteY283" fmla="*/ 633203 h 638175"/>
                <a:gd name="connsiteX284" fmla="*/ 157069 w 914400"/>
                <a:gd name="connsiteY284" fmla="*/ 633203 h 638175"/>
                <a:gd name="connsiteX285" fmla="*/ 157069 w 914400"/>
                <a:gd name="connsiteY285" fmla="*/ 629517 h 638175"/>
                <a:gd name="connsiteX286" fmla="*/ 164442 w 914400"/>
                <a:gd name="connsiteY286" fmla="*/ 625831 h 638175"/>
                <a:gd name="connsiteX287" fmla="*/ 182892 w 914400"/>
                <a:gd name="connsiteY287" fmla="*/ 618449 h 638175"/>
                <a:gd name="connsiteX288" fmla="*/ 182892 w 914400"/>
                <a:gd name="connsiteY288" fmla="*/ 614753 h 638175"/>
                <a:gd name="connsiteX289" fmla="*/ 186578 w 914400"/>
                <a:gd name="connsiteY289" fmla="*/ 614753 h 638175"/>
                <a:gd name="connsiteX290" fmla="*/ 186578 w 914400"/>
                <a:gd name="connsiteY290" fmla="*/ 607372 h 638175"/>
                <a:gd name="connsiteX291" fmla="*/ 186578 w 914400"/>
                <a:gd name="connsiteY291" fmla="*/ 599990 h 638175"/>
                <a:gd name="connsiteX292" fmla="*/ 190274 w 914400"/>
                <a:gd name="connsiteY292" fmla="*/ 592608 h 638175"/>
                <a:gd name="connsiteX293" fmla="*/ 190274 w 914400"/>
                <a:gd name="connsiteY293" fmla="*/ 588922 h 638175"/>
                <a:gd name="connsiteX294" fmla="*/ 197646 w 914400"/>
                <a:gd name="connsiteY294" fmla="*/ 577854 h 638175"/>
                <a:gd name="connsiteX295" fmla="*/ 201342 w 914400"/>
                <a:gd name="connsiteY295" fmla="*/ 574158 h 638175"/>
                <a:gd name="connsiteX296" fmla="*/ 205028 w 914400"/>
                <a:gd name="connsiteY296" fmla="*/ 570472 h 638175"/>
                <a:gd name="connsiteX297" fmla="*/ 205028 w 914400"/>
                <a:gd name="connsiteY297" fmla="*/ 566776 h 638175"/>
                <a:gd name="connsiteX298" fmla="*/ 208714 w 914400"/>
                <a:gd name="connsiteY298" fmla="*/ 563090 h 638175"/>
                <a:gd name="connsiteX299" fmla="*/ 212410 w 914400"/>
                <a:gd name="connsiteY299" fmla="*/ 563090 h 638175"/>
                <a:gd name="connsiteX300" fmla="*/ 212410 w 914400"/>
                <a:gd name="connsiteY300" fmla="*/ 566776 h 638175"/>
                <a:gd name="connsiteX301" fmla="*/ 216096 w 914400"/>
                <a:gd name="connsiteY301" fmla="*/ 570472 h 638175"/>
                <a:gd name="connsiteX302" fmla="*/ 219782 w 914400"/>
                <a:gd name="connsiteY302" fmla="*/ 574158 h 638175"/>
                <a:gd name="connsiteX303" fmla="*/ 223478 w 914400"/>
                <a:gd name="connsiteY303" fmla="*/ 574158 h 638175"/>
                <a:gd name="connsiteX304" fmla="*/ 230850 w 914400"/>
                <a:gd name="connsiteY304" fmla="*/ 574158 h 638175"/>
                <a:gd name="connsiteX305" fmla="*/ 238232 w 914400"/>
                <a:gd name="connsiteY305" fmla="*/ 574158 h 638175"/>
                <a:gd name="connsiteX306" fmla="*/ 241918 w 914400"/>
                <a:gd name="connsiteY306" fmla="*/ 570472 h 638175"/>
                <a:gd name="connsiteX307" fmla="*/ 245604 w 914400"/>
                <a:gd name="connsiteY307" fmla="*/ 563090 h 638175"/>
                <a:gd name="connsiteX308" fmla="*/ 245604 w 914400"/>
                <a:gd name="connsiteY308" fmla="*/ 559394 h 638175"/>
                <a:gd name="connsiteX309" fmla="*/ 249300 w 914400"/>
                <a:gd name="connsiteY309" fmla="*/ 559394 h 638175"/>
                <a:gd name="connsiteX310" fmla="*/ 252986 w 914400"/>
                <a:gd name="connsiteY310" fmla="*/ 559394 h 638175"/>
                <a:gd name="connsiteX311" fmla="*/ 256672 w 914400"/>
                <a:gd name="connsiteY311" fmla="*/ 559394 h 638175"/>
                <a:gd name="connsiteX312" fmla="*/ 260368 w 914400"/>
                <a:gd name="connsiteY312" fmla="*/ 563090 h 638175"/>
                <a:gd name="connsiteX313" fmla="*/ 260368 w 914400"/>
                <a:gd name="connsiteY313" fmla="*/ 566776 h 638175"/>
                <a:gd name="connsiteX314" fmla="*/ 264054 w 914400"/>
                <a:gd name="connsiteY314" fmla="*/ 566776 h 638175"/>
                <a:gd name="connsiteX315" fmla="*/ 267740 w 914400"/>
                <a:gd name="connsiteY315" fmla="*/ 566776 h 638175"/>
                <a:gd name="connsiteX316" fmla="*/ 271436 w 914400"/>
                <a:gd name="connsiteY316" fmla="*/ 570472 h 638175"/>
                <a:gd name="connsiteX317" fmla="*/ 275122 w 914400"/>
                <a:gd name="connsiteY317" fmla="*/ 570472 h 638175"/>
                <a:gd name="connsiteX318" fmla="*/ 278808 w 914400"/>
                <a:gd name="connsiteY318" fmla="*/ 566776 h 638175"/>
                <a:gd name="connsiteX319" fmla="*/ 278808 w 914400"/>
                <a:gd name="connsiteY319" fmla="*/ 563090 h 638175"/>
                <a:gd name="connsiteX320" fmla="*/ 282504 w 914400"/>
                <a:gd name="connsiteY320" fmla="*/ 559394 h 638175"/>
                <a:gd name="connsiteX321" fmla="*/ 286190 w 914400"/>
                <a:gd name="connsiteY321" fmla="*/ 559394 h 638175"/>
                <a:gd name="connsiteX322" fmla="*/ 293572 w 914400"/>
                <a:gd name="connsiteY322" fmla="*/ 559394 h 638175"/>
                <a:gd name="connsiteX323" fmla="*/ 297258 w 914400"/>
                <a:gd name="connsiteY323" fmla="*/ 559394 h 638175"/>
                <a:gd name="connsiteX324" fmla="*/ 300945 w 914400"/>
                <a:gd name="connsiteY324" fmla="*/ 559394 h 638175"/>
                <a:gd name="connsiteX325" fmla="*/ 308326 w 914400"/>
                <a:gd name="connsiteY325" fmla="*/ 563090 h 638175"/>
                <a:gd name="connsiteX326" fmla="*/ 312013 w 914400"/>
                <a:gd name="connsiteY326" fmla="*/ 566776 h 638175"/>
                <a:gd name="connsiteX327" fmla="*/ 315699 w 914400"/>
                <a:gd name="connsiteY327" fmla="*/ 566776 h 638175"/>
                <a:gd name="connsiteX328" fmla="*/ 323081 w 914400"/>
                <a:gd name="connsiteY328" fmla="*/ 566776 h 638175"/>
                <a:gd name="connsiteX329" fmla="*/ 326767 w 914400"/>
                <a:gd name="connsiteY329" fmla="*/ 570472 h 638175"/>
                <a:gd name="connsiteX330" fmla="*/ 326767 w 914400"/>
                <a:gd name="connsiteY330" fmla="*/ 577854 h 638175"/>
                <a:gd name="connsiteX331" fmla="*/ 330463 w 914400"/>
                <a:gd name="connsiteY331" fmla="*/ 581540 h 638175"/>
                <a:gd name="connsiteX332" fmla="*/ 334149 w 914400"/>
                <a:gd name="connsiteY332" fmla="*/ 585226 h 638175"/>
                <a:gd name="connsiteX333" fmla="*/ 337835 w 914400"/>
                <a:gd name="connsiteY333" fmla="*/ 588922 h 638175"/>
                <a:gd name="connsiteX334" fmla="*/ 341531 w 914400"/>
                <a:gd name="connsiteY334" fmla="*/ 588922 h 638175"/>
                <a:gd name="connsiteX335" fmla="*/ 345217 w 914400"/>
                <a:gd name="connsiteY335" fmla="*/ 588922 h 638175"/>
                <a:gd name="connsiteX336" fmla="*/ 348903 w 914400"/>
                <a:gd name="connsiteY336" fmla="*/ 592608 h 638175"/>
                <a:gd name="connsiteX337" fmla="*/ 352599 w 914400"/>
                <a:gd name="connsiteY337" fmla="*/ 592608 h 638175"/>
                <a:gd name="connsiteX338" fmla="*/ 352599 w 914400"/>
                <a:gd name="connsiteY338" fmla="*/ 599990 h 638175"/>
                <a:gd name="connsiteX339" fmla="*/ 356285 w 914400"/>
                <a:gd name="connsiteY339" fmla="*/ 599990 h 638175"/>
                <a:gd name="connsiteX340" fmla="*/ 359971 w 914400"/>
                <a:gd name="connsiteY340" fmla="*/ 603685 h 638175"/>
                <a:gd name="connsiteX341" fmla="*/ 363667 w 914400"/>
                <a:gd name="connsiteY341" fmla="*/ 603685 h 638175"/>
                <a:gd name="connsiteX342" fmla="*/ 367353 w 914400"/>
                <a:gd name="connsiteY342" fmla="*/ 603685 h 638175"/>
                <a:gd name="connsiteX343" fmla="*/ 371039 w 914400"/>
                <a:gd name="connsiteY343" fmla="*/ 607372 h 638175"/>
                <a:gd name="connsiteX344" fmla="*/ 374725 w 914400"/>
                <a:gd name="connsiteY344" fmla="*/ 611067 h 638175"/>
                <a:gd name="connsiteX345" fmla="*/ 374725 w 914400"/>
                <a:gd name="connsiteY345" fmla="*/ 614753 h 638175"/>
                <a:gd name="connsiteX346" fmla="*/ 378421 w 914400"/>
                <a:gd name="connsiteY346" fmla="*/ 618449 h 638175"/>
                <a:gd name="connsiteX347" fmla="*/ 382107 w 914400"/>
                <a:gd name="connsiteY347" fmla="*/ 618449 h 638175"/>
                <a:gd name="connsiteX348" fmla="*/ 385793 w 914400"/>
                <a:gd name="connsiteY348" fmla="*/ 618449 h 638175"/>
                <a:gd name="connsiteX349" fmla="*/ 393175 w 914400"/>
                <a:gd name="connsiteY349" fmla="*/ 618449 h 638175"/>
                <a:gd name="connsiteX350" fmla="*/ 396861 w 914400"/>
                <a:gd name="connsiteY350" fmla="*/ 618449 h 638175"/>
                <a:gd name="connsiteX351" fmla="*/ 407929 w 914400"/>
                <a:gd name="connsiteY351" fmla="*/ 614753 h 638175"/>
                <a:gd name="connsiteX352" fmla="*/ 411625 w 914400"/>
                <a:gd name="connsiteY352" fmla="*/ 614753 h 638175"/>
                <a:gd name="connsiteX353" fmla="*/ 422693 w 914400"/>
                <a:gd name="connsiteY353" fmla="*/ 614753 h 638175"/>
                <a:gd name="connsiteX354" fmla="*/ 430065 w 914400"/>
                <a:gd name="connsiteY354" fmla="*/ 614753 h 638175"/>
                <a:gd name="connsiteX355" fmla="*/ 433761 w 914400"/>
                <a:gd name="connsiteY355" fmla="*/ 614753 h 638175"/>
                <a:gd name="connsiteX356" fmla="*/ 437447 w 914400"/>
                <a:gd name="connsiteY356" fmla="*/ 614753 h 638175"/>
                <a:gd name="connsiteX357" fmla="*/ 437447 w 914400"/>
                <a:gd name="connsiteY357" fmla="*/ 611067 h 638175"/>
                <a:gd name="connsiteX358" fmla="*/ 437447 w 914400"/>
                <a:gd name="connsiteY358" fmla="*/ 607372 h 638175"/>
                <a:gd name="connsiteX359" fmla="*/ 433761 w 914400"/>
                <a:gd name="connsiteY359" fmla="*/ 603685 h 638175"/>
                <a:gd name="connsiteX360" fmla="*/ 437447 w 914400"/>
                <a:gd name="connsiteY360" fmla="*/ 599990 h 638175"/>
                <a:gd name="connsiteX361" fmla="*/ 444820 w 914400"/>
                <a:gd name="connsiteY361" fmla="*/ 599990 h 638175"/>
                <a:gd name="connsiteX362" fmla="*/ 448516 w 914400"/>
                <a:gd name="connsiteY362" fmla="*/ 599990 h 638175"/>
                <a:gd name="connsiteX363" fmla="*/ 452202 w 914400"/>
                <a:gd name="connsiteY363" fmla="*/ 603685 h 638175"/>
                <a:gd name="connsiteX364" fmla="*/ 455888 w 914400"/>
                <a:gd name="connsiteY364" fmla="*/ 607372 h 638175"/>
                <a:gd name="connsiteX365" fmla="*/ 455888 w 914400"/>
                <a:gd name="connsiteY365" fmla="*/ 611067 h 638175"/>
                <a:gd name="connsiteX366" fmla="*/ 459583 w 914400"/>
                <a:gd name="connsiteY366" fmla="*/ 614753 h 638175"/>
                <a:gd name="connsiteX367" fmla="*/ 459583 w 914400"/>
                <a:gd name="connsiteY367" fmla="*/ 618449 h 638175"/>
                <a:gd name="connsiteX368" fmla="*/ 463270 w 914400"/>
                <a:gd name="connsiteY368" fmla="*/ 622135 h 638175"/>
                <a:gd name="connsiteX369" fmla="*/ 466956 w 914400"/>
                <a:gd name="connsiteY369" fmla="*/ 622135 h 638175"/>
                <a:gd name="connsiteX370" fmla="*/ 466956 w 914400"/>
                <a:gd name="connsiteY370" fmla="*/ 625831 h 638175"/>
                <a:gd name="connsiteX371" fmla="*/ 470652 w 914400"/>
                <a:gd name="connsiteY371" fmla="*/ 629517 h 638175"/>
                <a:gd name="connsiteX372" fmla="*/ 474338 w 914400"/>
                <a:gd name="connsiteY372" fmla="*/ 629517 h 638175"/>
                <a:gd name="connsiteX373" fmla="*/ 478024 w 914400"/>
                <a:gd name="connsiteY373" fmla="*/ 625831 h 638175"/>
                <a:gd name="connsiteX374" fmla="*/ 478024 w 914400"/>
                <a:gd name="connsiteY374" fmla="*/ 622135 h 638175"/>
                <a:gd name="connsiteX375" fmla="*/ 481720 w 914400"/>
                <a:gd name="connsiteY375" fmla="*/ 618449 h 638175"/>
                <a:gd name="connsiteX376" fmla="*/ 489092 w 914400"/>
                <a:gd name="connsiteY376" fmla="*/ 614753 h 638175"/>
                <a:gd name="connsiteX377" fmla="*/ 492788 w 914400"/>
                <a:gd name="connsiteY377" fmla="*/ 614753 h 638175"/>
                <a:gd name="connsiteX378" fmla="*/ 496474 w 914400"/>
                <a:gd name="connsiteY378" fmla="*/ 607372 h 638175"/>
                <a:gd name="connsiteX379" fmla="*/ 496474 w 914400"/>
                <a:gd name="connsiteY379" fmla="*/ 603685 h 638175"/>
                <a:gd name="connsiteX380" fmla="*/ 492788 w 914400"/>
                <a:gd name="connsiteY380" fmla="*/ 603685 h 638175"/>
                <a:gd name="connsiteX381" fmla="*/ 492788 w 914400"/>
                <a:gd name="connsiteY381" fmla="*/ 596303 h 638175"/>
                <a:gd name="connsiteX382" fmla="*/ 496474 w 914400"/>
                <a:gd name="connsiteY382" fmla="*/ 596303 h 638175"/>
                <a:gd name="connsiteX383" fmla="*/ 492788 w 914400"/>
                <a:gd name="connsiteY383" fmla="*/ 592608 h 638175"/>
                <a:gd name="connsiteX384" fmla="*/ 489092 w 914400"/>
                <a:gd name="connsiteY384" fmla="*/ 592608 h 638175"/>
                <a:gd name="connsiteX385" fmla="*/ 489092 w 914400"/>
                <a:gd name="connsiteY385" fmla="*/ 588922 h 638175"/>
                <a:gd name="connsiteX386" fmla="*/ 489092 w 914400"/>
                <a:gd name="connsiteY386" fmla="*/ 585226 h 638175"/>
                <a:gd name="connsiteX387" fmla="*/ 489092 w 914400"/>
                <a:gd name="connsiteY387" fmla="*/ 581540 h 638175"/>
                <a:gd name="connsiteX388" fmla="*/ 481720 w 914400"/>
                <a:gd name="connsiteY388" fmla="*/ 574158 h 638175"/>
                <a:gd name="connsiteX389" fmla="*/ 478024 w 914400"/>
                <a:gd name="connsiteY389" fmla="*/ 574158 h 638175"/>
                <a:gd name="connsiteX390" fmla="*/ 474338 w 914400"/>
                <a:gd name="connsiteY390" fmla="*/ 574158 h 638175"/>
                <a:gd name="connsiteX391" fmla="*/ 474338 w 914400"/>
                <a:gd name="connsiteY391" fmla="*/ 570472 h 638175"/>
                <a:gd name="connsiteX392" fmla="*/ 478024 w 914400"/>
                <a:gd name="connsiteY392" fmla="*/ 566776 h 638175"/>
                <a:gd name="connsiteX393" fmla="*/ 481720 w 914400"/>
                <a:gd name="connsiteY393" fmla="*/ 566776 h 638175"/>
                <a:gd name="connsiteX394" fmla="*/ 474338 w 914400"/>
                <a:gd name="connsiteY394" fmla="*/ 563090 h 638175"/>
                <a:gd name="connsiteX395" fmla="*/ 481720 w 914400"/>
                <a:gd name="connsiteY395" fmla="*/ 552012 h 638175"/>
                <a:gd name="connsiteX396" fmla="*/ 485406 w 914400"/>
                <a:gd name="connsiteY396" fmla="*/ 552012 h 638175"/>
                <a:gd name="connsiteX397" fmla="*/ 485406 w 914400"/>
                <a:gd name="connsiteY397" fmla="*/ 555708 h 638175"/>
                <a:gd name="connsiteX398" fmla="*/ 492788 w 914400"/>
                <a:gd name="connsiteY398" fmla="*/ 555708 h 638175"/>
                <a:gd name="connsiteX399" fmla="*/ 496474 w 914400"/>
                <a:gd name="connsiteY399" fmla="*/ 555708 h 638175"/>
                <a:gd name="connsiteX400" fmla="*/ 503856 w 914400"/>
                <a:gd name="connsiteY400" fmla="*/ 552012 h 638175"/>
                <a:gd name="connsiteX401" fmla="*/ 507542 w 914400"/>
                <a:gd name="connsiteY401" fmla="*/ 552012 h 638175"/>
                <a:gd name="connsiteX402" fmla="*/ 511228 w 914400"/>
                <a:gd name="connsiteY402" fmla="*/ 548326 h 638175"/>
                <a:gd name="connsiteX403" fmla="*/ 514924 w 914400"/>
                <a:gd name="connsiteY403" fmla="*/ 544630 h 638175"/>
                <a:gd name="connsiteX404" fmla="*/ 518610 w 914400"/>
                <a:gd name="connsiteY404" fmla="*/ 548326 h 638175"/>
                <a:gd name="connsiteX405" fmla="*/ 522296 w 914400"/>
                <a:gd name="connsiteY405" fmla="*/ 544630 h 638175"/>
                <a:gd name="connsiteX406" fmla="*/ 525982 w 914400"/>
                <a:gd name="connsiteY406" fmla="*/ 540944 h 638175"/>
                <a:gd name="connsiteX407" fmla="*/ 529678 w 914400"/>
                <a:gd name="connsiteY407" fmla="*/ 540944 h 638175"/>
                <a:gd name="connsiteX408" fmla="*/ 525982 w 914400"/>
                <a:gd name="connsiteY408" fmla="*/ 537248 h 638175"/>
                <a:gd name="connsiteX409" fmla="*/ 529678 w 914400"/>
                <a:gd name="connsiteY409" fmla="*/ 533562 h 638175"/>
                <a:gd name="connsiteX410" fmla="*/ 533364 w 914400"/>
                <a:gd name="connsiteY410" fmla="*/ 529876 h 638175"/>
                <a:gd name="connsiteX411" fmla="*/ 537050 w 914400"/>
                <a:gd name="connsiteY411" fmla="*/ 533562 h 638175"/>
                <a:gd name="connsiteX412" fmla="*/ 544432 w 914400"/>
                <a:gd name="connsiteY412" fmla="*/ 540944 h 638175"/>
                <a:gd name="connsiteX413" fmla="*/ 548118 w 914400"/>
                <a:gd name="connsiteY413" fmla="*/ 540944 h 638175"/>
                <a:gd name="connsiteX414" fmla="*/ 551814 w 914400"/>
                <a:gd name="connsiteY414" fmla="*/ 540944 h 638175"/>
                <a:gd name="connsiteX415" fmla="*/ 566568 w 914400"/>
                <a:gd name="connsiteY415" fmla="*/ 544630 h 638175"/>
                <a:gd name="connsiteX416" fmla="*/ 577636 w 914400"/>
                <a:gd name="connsiteY416" fmla="*/ 544630 h 638175"/>
                <a:gd name="connsiteX417" fmla="*/ 581323 w 914400"/>
                <a:gd name="connsiteY417" fmla="*/ 548326 h 638175"/>
                <a:gd name="connsiteX418" fmla="*/ 581323 w 914400"/>
                <a:gd name="connsiteY418" fmla="*/ 540944 h 638175"/>
                <a:gd name="connsiteX419" fmla="*/ 581323 w 914400"/>
                <a:gd name="connsiteY419" fmla="*/ 537248 h 638175"/>
                <a:gd name="connsiteX420" fmla="*/ 581323 w 914400"/>
                <a:gd name="connsiteY420" fmla="*/ 533562 h 638175"/>
                <a:gd name="connsiteX421" fmla="*/ 581323 w 914400"/>
                <a:gd name="connsiteY421" fmla="*/ 529876 h 638175"/>
                <a:gd name="connsiteX422" fmla="*/ 573950 w 914400"/>
                <a:gd name="connsiteY422" fmla="*/ 526180 h 638175"/>
                <a:gd name="connsiteX423" fmla="*/ 570254 w 914400"/>
                <a:gd name="connsiteY423" fmla="*/ 526180 h 638175"/>
                <a:gd name="connsiteX424" fmla="*/ 570254 w 914400"/>
                <a:gd name="connsiteY424" fmla="*/ 522494 h 638175"/>
                <a:gd name="connsiteX425" fmla="*/ 570254 w 914400"/>
                <a:gd name="connsiteY425" fmla="*/ 518799 h 638175"/>
                <a:gd name="connsiteX426" fmla="*/ 566568 w 914400"/>
                <a:gd name="connsiteY426" fmla="*/ 511417 h 638175"/>
                <a:gd name="connsiteX427" fmla="*/ 562882 w 914400"/>
                <a:gd name="connsiteY427" fmla="*/ 507730 h 638175"/>
                <a:gd name="connsiteX428" fmla="*/ 555500 w 914400"/>
                <a:gd name="connsiteY428" fmla="*/ 507730 h 638175"/>
                <a:gd name="connsiteX429" fmla="*/ 551814 w 914400"/>
                <a:gd name="connsiteY429" fmla="*/ 507730 h 638175"/>
                <a:gd name="connsiteX430" fmla="*/ 555500 w 914400"/>
                <a:gd name="connsiteY430" fmla="*/ 504035 h 638175"/>
                <a:gd name="connsiteX431" fmla="*/ 555500 w 914400"/>
                <a:gd name="connsiteY431" fmla="*/ 500349 h 638175"/>
                <a:gd name="connsiteX432" fmla="*/ 559186 w 914400"/>
                <a:gd name="connsiteY432" fmla="*/ 500349 h 638175"/>
                <a:gd name="connsiteX433" fmla="*/ 562882 w 914400"/>
                <a:gd name="connsiteY433" fmla="*/ 504035 h 638175"/>
                <a:gd name="connsiteX434" fmla="*/ 577636 w 914400"/>
                <a:gd name="connsiteY434" fmla="*/ 496653 h 638175"/>
                <a:gd name="connsiteX435" fmla="*/ 581323 w 914400"/>
                <a:gd name="connsiteY435" fmla="*/ 500349 h 638175"/>
                <a:gd name="connsiteX436" fmla="*/ 585009 w 914400"/>
                <a:gd name="connsiteY436" fmla="*/ 500349 h 638175"/>
                <a:gd name="connsiteX437" fmla="*/ 588704 w 914400"/>
                <a:gd name="connsiteY437" fmla="*/ 504035 h 638175"/>
                <a:gd name="connsiteX438" fmla="*/ 596077 w 914400"/>
                <a:gd name="connsiteY438" fmla="*/ 507730 h 638175"/>
                <a:gd name="connsiteX439" fmla="*/ 596077 w 914400"/>
                <a:gd name="connsiteY439" fmla="*/ 511417 h 638175"/>
                <a:gd name="connsiteX440" fmla="*/ 588704 w 914400"/>
                <a:gd name="connsiteY440" fmla="*/ 511417 h 638175"/>
                <a:gd name="connsiteX441" fmla="*/ 592391 w 914400"/>
                <a:gd name="connsiteY441" fmla="*/ 515112 h 638175"/>
                <a:gd name="connsiteX442" fmla="*/ 596077 w 914400"/>
                <a:gd name="connsiteY442" fmla="*/ 518799 h 638175"/>
                <a:gd name="connsiteX443" fmla="*/ 599772 w 914400"/>
                <a:gd name="connsiteY443" fmla="*/ 522494 h 638175"/>
                <a:gd name="connsiteX444" fmla="*/ 607145 w 914400"/>
                <a:gd name="connsiteY444" fmla="*/ 526180 h 638175"/>
                <a:gd name="connsiteX445" fmla="*/ 614527 w 914400"/>
                <a:gd name="connsiteY445" fmla="*/ 526180 h 638175"/>
                <a:gd name="connsiteX446" fmla="*/ 614527 w 914400"/>
                <a:gd name="connsiteY446" fmla="*/ 522494 h 638175"/>
                <a:gd name="connsiteX447" fmla="*/ 621909 w 914400"/>
                <a:gd name="connsiteY447" fmla="*/ 522494 h 638175"/>
                <a:gd name="connsiteX448" fmla="*/ 625595 w 914400"/>
                <a:gd name="connsiteY448" fmla="*/ 526180 h 638175"/>
                <a:gd name="connsiteX449" fmla="*/ 629281 w 914400"/>
                <a:gd name="connsiteY449" fmla="*/ 526180 h 638175"/>
                <a:gd name="connsiteX450" fmla="*/ 629281 w 914400"/>
                <a:gd name="connsiteY450" fmla="*/ 522494 h 638175"/>
                <a:gd name="connsiteX451" fmla="*/ 632977 w 914400"/>
                <a:gd name="connsiteY451" fmla="*/ 522494 h 638175"/>
                <a:gd name="connsiteX452" fmla="*/ 632977 w 914400"/>
                <a:gd name="connsiteY452" fmla="*/ 518799 h 638175"/>
                <a:gd name="connsiteX453" fmla="*/ 636663 w 914400"/>
                <a:gd name="connsiteY453" fmla="*/ 522494 h 638175"/>
                <a:gd name="connsiteX454" fmla="*/ 647731 w 914400"/>
                <a:gd name="connsiteY454" fmla="*/ 526180 h 638175"/>
                <a:gd name="connsiteX455" fmla="*/ 647731 w 914400"/>
                <a:gd name="connsiteY455" fmla="*/ 529876 h 638175"/>
                <a:gd name="connsiteX456" fmla="*/ 651417 w 914400"/>
                <a:gd name="connsiteY456" fmla="*/ 537248 h 638175"/>
                <a:gd name="connsiteX457" fmla="*/ 651417 w 914400"/>
                <a:gd name="connsiteY457" fmla="*/ 540944 h 638175"/>
                <a:gd name="connsiteX458" fmla="*/ 658799 w 914400"/>
                <a:gd name="connsiteY458" fmla="*/ 537248 h 638175"/>
                <a:gd name="connsiteX459" fmla="*/ 666171 w 914400"/>
                <a:gd name="connsiteY459" fmla="*/ 537248 h 638175"/>
                <a:gd name="connsiteX460" fmla="*/ 669867 w 914400"/>
                <a:gd name="connsiteY460" fmla="*/ 537248 h 638175"/>
                <a:gd name="connsiteX461" fmla="*/ 673553 w 914400"/>
                <a:gd name="connsiteY461" fmla="*/ 540944 h 638175"/>
                <a:gd name="connsiteX462" fmla="*/ 677239 w 914400"/>
                <a:gd name="connsiteY462" fmla="*/ 540944 h 638175"/>
                <a:gd name="connsiteX463" fmla="*/ 680935 w 914400"/>
                <a:gd name="connsiteY463" fmla="*/ 544630 h 638175"/>
                <a:gd name="connsiteX464" fmla="*/ 680935 w 914400"/>
                <a:gd name="connsiteY464" fmla="*/ 548326 h 638175"/>
                <a:gd name="connsiteX465" fmla="*/ 680935 w 914400"/>
                <a:gd name="connsiteY465" fmla="*/ 552012 h 638175"/>
                <a:gd name="connsiteX466" fmla="*/ 684621 w 914400"/>
                <a:gd name="connsiteY466" fmla="*/ 552012 h 638175"/>
                <a:gd name="connsiteX467" fmla="*/ 688307 w 914400"/>
                <a:gd name="connsiteY467" fmla="*/ 552012 h 638175"/>
                <a:gd name="connsiteX468" fmla="*/ 692003 w 914400"/>
                <a:gd name="connsiteY468" fmla="*/ 552012 h 638175"/>
                <a:gd name="connsiteX469" fmla="*/ 699375 w 914400"/>
                <a:gd name="connsiteY469" fmla="*/ 555708 h 638175"/>
                <a:gd name="connsiteX470" fmla="*/ 703071 w 914400"/>
                <a:gd name="connsiteY470" fmla="*/ 555708 h 638175"/>
                <a:gd name="connsiteX471" fmla="*/ 699375 w 914400"/>
                <a:gd name="connsiteY471" fmla="*/ 548326 h 638175"/>
                <a:gd name="connsiteX472" fmla="*/ 703071 w 914400"/>
                <a:gd name="connsiteY472" fmla="*/ 552012 h 638175"/>
                <a:gd name="connsiteX473" fmla="*/ 699375 w 914400"/>
                <a:gd name="connsiteY473" fmla="*/ 544630 h 638175"/>
                <a:gd name="connsiteX474" fmla="*/ 699375 w 914400"/>
                <a:gd name="connsiteY474" fmla="*/ 540944 h 638175"/>
                <a:gd name="connsiteX475" fmla="*/ 703071 w 914400"/>
                <a:gd name="connsiteY475" fmla="*/ 537248 h 638175"/>
                <a:gd name="connsiteX476" fmla="*/ 699375 w 914400"/>
                <a:gd name="connsiteY476" fmla="*/ 537248 h 638175"/>
                <a:gd name="connsiteX477" fmla="*/ 699375 w 914400"/>
                <a:gd name="connsiteY477" fmla="*/ 533562 h 638175"/>
                <a:gd name="connsiteX478" fmla="*/ 695689 w 914400"/>
                <a:gd name="connsiteY478" fmla="*/ 533562 h 638175"/>
                <a:gd name="connsiteX479" fmla="*/ 692003 w 914400"/>
                <a:gd name="connsiteY479" fmla="*/ 529876 h 638175"/>
                <a:gd name="connsiteX480" fmla="*/ 692003 w 914400"/>
                <a:gd name="connsiteY480" fmla="*/ 526180 h 638175"/>
                <a:gd name="connsiteX481" fmla="*/ 692003 w 914400"/>
                <a:gd name="connsiteY481" fmla="*/ 518799 h 638175"/>
                <a:gd name="connsiteX482" fmla="*/ 699375 w 914400"/>
                <a:gd name="connsiteY482" fmla="*/ 522494 h 638175"/>
                <a:gd name="connsiteX483" fmla="*/ 703071 w 914400"/>
                <a:gd name="connsiteY483" fmla="*/ 522494 h 638175"/>
                <a:gd name="connsiteX484" fmla="*/ 706757 w 914400"/>
                <a:gd name="connsiteY484" fmla="*/ 526180 h 638175"/>
                <a:gd name="connsiteX485" fmla="*/ 710443 w 914400"/>
                <a:gd name="connsiteY485" fmla="*/ 526180 h 638175"/>
                <a:gd name="connsiteX486" fmla="*/ 710443 w 914400"/>
                <a:gd name="connsiteY486" fmla="*/ 529876 h 638175"/>
                <a:gd name="connsiteX487" fmla="*/ 714139 w 914400"/>
                <a:gd name="connsiteY487" fmla="*/ 529876 h 638175"/>
                <a:gd name="connsiteX488" fmla="*/ 717825 w 914400"/>
                <a:gd name="connsiteY488" fmla="*/ 529876 h 638175"/>
                <a:gd name="connsiteX489" fmla="*/ 721512 w 914400"/>
                <a:gd name="connsiteY489" fmla="*/ 526180 h 638175"/>
                <a:gd name="connsiteX490" fmla="*/ 725207 w 914400"/>
                <a:gd name="connsiteY490" fmla="*/ 533562 h 638175"/>
                <a:gd name="connsiteX491" fmla="*/ 728893 w 914400"/>
                <a:gd name="connsiteY491" fmla="*/ 533562 h 638175"/>
                <a:gd name="connsiteX492" fmla="*/ 732580 w 914400"/>
                <a:gd name="connsiteY492" fmla="*/ 537248 h 638175"/>
                <a:gd name="connsiteX493" fmla="*/ 736266 w 914400"/>
                <a:gd name="connsiteY493" fmla="*/ 533562 h 638175"/>
                <a:gd name="connsiteX494" fmla="*/ 747334 w 914400"/>
                <a:gd name="connsiteY494" fmla="*/ 529876 h 638175"/>
                <a:gd name="connsiteX495" fmla="*/ 747334 w 914400"/>
                <a:gd name="connsiteY495" fmla="*/ 526180 h 638175"/>
                <a:gd name="connsiteX496" fmla="*/ 747334 w 914400"/>
                <a:gd name="connsiteY496" fmla="*/ 522494 h 638175"/>
                <a:gd name="connsiteX497" fmla="*/ 751029 w 914400"/>
                <a:gd name="connsiteY497" fmla="*/ 522494 h 638175"/>
                <a:gd name="connsiteX498" fmla="*/ 754716 w 914400"/>
                <a:gd name="connsiteY498" fmla="*/ 518799 h 638175"/>
                <a:gd name="connsiteX499" fmla="*/ 758402 w 914400"/>
                <a:gd name="connsiteY499" fmla="*/ 518799 h 638175"/>
                <a:gd name="connsiteX500" fmla="*/ 762098 w 914400"/>
                <a:gd name="connsiteY500" fmla="*/ 518799 h 638175"/>
                <a:gd name="connsiteX501" fmla="*/ 765784 w 914400"/>
                <a:gd name="connsiteY501" fmla="*/ 515112 h 638175"/>
                <a:gd name="connsiteX502" fmla="*/ 765784 w 914400"/>
                <a:gd name="connsiteY502" fmla="*/ 511417 h 638175"/>
                <a:gd name="connsiteX503" fmla="*/ 769470 w 914400"/>
                <a:gd name="connsiteY503" fmla="*/ 511417 h 638175"/>
                <a:gd name="connsiteX504" fmla="*/ 773166 w 914400"/>
                <a:gd name="connsiteY504" fmla="*/ 507730 h 638175"/>
                <a:gd name="connsiteX505" fmla="*/ 773166 w 914400"/>
                <a:gd name="connsiteY505" fmla="*/ 511417 h 638175"/>
                <a:gd name="connsiteX506" fmla="*/ 776852 w 914400"/>
                <a:gd name="connsiteY506" fmla="*/ 511417 h 638175"/>
                <a:gd name="connsiteX507" fmla="*/ 780538 w 914400"/>
                <a:gd name="connsiteY507" fmla="*/ 507730 h 638175"/>
                <a:gd name="connsiteX508" fmla="*/ 787920 w 914400"/>
                <a:gd name="connsiteY508" fmla="*/ 504035 h 638175"/>
                <a:gd name="connsiteX509" fmla="*/ 806360 w 914400"/>
                <a:gd name="connsiteY509" fmla="*/ 496653 h 638175"/>
                <a:gd name="connsiteX510" fmla="*/ 810056 w 914400"/>
                <a:gd name="connsiteY510" fmla="*/ 496653 h 638175"/>
                <a:gd name="connsiteX511" fmla="*/ 813742 w 914400"/>
                <a:gd name="connsiteY511" fmla="*/ 496653 h 638175"/>
                <a:gd name="connsiteX512" fmla="*/ 813742 w 914400"/>
                <a:gd name="connsiteY512" fmla="*/ 492967 h 638175"/>
                <a:gd name="connsiteX513" fmla="*/ 821124 w 914400"/>
                <a:gd name="connsiteY513" fmla="*/ 489271 h 638175"/>
                <a:gd name="connsiteX514" fmla="*/ 828496 w 914400"/>
                <a:gd name="connsiteY514" fmla="*/ 485585 h 638175"/>
                <a:gd name="connsiteX515" fmla="*/ 832192 w 914400"/>
                <a:gd name="connsiteY515" fmla="*/ 485585 h 638175"/>
                <a:gd name="connsiteX516" fmla="*/ 835878 w 914400"/>
                <a:gd name="connsiteY516" fmla="*/ 481899 h 638175"/>
                <a:gd name="connsiteX517" fmla="*/ 835878 w 914400"/>
                <a:gd name="connsiteY517" fmla="*/ 485585 h 638175"/>
                <a:gd name="connsiteX518" fmla="*/ 839564 w 914400"/>
                <a:gd name="connsiteY518" fmla="*/ 485585 h 638175"/>
                <a:gd name="connsiteX519" fmla="*/ 843260 w 914400"/>
                <a:gd name="connsiteY519" fmla="*/ 485585 h 638175"/>
                <a:gd name="connsiteX520" fmla="*/ 843260 w 914400"/>
                <a:gd name="connsiteY520" fmla="*/ 489271 h 638175"/>
                <a:gd name="connsiteX521" fmla="*/ 846946 w 914400"/>
                <a:gd name="connsiteY521" fmla="*/ 492967 h 638175"/>
                <a:gd name="connsiteX522" fmla="*/ 854328 w 914400"/>
                <a:gd name="connsiteY522" fmla="*/ 500349 h 638175"/>
                <a:gd name="connsiteX523" fmla="*/ 861700 w 914400"/>
                <a:gd name="connsiteY523" fmla="*/ 496653 h 638175"/>
                <a:gd name="connsiteX524" fmla="*/ 861700 w 914400"/>
                <a:gd name="connsiteY524" fmla="*/ 492967 h 638175"/>
                <a:gd name="connsiteX525" fmla="*/ 865396 w 914400"/>
                <a:gd name="connsiteY525" fmla="*/ 492967 h 638175"/>
                <a:gd name="connsiteX526" fmla="*/ 869082 w 914400"/>
                <a:gd name="connsiteY526" fmla="*/ 489271 h 638175"/>
                <a:gd name="connsiteX527" fmla="*/ 872769 w 914400"/>
                <a:gd name="connsiteY527" fmla="*/ 489271 h 638175"/>
                <a:gd name="connsiteX528" fmla="*/ 872769 w 914400"/>
                <a:gd name="connsiteY528" fmla="*/ 485585 h 638175"/>
                <a:gd name="connsiteX529" fmla="*/ 876455 w 914400"/>
                <a:gd name="connsiteY529" fmla="*/ 481899 h 638175"/>
                <a:gd name="connsiteX530" fmla="*/ 880150 w 914400"/>
                <a:gd name="connsiteY530" fmla="*/ 481899 h 638175"/>
                <a:gd name="connsiteX531" fmla="*/ 887523 w 914400"/>
                <a:gd name="connsiteY531" fmla="*/ 470821 h 638175"/>
                <a:gd name="connsiteX532" fmla="*/ 891218 w 914400"/>
                <a:gd name="connsiteY532" fmla="*/ 467135 h 638175"/>
                <a:gd name="connsiteX533" fmla="*/ 891218 w 914400"/>
                <a:gd name="connsiteY533" fmla="*/ 463439 h 638175"/>
                <a:gd name="connsiteX534" fmla="*/ 891218 w 914400"/>
                <a:gd name="connsiteY534" fmla="*/ 459753 h 638175"/>
                <a:gd name="connsiteX535" fmla="*/ 891218 w 914400"/>
                <a:gd name="connsiteY535" fmla="*/ 448676 h 638175"/>
                <a:gd name="connsiteX536" fmla="*/ 898591 w 914400"/>
                <a:gd name="connsiteY536" fmla="*/ 444989 h 638175"/>
                <a:gd name="connsiteX537" fmla="*/ 905973 w 914400"/>
                <a:gd name="connsiteY537" fmla="*/ 444989 h 638175"/>
                <a:gd name="connsiteX538" fmla="*/ 909659 w 914400"/>
                <a:gd name="connsiteY538" fmla="*/ 437607 h 638175"/>
                <a:gd name="connsiteX539" fmla="*/ 905973 w 914400"/>
                <a:gd name="connsiteY539" fmla="*/ 433921 h 638175"/>
                <a:gd name="connsiteX540" fmla="*/ 905973 w 914400"/>
                <a:gd name="connsiteY540" fmla="*/ 426539 h 638175"/>
                <a:gd name="connsiteX541" fmla="*/ 905973 w 914400"/>
                <a:gd name="connsiteY541" fmla="*/ 422844 h 638175"/>
                <a:gd name="connsiteX542" fmla="*/ 894905 w 914400"/>
                <a:gd name="connsiteY542" fmla="*/ 419158 h 638175"/>
                <a:gd name="connsiteX543" fmla="*/ 898591 w 914400"/>
                <a:gd name="connsiteY543" fmla="*/ 419158 h 638175"/>
                <a:gd name="connsiteX544" fmla="*/ 876455 w 914400"/>
                <a:gd name="connsiteY544" fmla="*/ 404394 h 638175"/>
                <a:gd name="connsiteX545" fmla="*/ 872769 w 914400"/>
                <a:gd name="connsiteY545" fmla="*/ 400698 h 638175"/>
                <a:gd name="connsiteX546" fmla="*/ 869082 w 914400"/>
                <a:gd name="connsiteY546" fmla="*/ 393316 h 638175"/>
                <a:gd name="connsiteX547" fmla="*/ 850632 w 914400"/>
                <a:gd name="connsiteY547" fmla="*/ 385944 h 638175"/>
                <a:gd name="connsiteX548" fmla="*/ 835878 w 914400"/>
                <a:gd name="connsiteY548" fmla="*/ 385944 h 638175"/>
                <a:gd name="connsiteX549" fmla="*/ 835878 w 914400"/>
                <a:gd name="connsiteY549" fmla="*/ 382248 h 638175"/>
                <a:gd name="connsiteX550" fmla="*/ 835878 w 914400"/>
                <a:gd name="connsiteY550" fmla="*/ 374866 h 638175"/>
                <a:gd name="connsiteX551" fmla="*/ 835878 w 914400"/>
                <a:gd name="connsiteY551" fmla="*/ 371180 h 638175"/>
                <a:gd name="connsiteX552" fmla="*/ 839564 w 914400"/>
                <a:gd name="connsiteY552" fmla="*/ 367484 h 638175"/>
                <a:gd name="connsiteX553" fmla="*/ 839564 w 914400"/>
                <a:gd name="connsiteY553" fmla="*/ 363798 h 638175"/>
                <a:gd name="connsiteX554" fmla="*/ 839564 w 914400"/>
                <a:gd name="connsiteY554" fmla="*/ 360103 h 638175"/>
                <a:gd name="connsiteX555" fmla="*/ 850632 w 914400"/>
                <a:gd name="connsiteY555" fmla="*/ 360103 h 638175"/>
                <a:gd name="connsiteX556" fmla="*/ 858014 w 914400"/>
                <a:gd name="connsiteY556" fmla="*/ 356416 h 638175"/>
                <a:gd name="connsiteX557" fmla="*/ 865396 w 914400"/>
                <a:gd name="connsiteY557" fmla="*/ 352721 h 638175"/>
                <a:gd name="connsiteX558" fmla="*/ 865396 w 914400"/>
                <a:gd name="connsiteY558" fmla="*/ 349035 h 638175"/>
                <a:gd name="connsiteX559" fmla="*/ 865396 w 914400"/>
                <a:gd name="connsiteY559" fmla="*/ 345339 h 638175"/>
                <a:gd name="connsiteX560" fmla="*/ 865396 w 914400"/>
                <a:gd name="connsiteY560" fmla="*/ 341653 h 638175"/>
                <a:gd name="connsiteX561" fmla="*/ 869082 w 914400"/>
                <a:gd name="connsiteY561" fmla="*/ 341653 h 638175"/>
                <a:gd name="connsiteX562" fmla="*/ 869082 w 914400"/>
                <a:gd name="connsiteY562" fmla="*/ 337966 h 638175"/>
                <a:gd name="connsiteX563" fmla="*/ 872769 w 914400"/>
                <a:gd name="connsiteY563" fmla="*/ 323203 h 638175"/>
                <a:gd name="connsiteX564" fmla="*/ 850632 w 914400"/>
                <a:gd name="connsiteY564" fmla="*/ 323203 h 638175"/>
                <a:gd name="connsiteX565" fmla="*/ 846946 w 914400"/>
                <a:gd name="connsiteY565" fmla="*/ 323203 h 638175"/>
                <a:gd name="connsiteX566" fmla="*/ 839564 w 914400"/>
                <a:gd name="connsiteY566" fmla="*/ 319507 h 638175"/>
                <a:gd name="connsiteX567" fmla="*/ 832192 w 914400"/>
                <a:gd name="connsiteY567" fmla="*/ 315821 h 638175"/>
                <a:gd name="connsiteX568" fmla="*/ 828496 w 914400"/>
                <a:gd name="connsiteY568" fmla="*/ 315821 h 638175"/>
                <a:gd name="connsiteX569" fmla="*/ 821124 w 914400"/>
                <a:gd name="connsiteY569" fmla="*/ 315821 h 638175"/>
                <a:gd name="connsiteX570" fmla="*/ 828496 w 914400"/>
                <a:gd name="connsiteY570" fmla="*/ 304743 h 638175"/>
                <a:gd name="connsiteX571" fmla="*/ 828496 w 914400"/>
                <a:gd name="connsiteY571" fmla="*/ 293675 h 638175"/>
                <a:gd name="connsiteX572" fmla="*/ 828496 w 914400"/>
                <a:gd name="connsiteY572" fmla="*/ 289989 h 638175"/>
                <a:gd name="connsiteX573" fmla="*/ 828496 w 914400"/>
                <a:gd name="connsiteY573" fmla="*/ 286293 h 638175"/>
                <a:gd name="connsiteX574" fmla="*/ 817428 w 914400"/>
                <a:gd name="connsiteY574" fmla="*/ 278911 h 638175"/>
                <a:gd name="connsiteX575" fmla="*/ 813742 w 914400"/>
                <a:gd name="connsiteY575" fmla="*/ 278911 h 638175"/>
                <a:gd name="connsiteX576" fmla="*/ 810056 w 914400"/>
                <a:gd name="connsiteY576" fmla="*/ 286293 h 638175"/>
                <a:gd name="connsiteX577" fmla="*/ 810056 w 914400"/>
                <a:gd name="connsiteY577" fmla="*/ 282607 h 638175"/>
                <a:gd name="connsiteX578" fmla="*/ 806360 w 914400"/>
                <a:gd name="connsiteY578" fmla="*/ 278911 h 638175"/>
                <a:gd name="connsiteX579" fmla="*/ 802674 w 914400"/>
                <a:gd name="connsiteY579" fmla="*/ 282607 h 638175"/>
                <a:gd name="connsiteX580" fmla="*/ 798988 w 914400"/>
                <a:gd name="connsiteY580" fmla="*/ 286293 h 638175"/>
                <a:gd name="connsiteX581" fmla="*/ 798988 w 914400"/>
                <a:gd name="connsiteY581" fmla="*/ 289989 h 638175"/>
                <a:gd name="connsiteX582" fmla="*/ 795302 w 914400"/>
                <a:gd name="connsiteY582" fmla="*/ 286293 h 638175"/>
                <a:gd name="connsiteX583" fmla="*/ 791606 w 914400"/>
                <a:gd name="connsiteY583" fmla="*/ 282607 h 638175"/>
                <a:gd name="connsiteX584" fmla="*/ 795302 w 914400"/>
                <a:gd name="connsiteY584" fmla="*/ 278911 h 638175"/>
                <a:gd name="connsiteX585" fmla="*/ 787920 w 914400"/>
                <a:gd name="connsiteY585" fmla="*/ 275225 h 638175"/>
                <a:gd name="connsiteX586" fmla="*/ 784234 w 914400"/>
                <a:gd name="connsiteY586" fmla="*/ 275225 h 638175"/>
                <a:gd name="connsiteX587" fmla="*/ 769470 w 914400"/>
                <a:gd name="connsiteY587" fmla="*/ 278911 h 638175"/>
                <a:gd name="connsiteX588" fmla="*/ 751029 w 914400"/>
                <a:gd name="connsiteY588" fmla="*/ 275225 h 638175"/>
                <a:gd name="connsiteX589" fmla="*/ 747334 w 914400"/>
                <a:gd name="connsiteY589" fmla="*/ 275225 h 638175"/>
                <a:gd name="connsiteX590" fmla="*/ 739961 w 914400"/>
                <a:gd name="connsiteY590" fmla="*/ 278911 h 638175"/>
                <a:gd name="connsiteX591" fmla="*/ 736266 w 914400"/>
                <a:gd name="connsiteY591" fmla="*/ 275225 h 638175"/>
                <a:gd name="connsiteX592" fmla="*/ 732580 w 914400"/>
                <a:gd name="connsiteY592" fmla="*/ 275225 h 638175"/>
                <a:gd name="connsiteX593" fmla="*/ 732580 w 914400"/>
                <a:gd name="connsiteY593" fmla="*/ 271530 h 638175"/>
                <a:gd name="connsiteX594" fmla="*/ 728893 w 914400"/>
                <a:gd name="connsiteY594" fmla="*/ 267843 h 638175"/>
                <a:gd name="connsiteX595" fmla="*/ 728893 w 914400"/>
                <a:gd name="connsiteY595" fmla="*/ 260461 h 638175"/>
                <a:gd name="connsiteX596" fmla="*/ 721512 w 914400"/>
                <a:gd name="connsiteY596" fmla="*/ 260461 h 638175"/>
                <a:gd name="connsiteX597" fmla="*/ 721512 w 914400"/>
                <a:gd name="connsiteY597" fmla="*/ 256766 h 638175"/>
                <a:gd name="connsiteX598" fmla="*/ 717825 w 914400"/>
                <a:gd name="connsiteY598" fmla="*/ 256766 h 638175"/>
                <a:gd name="connsiteX599" fmla="*/ 717825 w 914400"/>
                <a:gd name="connsiteY599" fmla="*/ 249384 h 638175"/>
                <a:gd name="connsiteX600" fmla="*/ 706757 w 914400"/>
                <a:gd name="connsiteY600" fmla="*/ 242012 h 638175"/>
                <a:gd name="connsiteX601" fmla="*/ 703071 w 914400"/>
                <a:gd name="connsiteY601" fmla="*/ 234630 h 638175"/>
                <a:gd name="connsiteX602" fmla="*/ 703071 w 914400"/>
                <a:gd name="connsiteY602" fmla="*/ 230934 h 638175"/>
                <a:gd name="connsiteX603" fmla="*/ 703071 w 914400"/>
                <a:gd name="connsiteY603" fmla="*/ 227248 h 638175"/>
                <a:gd name="connsiteX604" fmla="*/ 699375 w 914400"/>
                <a:gd name="connsiteY604" fmla="*/ 227248 h 638175"/>
                <a:gd name="connsiteX605" fmla="*/ 692003 w 914400"/>
                <a:gd name="connsiteY605" fmla="*/ 227248 h 638175"/>
                <a:gd name="connsiteX606" fmla="*/ 688307 w 914400"/>
                <a:gd name="connsiteY606" fmla="*/ 227248 h 638175"/>
                <a:gd name="connsiteX607" fmla="*/ 684621 w 914400"/>
                <a:gd name="connsiteY607" fmla="*/ 227248 h 638175"/>
                <a:gd name="connsiteX608" fmla="*/ 684621 w 914400"/>
                <a:gd name="connsiteY608" fmla="*/ 223552 h 638175"/>
                <a:gd name="connsiteX609" fmla="*/ 680935 w 914400"/>
                <a:gd name="connsiteY609" fmla="*/ 227248 h 638175"/>
                <a:gd name="connsiteX610" fmla="*/ 677239 w 914400"/>
                <a:gd name="connsiteY610" fmla="*/ 227248 h 638175"/>
                <a:gd name="connsiteX611" fmla="*/ 669867 w 914400"/>
                <a:gd name="connsiteY611" fmla="*/ 227248 h 638175"/>
                <a:gd name="connsiteX612" fmla="*/ 666171 w 914400"/>
                <a:gd name="connsiteY612" fmla="*/ 230934 h 638175"/>
                <a:gd name="connsiteX613" fmla="*/ 662485 w 914400"/>
                <a:gd name="connsiteY613" fmla="*/ 230934 h 638175"/>
                <a:gd name="connsiteX614" fmla="*/ 662485 w 914400"/>
                <a:gd name="connsiteY614" fmla="*/ 238316 h 638175"/>
                <a:gd name="connsiteX615" fmla="*/ 655113 w 914400"/>
                <a:gd name="connsiteY615" fmla="*/ 238316 h 638175"/>
                <a:gd name="connsiteX616" fmla="*/ 655113 w 914400"/>
                <a:gd name="connsiteY616" fmla="*/ 242012 h 638175"/>
                <a:gd name="connsiteX617" fmla="*/ 644045 w 914400"/>
                <a:gd name="connsiteY617" fmla="*/ 242012 h 638175"/>
                <a:gd name="connsiteX618" fmla="*/ 644045 w 914400"/>
                <a:gd name="connsiteY618" fmla="*/ 238316 h 638175"/>
                <a:gd name="connsiteX619" fmla="*/ 640349 w 914400"/>
                <a:gd name="connsiteY619" fmla="*/ 238316 h 638175"/>
                <a:gd name="connsiteX620" fmla="*/ 636663 w 914400"/>
                <a:gd name="connsiteY620" fmla="*/ 238316 h 638175"/>
                <a:gd name="connsiteX621" fmla="*/ 632977 w 914400"/>
                <a:gd name="connsiteY621" fmla="*/ 238316 h 638175"/>
                <a:gd name="connsiteX622" fmla="*/ 629281 w 914400"/>
                <a:gd name="connsiteY622" fmla="*/ 242012 h 638175"/>
                <a:gd name="connsiteX623" fmla="*/ 625595 w 914400"/>
                <a:gd name="connsiteY623" fmla="*/ 238316 h 638175"/>
                <a:gd name="connsiteX624" fmla="*/ 621909 w 914400"/>
                <a:gd name="connsiteY624" fmla="*/ 238316 h 638175"/>
                <a:gd name="connsiteX625" fmla="*/ 614527 w 914400"/>
                <a:gd name="connsiteY625" fmla="*/ 238316 h 638175"/>
                <a:gd name="connsiteX626" fmla="*/ 610840 w 914400"/>
                <a:gd name="connsiteY626" fmla="*/ 238316 h 638175"/>
                <a:gd name="connsiteX627" fmla="*/ 607145 w 914400"/>
                <a:gd name="connsiteY627" fmla="*/ 238316 h 638175"/>
                <a:gd name="connsiteX628" fmla="*/ 603459 w 914400"/>
                <a:gd name="connsiteY628" fmla="*/ 238316 h 638175"/>
                <a:gd name="connsiteX629" fmla="*/ 603459 w 914400"/>
                <a:gd name="connsiteY629" fmla="*/ 242012 h 638175"/>
                <a:gd name="connsiteX630" fmla="*/ 599772 w 914400"/>
                <a:gd name="connsiteY630" fmla="*/ 238316 h 638175"/>
                <a:gd name="connsiteX631" fmla="*/ 596077 w 914400"/>
                <a:gd name="connsiteY631" fmla="*/ 238316 h 638175"/>
                <a:gd name="connsiteX632" fmla="*/ 588704 w 914400"/>
                <a:gd name="connsiteY632" fmla="*/ 238316 h 638175"/>
                <a:gd name="connsiteX633" fmla="*/ 588704 w 914400"/>
                <a:gd name="connsiteY633" fmla="*/ 234630 h 638175"/>
                <a:gd name="connsiteX634" fmla="*/ 585009 w 914400"/>
                <a:gd name="connsiteY634" fmla="*/ 234630 h 638175"/>
                <a:gd name="connsiteX635" fmla="*/ 577636 w 914400"/>
                <a:gd name="connsiteY635" fmla="*/ 238316 h 638175"/>
                <a:gd name="connsiteX636" fmla="*/ 577636 w 914400"/>
                <a:gd name="connsiteY636" fmla="*/ 242012 h 638175"/>
                <a:gd name="connsiteX637" fmla="*/ 581323 w 914400"/>
                <a:gd name="connsiteY637" fmla="*/ 245698 h 638175"/>
                <a:gd name="connsiteX638" fmla="*/ 577636 w 914400"/>
                <a:gd name="connsiteY638" fmla="*/ 249384 h 638175"/>
                <a:gd name="connsiteX639" fmla="*/ 577636 w 914400"/>
                <a:gd name="connsiteY639" fmla="*/ 245698 h 638175"/>
                <a:gd name="connsiteX640" fmla="*/ 577636 w 914400"/>
                <a:gd name="connsiteY640" fmla="*/ 242012 h 638175"/>
                <a:gd name="connsiteX641" fmla="*/ 573950 w 914400"/>
                <a:gd name="connsiteY641" fmla="*/ 242012 h 638175"/>
                <a:gd name="connsiteX642" fmla="*/ 570254 w 914400"/>
                <a:gd name="connsiteY642" fmla="*/ 242012 h 638175"/>
                <a:gd name="connsiteX643" fmla="*/ 566568 w 914400"/>
                <a:gd name="connsiteY643" fmla="*/ 234630 h 638175"/>
                <a:gd name="connsiteX644" fmla="*/ 566568 w 914400"/>
                <a:gd name="connsiteY644" fmla="*/ 230934 h 638175"/>
                <a:gd name="connsiteX645" fmla="*/ 570254 w 914400"/>
                <a:gd name="connsiteY645" fmla="*/ 227248 h 638175"/>
                <a:gd name="connsiteX646" fmla="*/ 573950 w 914400"/>
                <a:gd name="connsiteY646" fmla="*/ 227248 h 638175"/>
                <a:gd name="connsiteX647" fmla="*/ 573950 w 914400"/>
                <a:gd name="connsiteY647" fmla="*/ 223552 h 638175"/>
                <a:gd name="connsiteX648" fmla="*/ 570254 w 914400"/>
                <a:gd name="connsiteY648" fmla="*/ 223552 h 638175"/>
                <a:gd name="connsiteX649" fmla="*/ 566568 w 914400"/>
                <a:gd name="connsiteY649" fmla="*/ 223552 h 638175"/>
                <a:gd name="connsiteX650" fmla="*/ 562882 w 914400"/>
                <a:gd name="connsiteY650" fmla="*/ 223552 h 638175"/>
                <a:gd name="connsiteX651" fmla="*/ 559186 w 914400"/>
                <a:gd name="connsiteY651" fmla="*/ 219866 h 638175"/>
                <a:gd name="connsiteX652" fmla="*/ 559186 w 914400"/>
                <a:gd name="connsiteY652" fmla="*/ 216170 h 638175"/>
                <a:gd name="connsiteX653" fmla="*/ 559186 w 914400"/>
                <a:gd name="connsiteY653" fmla="*/ 212484 h 638175"/>
                <a:gd name="connsiteX654" fmla="*/ 559186 w 914400"/>
                <a:gd name="connsiteY654" fmla="*/ 208788 h 638175"/>
                <a:gd name="connsiteX655" fmla="*/ 555500 w 914400"/>
                <a:gd name="connsiteY655" fmla="*/ 205102 h 638175"/>
                <a:gd name="connsiteX656" fmla="*/ 551814 w 914400"/>
                <a:gd name="connsiteY656" fmla="*/ 201407 h 638175"/>
                <a:gd name="connsiteX657" fmla="*/ 551814 w 914400"/>
                <a:gd name="connsiteY657" fmla="*/ 190338 h 638175"/>
                <a:gd name="connsiteX658" fmla="*/ 548118 w 914400"/>
                <a:gd name="connsiteY658" fmla="*/ 190338 h 638175"/>
                <a:gd name="connsiteX659" fmla="*/ 548118 w 914400"/>
                <a:gd name="connsiteY659" fmla="*/ 186652 h 638175"/>
                <a:gd name="connsiteX660" fmla="*/ 548118 w 914400"/>
                <a:gd name="connsiteY660" fmla="*/ 182957 h 638175"/>
                <a:gd name="connsiteX661" fmla="*/ 544432 w 914400"/>
                <a:gd name="connsiteY661" fmla="*/ 182957 h 638175"/>
                <a:gd name="connsiteX662" fmla="*/ 540746 w 914400"/>
                <a:gd name="connsiteY662" fmla="*/ 182957 h 638175"/>
                <a:gd name="connsiteX663" fmla="*/ 537050 w 914400"/>
                <a:gd name="connsiteY663" fmla="*/ 182957 h 638175"/>
                <a:gd name="connsiteX664" fmla="*/ 537050 w 914400"/>
                <a:gd name="connsiteY664" fmla="*/ 171889 h 638175"/>
                <a:gd name="connsiteX665" fmla="*/ 537050 w 914400"/>
                <a:gd name="connsiteY665" fmla="*/ 168193 h 638175"/>
                <a:gd name="connsiteX666" fmla="*/ 533364 w 914400"/>
                <a:gd name="connsiteY666" fmla="*/ 168193 h 638175"/>
                <a:gd name="connsiteX667" fmla="*/ 529678 w 914400"/>
                <a:gd name="connsiteY667" fmla="*/ 168193 h 638175"/>
                <a:gd name="connsiteX668" fmla="*/ 529678 w 914400"/>
                <a:gd name="connsiteY668" fmla="*/ 164507 h 638175"/>
                <a:gd name="connsiteX669" fmla="*/ 533364 w 914400"/>
                <a:gd name="connsiteY669" fmla="*/ 164507 h 638175"/>
                <a:gd name="connsiteX670" fmla="*/ 533364 w 914400"/>
                <a:gd name="connsiteY670" fmla="*/ 157125 h 638175"/>
                <a:gd name="connsiteX671" fmla="*/ 533364 w 914400"/>
                <a:gd name="connsiteY671" fmla="*/ 149743 h 638175"/>
                <a:gd name="connsiteX672" fmla="*/ 533364 w 914400"/>
                <a:gd name="connsiteY672" fmla="*/ 142361 h 638175"/>
                <a:gd name="connsiteX673" fmla="*/ 537050 w 914400"/>
                <a:gd name="connsiteY673" fmla="*/ 142361 h 638175"/>
                <a:gd name="connsiteX674" fmla="*/ 540746 w 914400"/>
                <a:gd name="connsiteY674" fmla="*/ 138675 h 638175"/>
                <a:gd name="connsiteX675" fmla="*/ 544432 w 914400"/>
                <a:gd name="connsiteY675" fmla="*/ 138675 h 638175"/>
                <a:gd name="connsiteX676" fmla="*/ 540746 w 914400"/>
                <a:gd name="connsiteY676" fmla="*/ 134979 h 638175"/>
                <a:gd name="connsiteX677" fmla="*/ 537050 w 914400"/>
                <a:gd name="connsiteY677" fmla="*/ 134979 h 638175"/>
                <a:gd name="connsiteX678" fmla="*/ 533364 w 914400"/>
                <a:gd name="connsiteY678" fmla="*/ 131293 h 638175"/>
                <a:gd name="connsiteX679" fmla="*/ 533364 w 914400"/>
                <a:gd name="connsiteY679" fmla="*/ 127597 h 638175"/>
                <a:gd name="connsiteX680" fmla="*/ 537050 w 914400"/>
                <a:gd name="connsiteY680" fmla="*/ 127597 h 638175"/>
                <a:gd name="connsiteX681" fmla="*/ 537050 w 914400"/>
                <a:gd name="connsiteY681" fmla="*/ 123909 h 638175"/>
                <a:gd name="connsiteX682" fmla="*/ 544432 w 914400"/>
                <a:gd name="connsiteY682" fmla="*/ 123909 h 638175"/>
                <a:gd name="connsiteX683" fmla="*/ 551814 w 914400"/>
                <a:gd name="connsiteY683" fmla="*/ 120218 h 638175"/>
                <a:gd name="connsiteX684" fmla="*/ 555500 w 914400"/>
                <a:gd name="connsiteY684" fmla="*/ 120218 h 638175"/>
                <a:gd name="connsiteX685" fmla="*/ 555500 w 914400"/>
                <a:gd name="connsiteY685" fmla="*/ 116528 h 638175"/>
                <a:gd name="connsiteX686" fmla="*/ 559186 w 914400"/>
                <a:gd name="connsiteY686" fmla="*/ 116528 h 638175"/>
                <a:gd name="connsiteX687" fmla="*/ 559186 w 914400"/>
                <a:gd name="connsiteY687" fmla="*/ 109147 h 638175"/>
                <a:gd name="connsiteX688" fmla="*/ 559186 w 914400"/>
                <a:gd name="connsiteY688" fmla="*/ 105456 h 638175"/>
                <a:gd name="connsiteX689" fmla="*/ 559186 w 914400"/>
                <a:gd name="connsiteY689" fmla="*/ 101766 h 638175"/>
                <a:gd name="connsiteX690" fmla="*/ 555500 w 914400"/>
                <a:gd name="connsiteY690" fmla="*/ 101766 h 638175"/>
                <a:gd name="connsiteX691" fmla="*/ 551814 w 914400"/>
                <a:gd name="connsiteY691" fmla="*/ 98075 h 638175"/>
                <a:gd name="connsiteX692" fmla="*/ 551814 w 914400"/>
                <a:gd name="connsiteY692" fmla="*/ 90695 h 638175"/>
                <a:gd name="connsiteX693" fmla="*/ 551814 w 914400"/>
                <a:gd name="connsiteY693" fmla="*/ 87004 h 638175"/>
                <a:gd name="connsiteX694" fmla="*/ 555500 w 914400"/>
                <a:gd name="connsiteY694" fmla="*/ 83313 h 638175"/>
                <a:gd name="connsiteX695" fmla="*/ 555500 w 914400"/>
                <a:gd name="connsiteY695" fmla="*/ 75932 h 638175"/>
                <a:gd name="connsiteX696" fmla="*/ 551814 w 914400"/>
                <a:gd name="connsiteY696" fmla="*/ 72242 h 638175"/>
                <a:gd name="connsiteX697" fmla="*/ 548118 w 914400"/>
                <a:gd name="connsiteY697" fmla="*/ 68551 h 638175"/>
                <a:gd name="connsiteX698" fmla="*/ 548118 w 914400"/>
                <a:gd name="connsiteY698" fmla="*/ 61170 h 638175"/>
                <a:gd name="connsiteX699" fmla="*/ 544432 w 914400"/>
                <a:gd name="connsiteY699" fmla="*/ 50098 h 638175"/>
                <a:gd name="connsiteX700" fmla="*/ 544432 w 914400"/>
                <a:gd name="connsiteY700" fmla="*/ 46407 h 638175"/>
                <a:gd name="connsiteX701" fmla="*/ 540746 w 914400"/>
                <a:gd name="connsiteY701" fmla="*/ 42717 h 638175"/>
                <a:gd name="connsiteX702" fmla="*/ 529678 w 914400"/>
                <a:gd name="connsiteY702" fmla="*/ 39026 h 638175"/>
                <a:gd name="connsiteX703" fmla="*/ 525982 w 914400"/>
                <a:gd name="connsiteY703" fmla="*/ 35335 h 638175"/>
                <a:gd name="connsiteX704" fmla="*/ 525982 w 914400"/>
                <a:gd name="connsiteY704" fmla="*/ 31645 h 638175"/>
                <a:gd name="connsiteX705" fmla="*/ 525982 w 914400"/>
                <a:gd name="connsiteY705" fmla="*/ 27954 h 638175"/>
                <a:gd name="connsiteX706" fmla="*/ 522296 w 914400"/>
                <a:gd name="connsiteY706" fmla="*/ 24264 h 638175"/>
                <a:gd name="connsiteX707" fmla="*/ 518610 w 914400"/>
                <a:gd name="connsiteY707" fmla="*/ 20573 h 638175"/>
                <a:gd name="connsiteX708" fmla="*/ 514924 w 914400"/>
                <a:gd name="connsiteY708" fmla="*/ 20573 h 638175"/>
                <a:gd name="connsiteX709" fmla="*/ 511228 w 914400"/>
                <a:gd name="connsiteY709" fmla="*/ 16882 h 638175"/>
                <a:gd name="connsiteX710" fmla="*/ 507542 w 914400"/>
                <a:gd name="connsiteY710" fmla="*/ 20573 h 638175"/>
                <a:gd name="connsiteX711" fmla="*/ 503856 w 914400"/>
                <a:gd name="connsiteY711" fmla="*/ 20573 h 638175"/>
                <a:gd name="connsiteX712" fmla="*/ 500160 w 914400"/>
                <a:gd name="connsiteY712" fmla="*/ 20573 h 638175"/>
                <a:gd name="connsiteX713" fmla="*/ 496474 w 914400"/>
                <a:gd name="connsiteY713" fmla="*/ 24264 h 638175"/>
                <a:gd name="connsiteX714" fmla="*/ 489092 w 914400"/>
                <a:gd name="connsiteY714" fmla="*/ 31645 h 638175"/>
                <a:gd name="connsiteX715" fmla="*/ 481720 w 914400"/>
                <a:gd name="connsiteY715" fmla="*/ 39026 h 638175"/>
                <a:gd name="connsiteX716" fmla="*/ 478024 w 914400"/>
                <a:gd name="connsiteY716" fmla="*/ 42717 h 638175"/>
                <a:gd name="connsiteX717" fmla="*/ 474338 w 914400"/>
                <a:gd name="connsiteY717" fmla="*/ 39026 h 638175"/>
                <a:gd name="connsiteX718" fmla="*/ 474338 w 914400"/>
                <a:gd name="connsiteY718" fmla="*/ 35335 h 638175"/>
                <a:gd name="connsiteX719" fmla="*/ 470652 w 914400"/>
                <a:gd name="connsiteY719" fmla="*/ 39026 h 638175"/>
                <a:gd name="connsiteX720" fmla="*/ 466956 w 914400"/>
                <a:gd name="connsiteY720" fmla="*/ 42717 h 638175"/>
                <a:gd name="connsiteX721" fmla="*/ 459583 w 914400"/>
                <a:gd name="connsiteY721" fmla="*/ 46407 h 638175"/>
                <a:gd name="connsiteX722" fmla="*/ 459583 w 914400"/>
                <a:gd name="connsiteY722" fmla="*/ 39026 h 638175"/>
                <a:gd name="connsiteX723" fmla="*/ 452202 w 914400"/>
                <a:gd name="connsiteY723" fmla="*/ 27954 h 638175"/>
                <a:gd name="connsiteX724" fmla="*/ 448516 w 914400"/>
                <a:gd name="connsiteY724" fmla="*/ 20573 h 638175"/>
                <a:gd name="connsiteX725" fmla="*/ 441134 w 914400"/>
                <a:gd name="connsiteY725" fmla="*/ 9502 h 638175"/>
                <a:gd name="connsiteX726" fmla="*/ 437447 w 914400"/>
                <a:gd name="connsiteY726" fmla="*/ 5812 h 638175"/>
                <a:gd name="connsiteX727" fmla="*/ 315699 w 914400"/>
                <a:gd name="connsiteY727" fmla="*/ 138675 h 638175"/>
                <a:gd name="connsiteX728" fmla="*/ 308326 w 914400"/>
                <a:gd name="connsiteY728" fmla="*/ 134979 h 638175"/>
                <a:gd name="connsiteX729" fmla="*/ 312013 w 914400"/>
                <a:gd name="connsiteY729" fmla="*/ 138675 h 638175"/>
                <a:gd name="connsiteX730" fmla="*/ 315699 w 914400"/>
                <a:gd name="connsiteY730" fmla="*/ 138675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Lst>
              <a:rect l="l" t="t" r="r" b="b"/>
              <a:pathLst>
                <a:path w="914400" h="638175">
                  <a:moveTo>
                    <a:pt x="437447" y="5812"/>
                  </a:moveTo>
                  <a:lnTo>
                    <a:pt x="430065" y="9502"/>
                  </a:lnTo>
                  <a:lnTo>
                    <a:pt x="430065" y="13193"/>
                  </a:lnTo>
                  <a:lnTo>
                    <a:pt x="426379" y="24264"/>
                  </a:lnTo>
                  <a:lnTo>
                    <a:pt x="422693" y="31645"/>
                  </a:lnTo>
                  <a:lnTo>
                    <a:pt x="422693" y="35335"/>
                  </a:lnTo>
                  <a:lnTo>
                    <a:pt x="422693" y="39026"/>
                  </a:lnTo>
                  <a:lnTo>
                    <a:pt x="418998" y="46407"/>
                  </a:lnTo>
                  <a:lnTo>
                    <a:pt x="418998" y="50098"/>
                  </a:lnTo>
                  <a:lnTo>
                    <a:pt x="418998" y="53789"/>
                  </a:lnTo>
                  <a:lnTo>
                    <a:pt x="415311" y="50098"/>
                  </a:lnTo>
                  <a:lnTo>
                    <a:pt x="415311" y="57479"/>
                  </a:lnTo>
                  <a:lnTo>
                    <a:pt x="411625" y="57479"/>
                  </a:lnTo>
                  <a:lnTo>
                    <a:pt x="411625" y="53789"/>
                  </a:lnTo>
                  <a:lnTo>
                    <a:pt x="411625" y="50098"/>
                  </a:lnTo>
                  <a:lnTo>
                    <a:pt x="407929" y="57479"/>
                  </a:lnTo>
                  <a:lnTo>
                    <a:pt x="407929" y="61170"/>
                  </a:lnTo>
                  <a:lnTo>
                    <a:pt x="411625" y="61170"/>
                  </a:lnTo>
                  <a:lnTo>
                    <a:pt x="411625" y="64860"/>
                  </a:lnTo>
                  <a:lnTo>
                    <a:pt x="407929" y="64860"/>
                  </a:lnTo>
                  <a:lnTo>
                    <a:pt x="411625" y="68551"/>
                  </a:lnTo>
                  <a:lnTo>
                    <a:pt x="407929" y="72242"/>
                  </a:lnTo>
                  <a:lnTo>
                    <a:pt x="404243" y="75932"/>
                  </a:lnTo>
                  <a:lnTo>
                    <a:pt x="393175" y="87004"/>
                  </a:lnTo>
                  <a:lnTo>
                    <a:pt x="385793" y="94385"/>
                  </a:lnTo>
                  <a:lnTo>
                    <a:pt x="378421" y="98075"/>
                  </a:lnTo>
                  <a:lnTo>
                    <a:pt x="378421" y="101766"/>
                  </a:lnTo>
                  <a:lnTo>
                    <a:pt x="374725" y="101766"/>
                  </a:lnTo>
                  <a:lnTo>
                    <a:pt x="371039" y="105456"/>
                  </a:lnTo>
                  <a:lnTo>
                    <a:pt x="367353" y="105456"/>
                  </a:lnTo>
                  <a:lnTo>
                    <a:pt x="363667" y="109147"/>
                  </a:lnTo>
                  <a:lnTo>
                    <a:pt x="363667" y="112837"/>
                  </a:lnTo>
                  <a:lnTo>
                    <a:pt x="359971" y="112837"/>
                  </a:lnTo>
                  <a:lnTo>
                    <a:pt x="359971" y="116528"/>
                  </a:lnTo>
                  <a:lnTo>
                    <a:pt x="356285" y="116528"/>
                  </a:lnTo>
                  <a:lnTo>
                    <a:pt x="352599" y="116528"/>
                  </a:lnTo>
                  <a:lnTo>
                    <a:pt x="345217" y="120218"/>
                  </a:lnTo>
                  <a:lnTo>
                    <a:pt x="341531" y="123909"/>
                  </a:lnTo>
                  <a:lnTo>
                    <a:pt x="337835" y="123909"/>
                  </a:lnTo>
                  <a:lnTo>
                    <a:pt x="334149" y="127597"/>
                  </a:lnTo>
                  <a:lnTo>
                    <a:pt x="326767" y="131293"/>
                  </a:lnTo>
                  <a:lnTo>
                    <a:pt x="323081" y="131293"/>
                  </a:lnTo>
                  <a:lnTo>
                    <a:pt x="319395" y="134979"/>
                  </a:lnTo>
                  <a:lnTo>
                    <a:pt x="315699" y="138675"/>
                  </a:lnTo>
                  <a:lnTo>
                    <a:pt x="315699" y="142361"/>
                  </a:lnTo>
                  <a:lnTo>
                    <a:pt x="312013" y="142361"/>
                  </a:lnTo>
                  <a:lnTo>
                    <a:pt x="308326" y="142361"/>
                  </a:lnTo>
                  <a:lnTo>
                    <a:pt x="308326" y="146057"/>
                  </a:lnTo>
                  <a:lnTo>
                    <a:pt x="308326" y="149743"/>
                  </a:lnTo>
                  <a:lnTo>
                    <a:pt x="304631" y="149743"/>
                  </a:lnTo>
                  <a:lnTo>
                    <a:pt x="304631" y="153439"/>
                  </a:lnTo>
                  <a:lnTo>
                    <a:pt x="300945" y="153439"/>
                  </a:lnTo>
                  <a:lnTo>
                    <a:pt x="300945" y="157125"/>
                  </a:lnTo>
                  <a:lnTo>
                    <a:pt x="297258" y="157125"/>
                  </a:lnTo>
                  <a:lnTo>
                    <a:pt x="297258" y="160811"/>
                  </a:lnTo>
                  <a:lnTo>
                    <a:pt x="289877" y="164507"/>
                  </a:lnTo>
                  <a:lnTo>
                    <a:pt x="286190" y="168193"/>
                  </a:lnTo>
                  <a:lnTo>
                    <a:pt x="282504" y="171889"/>
                  </a:lnTo>
                  <a:lnTo>
                    <a:pt x="282504" y="175575"/>
                  </a:lnTo>
                  <a:lnTo>
                    <a:pt x="278808" y="182957"/>
                  </a:lnTo>
                  <a:lnTo>
                    <a:pt x="278808" y="190338"/>
                  </a:lnTo>
                  <a:lnTo>
                    <a:pt x="275122" y="197720"/>
                  </a:lnTo>
                  <a:lnTo>
                    <a:pt x="275122" y="201407"/>
                  </a:lnTo>
                  <a:lnTo>
                    <a:pt x="271436" y="208788"/>
                  </a:lnTo>
                  <a:lnTo>
                    <a:pt x="267740" y="212484"/>
                  </a:lnTo>
                  <a:lnTo>
                    <a:pt x="252986" y="212484"/>
                  </a:lnTo>
                  <a:lnTo>
                    <a:pt x="249300" y="212484"/>
                  </a:lnTo>
                  <a:lnTo>
                    <a:pt x="241918" y="219866"/>
                  </a:lnTo>
                  <a:lnTo>
                    <a:pt x="238232" y="216170"/>
                  </a:lnTo>
                  <a:lnTo>
                    <a:pt x="234536" y="219866"/>
                  </a:lnTo>
                  <a:lnTo>
                    <a:pt x="223478" y="223552"/>
                  </a:lnTo>
                  <a:lnTo>
                    <a:pt x="216096" y="223552"/>
                  </a:lnTo>
                  <a:lnTo>
                    <a:pt x="212410" y="227248"/>
                  </a:lnTo>
                  <a:lnTo>
                    <a:pt x="205028" y="227248"/>
                  </a:lnTo>
                  <a:lnTo>
                    <a:pt x="201342" y="245698"/>
                  </a:lnTo>
                  <a:lnTo>
                    <a:pt x="201342" y="249384"/>
                  </a:lnTo>
                  <a:lnTo>
                    <a:pt x="208714" y="253080"/>
                  </a:lnTo>
                  <a:lnTo>
                    <a:pt x="208714" y="249384"/>
                  </a:lnTo>
                  <a:lnTo>
                    <a:pt x="223478" y="260461"/>
                  </a:lnTo>
                  <a:lnTo>
                    <a:pt x="223478" y="264148"/>
                  </a:lnTo>
                  <a:lnTo>
                    <a:pt x="223478" y="267843"/>
                  </a:lnTo>
                  <a:lnTo>
                    <a:pt x="223478" y="271530"/>
                  </a:lnTo>
                  <a:lnTo>
                    <a:pt x="223478" y="275225"/>
                  </a:lnTo>
                  <a:lnTo>
                    <a:pt x="223478" y="286293"/>
                  </a:lnTo>
                  <a:lnTo>
                    <a:pt x="227164" y="289989"/>
                  </a:lnTo>
                  <a:lnTo>
                    <a:pt x="245604" y="289989"/>
                  </a:lnTo>
                  <a:lnTo>
                    <a:pt x="245604" y="293675"/>
                  </a:lnTo>
                  <a:lnTo>
                    <a:pt x="241918" y="293675"/>
                  </a:lnTo>
                  <a:lnTo>
                    <a:pt x="245604" y="297361"/>
                  </a:lnTo>
                  <a:lnTo>
                    <a:pt x="245604" y="301057"/>
                  </a:lnTo>
                  <a:lnTo>
                    <a:pt x="245604" y="304743"/>
                  </a:lnTo>
                  <a:lnTo>
                    <a:pt x="249300" y="304743"/>
                  </a:lnTo>
                  <a:lnTo>
                    <a:pt x="252986" y="304743"/>
                  </a:lnTo>
                  <a:lnTo>
                    <a:pt x="252986" y="312125"/>
                  </a:lnTo>
                  <a:lnTo>
                    <a:pt x="260368" y="312125"/>
                  </a:lnTo>
                  <a:lnTo>
                    <a:pt x="260368" y="315821"/>
                  </a:lnTo>
                  <a:lnTo>
                    <a:pt x="260368" y="319507"/>
                  </a:lnTo>
                  <a:lnTo>
                    <a:pt x="252986" y="319507"/>
                  </a:lnTo>
                  <a:lnTo>
                    <a:pt x="252986" y="323203"/>
                  </a:lnTo>
                  <a:lnTo>
                    <a:pt x="252986" y="326889"/>
                  </a:lnTo>
                  <a:lnTo>
                    <a:pt x="256672" y="326889"/>
                  </a:lnTo>
                  <a:lnTo>
                    <a:pt x="256672" y="330585"/>
                  </a:lnTo>
                  <a:lnTo>
                    <a:pt x="252986" y="330585"/>
                  </a:lnTo>
                  <a:lnTo>
                    <a:pt x="249300" y="330585"/>
                  </a:lnTo>
                  <a:lnTo>
                    <a:pt x="249300" y="334271"/>
                  </a:lnTo>
                  <a:lnTo>
                    <a:pt x="245604" y="337966"/>
                  </a:lnTo>
                  <a:lnTo>
                    <a:pt x="245604" y="345339"/>
                  </a:lnTo>
                  <a:lnTo>
                    <a:pt x="245604" y="349035"/>
                  </a:lnTo>
                  <a:lnTo>
                    <a:pt x="241918" y="352721"/>
                  </a:lnTo>
                  <a:lnTo>
                    <a:pt x="238232" y="356416"/>
                  </a:lnTo>
                  <a:lnTo>
                    <a:pt x="234536" y="356416"/>
                  </a:lnTo>
                  <a:lnTo>
                    <a:pt x="234536" y="360103"/>
                  </a:lnTo>
                  <a:lnTo>
                    <a:pt x="238232" y="363798"/>
                  </a:lnTo>
                  <a:lnTo>
                    <a:pt x="245604" y="367484"/>
                  </a:lnTo>
                  <a:lnTo>
                    <a:pt x="249300" y="367484"/>
                  </a:lnTo>
                  <a:lnTo>
                    <a:pt x="252986" y="367484"/>
                  </a:lnTo>
                  <a:lnTo>
                    <a:pt x="256672" y="363798"/>
                  </a:lnTo>
                  <a:lnTo>
                    <a:pt x="260368" y="360103"/>
                  </a:lnTo>
                  <a:lnTo>
                    <a:pt x="264054" y="360103"/>
                  </a:lnTo>
                  <a:lnTo>
                    <a:pt x="267740" y="356416"/>
                  </a:lnTo>
                  <a:lnTo>
                    <a:pt x="267740" y="352721"/>
                  </a:lnTo>
                  <a:lnTo>
                    <a:pt x="271436" y="352721"/>
                  </a:lnTo>
                  <a:lnTo>
                    <a:pt x="271436" y="349035"/>
                  </a:lnTo>
                  <a:lnTo>
                    <a:pt x="271436" y="345339"/>
                  </a:lnTo>
                  <a:lnTo>
                    <a:pt x="267740" y="341653"/>
                  </a:lnTo>
                  <a:lnTo>
                    <a:pt x="278808" y="337966"/>
                  </a:lnTo>
                  <a:lnTo>
                    <a:pt x="282504" y="345339"/>
                  </a:lnTo>
                  <a:lnTo>
                    <a:pt x="282504" y="349035"/>
                  </a:lnTo>
                  <a:lnTo>
                    <a:pt x="282504" y="352721"/>
                  </a:lnTo>
                  <a:lnTo>
                    <a:pt x="282504" y="356416"/>
                  </a:lnTo>
                  <a:lnTo>
                    <a:pt x="286190" y="360103"/>
                  </a:lnTo>
                  <a:lnTo>
                    <a:pt x="282504" y="363798"/>
                  </a:lnTo>
                  <a:lnTo>
                    <a:pt x="282504" y="367484"/>
                  </a:lnTo>
                  <a:lnTo>
                    <a:pt x="282504" y="385944"/>
                  </a:lnTo>
                  <a:lnTo>
                    <a:pt x="289877" y="385944"/>
                  </a:lnTo>
                  <a:lnTo>
                    <a:pt x="289877" y="389630"/>
                  </a:lnTo>
                  <a:lnTo>
                    <a:pt x="286190" y="389630"/>
                  </a:lnTo>
                  <a:lnTo>
                    <a:pt x="297258" y="397012"/>
                  </a:lnTo>
                  <a:lnTo>
                    <a:pt x="297258" y="408080"/>
                  </a:lnTo>
                  <a:lnTo>
                    <a:pt x="297258" y="411776"/>
                  </a:lnTo>
                  <a:lnTo>
                    <a:pt x="297258" y="415462"/>
                  </a:lnTo>
                  <a:lnTo>
                    <a:pt x="297258" y="419158"/>
                  </a:lnTo>
                  <a:lnTo>
                    <a:pt x="300945" y="422844"/>
                  </a:lnTo>
                  <a:lnTo>
                    <a:pt x="304631" y="426539"/>
                  </a:lnTo>
                  <a:lnTo>
                    <a:pt x="308326" y="426539"/>
                  </a:lnTo>
                  <a:lnTo>
                    <a:pt x="308326" y="430226"/>
                  </a:lnTo>
                  <a:lnTo>
                    <a:pt x="312013" y="437607"/>
                  </a:lnTo>
                  <a:lnTo>
                    <a:pt x="312013" y="441294"/>
                  </a:lnTo>
                  <a:lnTo>
                    <a:pt x="315699" y="444989"/>
                  </a:lnTo>
                  <a:lnTo>
                    <a:pt x="312013" y="448676"/>
                  </a:lnTo>
                  <a:lnTo>
                    <a:pt x="315699" y="452371"/>
                  </a:lnTo>
                  <a:lnTo>
                    <a:pt x="315699" y="456057"/>
                  </a:lnTo>
                  <a:lnTo>
                    <a:pt x="315699" y="459753"/>
                  </a:lnTo>
                  <a:lnTo>
                    <a:pt x="312013" y="463439"/>
                  </a:lnTo>
                  <a:lnTo>
                    <a:pt x="304631" y="467135"/>
                  </a:lnTo>
                  <a:lnTo>
                    <a:pt x="297258" y="463439"/>
                  </a:lnTo>
                  <a:lnTo>
                    <a:pt x="286190" y="459753"/>
                  </a:lnTo>
                  <a:lnTo>
                    <a:pt x="278808" y="456057"/>
                  </a:lnTo>
                  <a:lnTo>
                    <a:pt x="275122" y="448676"/>
                  </a:lnTo>
                  <a:lnTo>
                    <a:pt x="271436" y="448676"/>
                  </a:lnTo>
                  <a:lnTo>
                    <a:pt x="267740" y="448676"/>
                  </a:lnTo>
                  <a:lnTo>
                    <a:pt x="264054" y="444989"/>
                  </a:lnTo>
                  <a:lnTo>
                    <a:pt x="260368" y="444989"/>
                  </a:lnTo>
                  <a:lnTo>
                    <a:pt x="252986" y="441294"/>
                  </a:lnTo>
                  <a:lnTo>
                    <a:pt x="249300" y="437607"/>
                  </a:lnTo>
                  <a:lnTo>
                    <a:pt x="245604" y="437607"/>
                  </a:lnTo>
                  <a:lnTo>
                    <a:pt x="241918" y="437607"/>
                  </a:lnTo>
                  <a:lnTo>
                    <a:pt x="230850" y="437607"/>
                  </a:lnTo>
                  <a:lnTo>
                    <a:pt x="227164" y="433921"/>
                  </a:lnTo>
                  <a:lnTo>
                    <a:pt x="223478" y="433921"/>
                  </a:lnTo>
                  <a:lnTo>
                    <a:pt x="219782" y="437607"/>
                  </a:lnTo>
                  <a:lnTo>
                    <a:pt x="216096" y="441294"/>
                  </a:lnTo>
                  <a:lnTo>
                    <a:pt x="212410" y="441294"/>
                  </a:lnTo>
                  <a:lnTo>
                    <a:pt x="205028" y="444989"/>
                  </a:lnTo>
                  <a:lnTo>
                    <a:pt x="201342" y="444989"/>
                  </a:lnTo>
                  <a:lnTo>
                    <a:pt x="197646" y="448676"/>
                  </a:lnTo>
                  <a:lnTo>
                    <a:pt x="193960" y="448676"/>
                  </a:lnTo>
                  <a:lnTo>
                    <a:pt x="186578" y="444989"/>
                  </a:lnTo>
                  <a:lnTo>
                    <a:pt x="182892" y="448676"/>
                  </a:lnTo>
                  <a:lnTo>
                    <a:pt x="179206" y="448676"/>
                  </a:lnTo>
                  <a:lnTo>
                    <a:pt x="175510" y="452371"/>
                  </a:lnTo>
                  <a:lnTo>
                    <a:pt x="175510" y="456057"/>
                  </a:lnTo>
                  <a:lnTo>
                    <a:pt x="171824" y="456057"/>
                  </a:lnTo>
                  <a:lnTo>
                    <a:pt x="168138" y="459753"/>
                  </a:lnTo>
                  <a:lnTo>
                    <a:pt x="164442" y="459753"/>
                  </a:lnTo>
                  <a:lnTo>
                    <a:pt x="160756" y="456057"/>
                  </a:lnTo>
                  <a:lnTo>
                    <a:pt x="157069" y="452371"/>
                  </a:lnTo>
                  <a:lnTo>
                    <a:pt x="146001" y="452371"/>
                  </a:lnTo>
                  <a:lnTo>
                    <a:pt x="142315" y="452371"/>
                  </a:lnTo>
                  <a:lnTo>
                    <a:pt x="134933" y="444989"/>
                  </a:lnTo>
                  <a:lnTo>
                    <a:pt x="127554" y="441294"/>
                  </a:lnTo>
                  <a:lnTo>
                    <a:pt x="123865" y="441294"/>
                  </a:lnTo>
                  <a:lnTo>
                    <a:pt x="120176" y="441294"/>
                  </a:lnTo>
                  <a:lnTo>
                    <a:pt x="120176" y="448676"/>
                  </a:lnTo>
                  <a:lnTo>
                    <a:pt x="116487" y="452371"/>
                  </a:lnTo>
                  <a:lnTo>
                    <a:pt x="112798" y="456057"/>
                  </a:lnTo>
                  <a:lnTo>
                    <a:pt x="109108" y="456057"/>
                  </a:lnTo>
                  <a:lnTo>
                    <a:pt x="105419" y="456057"/>
                  </a:lnTo>
                  <a:lnTo>
                    <a:pt x="101730" y="452371"/>
                  </a:lnTo>
                  <a:lnTo>
                    <a:pt x="98041" y="448676"/>
                  </a:lnTo>
                  <a:lnTo>
                    <a:pt x="94352" y="456057"/>
                  </a:lnTo>
                  <a:lnTo>
                    <a:pt x="90663" y="467135"/>
                  </a:lnTo>
                  <a:lnTo>
                    <a:pt x="83284" y="474517"/>
                  </a:lnTo>
                  <a:lnTo>
                    <a:pt x="79595" y="478203"/>
                  </a:lnTo>
                  <a:lnTo>
                    <a:pt x="83284" y="478203"/>
                  </a:lnTo>
                  <a:lnTo>
                    <a:pt x="79595" y="481899"/>
                  </a:lnTo>
                  <a:lnTo>
                    <a:pt x="75906" y="489271"/>
                  </a:lnTo>
                  <a:lnTo>
                    <a:pt x="72217" y="489271"/>
                  </a:lnTo>
                  <a:lnTo>
                    <a:pt x="72217" y="492967"/>
                  </a:lnTo>
                  <a:lnTo>
                    <a:pt x="68528" y="504035"/>
                  </a:lnTo>
                  <a:lnTo>
                    <a:pt x="64839" y="507730"/>
                  </a:lnTo>
                  <a:lnTo>
                    <a:pt x="64839" y="511417"/>
                  </a:lnTo>
                  <a:lnTo>
                    <a:pt x="61149" y="511417"/>
                  </a:lnTo>
                  <a:lnTo>
                    <a:pt x="53771" y="511417"/>
                  </a:lnTo>
                  <a:lnTo>
                    <a:pt x="50082" y="511417"/>
                  </a:lnTo>
                  <a:lnTo>
                    <a:pt x="50082" y="518799"/>
                  </a:lnTo>
                  <a:lnTo>
                    <a:pt x="46393" y="522494"/>
                  </a:lnTo>
                  <a:lnTo>
                    <a:pt x="42704" y="522494"/>
                  </a:lnTo>
                  <a:lnTo>
                    <a:pt x="39014" y="522494"/>
                  </a:lnTo>
                  <a:lnTo>
                    <a:pt x="35325" y="522494"/>
                  </a:lnTo>
                  <a:lnTo>
                    <a:pt x="35325" y="526180"/>
                  </a:lnTo>
                  <a:lnTo>
                    <a:pt x="35325" y="529876"/>
                  </a:lnTo>
                  <a:lnTo>
                    <a:pt x="39014" y="533562"/>
                  </a:lnTo>
                  <a:lnTo>
                    <a:pt x="39014" y="537248"/>
                  </a:lnTo>
                  <a:lnTo>
                    <a:pt x="35325" y="537248"/>
                  </a:lnTo>
                  <a:lnTo>
                    <a:pt x="31636" y="533562"/>
                  </a:lnTo>
                  <a:lnTo>
                    <a:pt x="20569" y="537248"/>
                  </a:lnTo>
                  <a:lnTo>
                    <a:pt x="16879" y="533562"/>
                  </a:lnTo>
                  <a:lnTo>
                    <a:pt x="9501" y="537248"/>
                  </a:lnTo>
                  <a:lnTo>
                    <a:pt x="5812" y="533562"/>
                  </a:lnTo>
                  <a:lnTo>
                    <a:pt x="5812" y="537248"/>
                  </a:lnTo>
                  <a:lnTo>
                    <a:pt x="5812" y="540944"/>
                  </a:lnTo>
                  <a:lnTo>
                    <a:pt x="9501" y="544630"/>
                  </a:lnTo>
                  <a:lnTo>
                    <a:pt x="5812" y="544630"/>
                  </a:lnTo>
                  <a:lnTo>
                    <a:pt x="9501" y="548326"/>
                  </a:lnTo>
                  <a:lnTo>
                    <a:pt x="13190" y="548326"/>
                  </a:lnTo>
                  <a:lnTo>
                    <a:pt x="16879" y="548326"/>
                  </a:lnTo>
                  <a:lnTo>
                    <a:pt x="24258" y="548326"/>
                  </a:lnTo>
                  <a:lnTo>
                    <a:pt x="20569" y="563090"/>
                  </a:lnTo>
                  <a:lnTo>
                    <a:pt x="20569" y="566776"/>
                  </a:lnTo>
                  <a:lnTo>
                    <a:pt x="13190" y="566776"/>
                  </a:lnTo>
                  <a:lnTo>
                    <a:pt x="13190" y="570472"/>
                  </a:lnTo>
                  <a:lnTo>
                    <a:pt x="13190" y="574158"/>
                  </a:lnTo>
                  <a:lnTo>
                    <a:pt x="16879" y="574158"/>
                  </a:lnTo>
                  <a:lnTo>
                    <a:pt x="20569" y="577854"/>
                  </a:lnTo>
                  <a:lnTo>
                    <a:pt x="27947" y="581540"/>
                  </a:lnTo>
                  <a:lnTo>
                    <a:pt x="31636" y="585226"/>
                  </a:lnTo>
                  <a:lnTo>
                    <a:pt x="35325" y="585226"/>
                  </a:lnTo>
                  <a:lnTo>
                    <a:pt x="35325" y="588922"/>
                  </a:lnTo>
                  <a:lnTo>
                    <a:pt x="39014" y="592608"/>
                  </a:lnTo>
                  <a:lnTo>
                    <a:pt x="39014" y="596303"/>
                  </a:lnTo>
                  <a:lnTo>
                    <a:pt x="42704" y="596303"/>
                  </a:lnTo>
                  <a:lnTo>
                    <a:pt x="42704" y="599990"/>
                  </a:lnTo>
                  <a:lnTo>
                    <a:pt x="46393" y="599990"/>
                  </a:lnTo>
                  <a:lnTo>
                    <a:pt x="50082" y="596303"/>
                  </a:lnTo>
                  <a:lnTo>
                    <a:pt x="53771" y="592608"/>
                  </a:lnTo>
                  <a:lnTo>
                    <a:pt x="57460" y="592608"/>
                  </a:lnTo>
                  <a:lnTo>
                    <a:pt x="61149" y="596303"/>
                  </a:lnTo>
                  <a:lnTo>
                    <a:pt x="64839" y="599990"/>
                  </a:lnTo>
                  <a:lnTo>
                    <a:pt x="75906" y="603685"/>
                  </a:lnTo>
                  <a:lnTo>
                    <a:pt x="75906" y="607372"/>
                  </a:lnTo>
                  <a:lnTo>
                    <a:pt x="75906" y="611067"/>
                  </a:lnTo>
                  <a:lnTo>
                    <a:pt x="75906" y="614753"/>
                  </a:lnTo>
                  <a:lnTo>
                    <a:pt x="79595" y="618449"/>
                  </a:lnTo>
                  <a:lnTo>
                    <a:pt x="75906" y="622135"/>
                  </a:lnTo>
                  <a:lnTo>
                    <a:pt x="72217" y="625831"/>
                  </a:lnTo>
                  <a:lnTo>
                    <a:pt x="68528" y="625831"/>
                  </a:lnTo>
                  <a:lnTo>
                    <a:pt x="68528" y="629517"/>
                  </a:lnTo>
                  <a:lnTo>
                    <a:pt x="72217" y="633203"/>
                  </a:lnTo>
                  <a:lnTo>
                    <a:pt x="79595" y="629517"/>
                  </a:lnTo>
                  <a:lnTo>
                    <a:pt x="86973" y="629517"/>
                  </a:lnTo>
                  <a:lnTo>
                    <a:pt x="94352" y="629517"/>
                  </a:lnTo>
                  <a:lnTo>
                    <a:pt x="98041" y="629517"/>
                  </a:lnTo>
                  <a:lnTo>
                    <a:pt x="105419" y="629517"/>
                  </a:lnTo>
                  <a:lnTo>
                    <a:pt x="109108" y="629517"/>
                  </a:lnTo>
                  <a:lnTo>
                    <a:pt x="112798" y="629517"/>
                  </a:lnTo>
                  <a:lnTo>
                    <a:pt x="116487" y="625831"/>
                  </a:lnTo>
                  <a:lnTo>
                    <a:pt x="120176" y="629517"/>
                  </a:lnTo>
                  <a:lnTo>
                    <a:pt x="127554" y="633203"/>
                  </a:lnTo>
                  <a:lnTo>
                    <a:pt x="131243" y="636899"/>
                  </a:lnTo>
                  <a:lnTo>
                    <a:pt x="134933" y="633203"/>
                  </a:lnTo>
                  <a:lnTo>
                    <a:pt x="138620" y="629517"/>
                  </a:lnTo>
                  <a:lnTo>
                    <a:pt x="146001" y="629517"/>
                  </a:lnTo>
                  <a:lnTo>
                    <a:pt x="153383" y="633203"/>
                  </a:lnTo>
                  <a:lnTo>
                    <a:pt x="157069" y="633203"/>
                  </a:lnTo>
                  <a:lnTo>
                    <a:pt x="157069" y="629517"/>
                  </a:lnTo>
                  <a:lnTo>
                    <a:pt x="164442" y="625831"/>
                  </a:lnTo>
                  <a:lnTo>
                    <a:pt x="182892" y="618449"/>
                  </a:lnTo>
                  <a:lnTo>
                    <a:pt x="182892" y="614753"/>
                  </a:lnTo>
                  <a:lnTo>
                    <a:pt x="186578" y="614753"/>
                  </a:lnTo>
                  <a:lnTo>
                    <a:pt x="186578" y="607372"/>
                  </a:lnTo>
                  <a:lnTo>
                    <a:pt x="186578" y="599990"/>
                  </a:lnTo>
                  <a:lnTo>
                    <a:pt x="190274" y="592608"/>
                  </a:lnTo>
                  <a:lnTo>
                    <a:pt x="190274" y="588922"/>
                  </a:lnTo>
                  <a:lnTo>
                    <a:pt x="197646" y="577854"/>
                  </a:lnTo>
                  <a:lnTo>
                    <a:pt x="201342" y="574158"/>
                  </a:lnTo>
                  <a:lnTo>
                    <a:pt x="205028" y="570472"/>
                  </a:lnTo>
                  <a:lnTo>
                    <a:pt x="205028" y="566776"/>
                  </a:lnTo>
                  <a:lnTo>
                    <a:pt x="208714" y="563090"/>
                  </a:lnTo>
                  <a:lnTo>
                    <a:pt x="212410" y="563090"/>
                  </a:lnTo>
                  <a:lnTo>
                    <a:pt x="212410" y="566776"/>
                  </a:lnTo>
                  <a:lnTo>
                    <a:pt x="216096" y="570472"/>
                  </a:lnTo>
                  <a:lnTo>
                    <a:pt x="219782" y="574158"/>
                  </a:lnTo>
                  <a:lnTo>
                    <a:pt x="223478" y="574158"/>
                  </a:lnTo>
                  <a:lnTo>
                    <a:pt x="230850" y="574158"/>
                  </a:lnTo>
                  <a:lnTo>
                    <a:pt x="238232" y="574158"/>
                  </a:lnTo>
                  <a:lnTo>
                    <a:pt x="241918" y="570472"/>
                  </a:lnTo>
                  <a:lnTo>
                    <a:pt x="245604" y="563090"/>
                  </a:lnTo>
                  <a:lnTo>
                    <a:pt x="245604" y="559394"/>
                  </a:lnTo>
                  <a:lnTo>
                    <a:pt x="249300" y="559394"/>
                  </a:lnTo>
                  <a:lnTo>
                    <a:pt x="252986" y="559394"/>
                  </a:lnTo>
                  <a:lnTo>
                    <a:pt x="256672" y="559394"/>
                  </a:lnTo>
                  <a:lnTo>
                    <a:pt x="260368" y="563090"/>
                  </a:lnTo>
                  <a:lnTo>
                    <a:pt x="260368" y="566776"/>
                  </a:lnTo>
                  <a:lnTo>
                    <a:pt x="264054" y="566776"/>
                  </a:lnTo>
                  <a:lnTo>
                    <a:pt x="267740" y="566776"/>
                  </a:lnTo>
                  <a:lnTo>
                    <a:pt x="271436" y="570472"/>
                  </a:lnTo>
                  <a:lnTo>
                    <a:pt x="275122" y="570472"/>
                  </a:lnTo>
                  <a:lnTo>
                    <a:pt x="278808" y="566776"/>
                  </a:lnTo>
                  <a:lnTo>
                    <a:pt x="278808" y="563090"/>
                  </a:lnTo>
                  <a:lnTo>
                    <a:pt x="282504" y="559394"/>
                  </a:lnTo>
                  <a:lnTo>
                    <a:pt x="286190" y="559394"/>
                  </a:lnTo>
                  <a:lnTo>
                    <a:pt x="293572" y="559394"/>
                  </a:lnTo>
                  <a:lnTo>
                    <a:pt x="297258" y="559394"/>
                  </a:lnTo>
                  <a:lnTo>
                    <a:pt x="300945" y="559394"/>
                  </a:lnTo>
                  <a:lnTo>
                    <a:pt x="308326" y="563090"/>
                  </a:lnTo>
                  <a:lnTo>
                    <a:pt x="312013" y="566776"/>
                  </a:lnTo>
                  <a:lnTo>
                    <a:pt x="315699" y="566776"/>
                  </a:lnTo>
                  <a:lnTo>
                    <a:pt x="323081" y="566776"/>
                  </a:lnTo>
                  <a:lnTo>
                    <a:pt x="326767" y="570472"/>
                  </a:lnTo>
                  <a:lnTo>
                    <a:pt x="326767" y="577854"/>
                  </a:lnTo>
                  <a:lnTo>
                    <a:pt x="330463" y="581540"/>
                  </a:lnTo>
                  <a:lnTo>
                    <a:pt x="334149" y="585226"/>
                  </a:lnTo>
                  <a:lnTo>
                    <a:pt x="337835" y="588922"/>
                  </a:lnTo>
                  <a:lnTo>
                    <a:pt x="341531" y="588922"/>
                  </a:lnTo>
                  <a:lnTo>
                    <a:pt x="345217" y="588922"/>
                  </a:lnTo>
                  <a:lnTo>
                    <a:pt x="348903" y="592608"/>
                  </a:lnTo>
                  <a:lnTo>
                    <a:pt x="352599" y="592608"/>
                  </a:lnTo>
                  <a:lnTo>
                    <a:pt x="352599" y="599990"/>
                  </a:lnTo>
                  <a:lnTo>
                    <a:pt x="356285" y="599990"/>
                  </a:lnTo>
                  <a:lnTo>
                    <a:pt x="359971" y="603685"/>
                  </a:lnTo>
                  <a:lnTo>
                    <a:pt x="363667" y="603685"/>
                  </a:lnTo>
                  <a:lnTo>
                    <a:pt x="367353" y="603685"/>
                  </a:lnTo>
                  <a:lnTo>
                    <a:pt x="371039" y="607372"/>
                  </a:lnTo>
                  <a:lnTo>
                    <a:pt x="374725" y="611067"/>
                  </a:lnTo>
                  <a:lnTo>
                    <a:pt x="374725" y="614753"/>
                  </a:lnTo>
                  <a:lnTo>
                    <a:pt x="378421" y="618449"/>
                  </a:lnTo>
                  <a:lnTo>
                    <a:pt x="382107" y="618449"/>
                  </a:lnTo>
                  <a:lnTo>
                    <a:pt x="385793" y="618449"/>
                  </a:lnTo>
                  <a:lnTo>
                    <a:pt x="393175" y="618449"/>
                  </a:lnTo>
                  <a:lnTo>
                    <a:pt x="396861" y="618449"/>
                  </a:lnTo>
                  <a:lnTo>
                    <a:pt x="407929" y="614753"/>
                  </a:lnTo>
                  <a:lnTo>
                    <a:pt x="411625" y="614753"/>
                  </a:lnTo>
                  <a:lnTo>
                    <a:pt x="422693" y="614753"/>
                  </a:lnTo>
                  <a:lnTo>
                    <a:pt x="430065" y="614753"/>
                  </a:lnTo>
                  <a:lnTo>
                    <a:pt x="433761" y="614753"/>
                  </a:lnTo>
                  <a:lnTo>
                    <a:pt x="437447" y="614753"/>
                  </a:lnTo>
                  <a:lnTo>
                    <a:pt x="437447" y="611067"/>
                  </a:lnTo>
                  <a:lnTo>
                    <a:pt x="437447" y="607372"/>
                  </a:lnTo>
                  <a:lnTo>
                    <a:pt x="433761" y="603685"/>
                  </a:lnTo>
                  <a:lnTo>
                    <a:pt x="437447" y="599990"/>
                  </a:lnTo>
                  <a:lnTo>
                    <a:pt x="444820" y="599990"/>
                  </a:lnTo>
                  <a:lnTo>
                    <a:pt x="448516" y="599990"/>
                  </a:lnTo>
                  <a:lnTo>
                    <a:pt x="452202" y="603685"/>
                  </a:lnTo>
                  <a:lnTo>
                    <a:pt x="455888" y="607372"/>
                  </a:lnTo>
                  <a:lnTo>
                    <a:pt x="455888" y="611067"/>
                  </a:lnTo>
                  <a:lnTo>
                    <a:pt x="459583" y="614753"/>
                  </a:lnTo>
                  <a:lnTo>
                    <a:pt x="459583" y="618449"/>
                  </a:lnTo>
                  <a:lnTo>
                    <a:pt x="463270" y="622135"/>
                  </a:lnTo>
                  <a:lnTo>
                    <a:pt x="466956" y="622135"/>
                  </a:lnTo>
                  <a:lnTo>
                    <a:pt x="466956" y="625831"/>
                  </a:lnTo>
                  <a:lnTo>
                    <a:pt x="470652" y="629517"/>
                  </a:lnTo>
                  <a:lnTo>
                    <a:pt x="474338" y="629517"/>
                  </a:lnTo>
                  <a:lnTo>
                    <a:pt x="478024" y="625831"/>
                  </a:lnTo>
                  <a:lnTo>
                    <a:pt x="478024" y="622135"/>
                  </a:lnTo>
                  <a:lnTo>
                    <a:pt x="481720" y="618449"/>
                  </a:lnTo>
                  <a:lnTo>
                    <a:pt x="489092" y="614753"/>
                  </a:lnTo>
                  <a:lnTo>
                    <a:pt x="492788" y="614753"/>
                  </a:lnTo>
                  <a:lnTo>
                    <a:pt x="496474" y="607372"/>
                  </a:lnTo>
                  <a:lnTo>
                    <a:pt x="496474" y="603685"/>
                  </a:lnTo>
                  <a:lnTo>
                    <a:pt x="492788" y="603685"/>
                  </a:lnTo>
                  <a:lnTo>
                    <a:pt x="492788" y="596303"/>
                  </a:lnTo>
                  <a:lnTo>
                    <a:pt x="496474" y="596303"/>
                  </a:lnTo>
                  <a:lnTo>
                    <a:pt x="492788" y="592608"/>
                  </a:lnTo>
                  <a:lnTo>
                    <a:pt x="489092" y="592608"/>
                  </a:lnTo>
                  <a:lnTo>
                    <a:pt x="489092" y="588922"/>
                  </a:lnTo>
                  <a:lnTo>
                    <a:pt x="489092" y="585226"/>
                  </a:lnTo>
                  <a:lnTo>
                    <a:pt x="489092" y="581540"/>
                  </a:lnTo>
                  <a:lnTo>
                    <a:pt x="481720" y="574158"/>
                  </a:lnTo>
                  <a:lnTo>
                    <a:pt x="478024" y="574158"/>
                  </a:lnTo>
                  <a:lnTo>
                    <a:pt x="474338" y="574158"/>
                  </a:lnTo>
                  <a:lnTo>
                    <a:pt x="474338" y="570472"/>
                  </a:lnTo>
                  <a:lnTo>
                    <a:pt x="478024" y="566776"/>
                  </a:lnTo>
                  <a:lnTo>
                    <a:pt x="481720" y="566776"/>
                  </a:lnTo>
                  <a:lnTo>
                    <a:pt x="474338" y="563090"/>
                  </a:lnTo>
                  <a:lnTo>
                    <a:pt x="481720" y="552012"/>
                  </a:lnTo>
                  <a:lnTo>
                    <a:pt x="485406" y="552012"/>
                  </a:lnTo>
                  <a:lnTo>
                    <a:pt x="485406" y="555708"/>
                  </a:lnTo>
                  <a:lnTo>
                    <a:pt x="492788" y="555708"/>
                  </a:lnTo>
                  <a:lnTo>
                    <a:pt x="496474" y="555708"/>
                  </a:lnTo>
                  <a:lnTo>
                    <a:pt x="503856" y="552012"/>
                  </a:lnTo>
                  <a:lnTo>
                    <a:pt x="507542" y="552012"/>
                  </a:lnTo>
                  <a:lnTo>
                    <a:pt x="511228" y="548326"/>
                  </a:lnTo>
                  <a:lnTo>
                    <a:pt x="514924" y="544630"/>
                  </a:lnTo>
                  <a:lnTo>
                    <a:pt x="518610" y="548326"/>
                  </a:lnTo>
                  <a:lnTo>
                    <a:pt x="522296" y="544630"/>
                  </a:lnTo>
                  <a:lnTo>
                    <a:pt x="525982" y="540944"/>
                  </a:lnTo>
                  <a:lnTo>
                    <a:pt x="529678" y="540944"/>
                  </a:lnTo>
                  <a:lnTo>
                    <a:pt x="525982" y="537248"/>
                  </a:lnTo>
                  <a:lnTo>
                    <a:pt x="529678" y="533562"/>
                  </a:lnTo>
                  <a:lnTo>
                    <a:pt x="533364" y="529876"/>
                  </a:lnTo>
                  <a:lnTo>
                    <a:pt x="537050" y="533562"/>
                  </a:lnTo>
                  <a:lnTo>
                    <a:pt x="544432" y="540944"/>
                  </a:lnTo>
                  <a:lnTo>
                    <a:pt x="548118" y="540944"/>
                  </a:lnTo>
                  <a:lnTo>
                    <a:pt x="551814" y="540944"/>
                  </a:lnTo>
                  <a:lnTo>
                    <a:pt x="566568" y="544630"/>
                  </a:lnTo>
                  <a:lnTo>
                    <a:pt x="577636" y="544630"/>
                  </a:lnTo>
                  <a:lnTo>
                    <a:pt x="581323" y="548326"/>
                  </a:lnTo>
                  <a:lnTo>
                    <a:pt x="581323" y="540944"/>
                  </a:lnTo>
                  <a:lnTo>
                    <a:pt x="581323" y="537248"/>
                  </a:lnTo>
                  <a:lnTo>
                    <a:pt x="581323" y="533562"/>
                  </a:lnTo>
                  <a:lnTo>
                    <a:pt x="581323" y="529876"/>
                  </a:lnTo>
                  <a:lnTo>
                    <a:pt x="573950" y="526180"/>
                  </a:lnTo>
                  <a:lnTo>
                    <a:pt x="570254" y="526180"/>
                  </a:lnTo>
                  <a:lnTo>
                    <a:pt x="570254" y="522494"/>
                  </a:lnTo>
                  <a:lnTo>
                    <a:pt x="570254" y="518799"/>
                  </a:lnTo>
                  <a:lnTo>
                    <a:pt x="566568" y="511417"/>
                  </a:lnTo>
                  <a:lnTo>
                    <a:pt x="562882" y="507730"/>
                  </a:lnTo>
                  <a:lnTo>
                    <a:pt x="555500" y="507730"/>
                  </a:lnTo>
                  <a:lnTo>
                    <a:pt x="551814" y="507730"/>
                  </a:lnTo>
                  <a:lnTo>
                    <a:pt x="555500" y="504035"/>
                  </a:lnTo>
                  <a:lnTo>
                    <a:pt x="555500" y="500349"/>
                  </a:lnTo>
                  <a:lnTo>
                    <a:pt x="559186" y="500349"/>
                  </a:lnTo>
                  <a:lnTo>
                    <a:pt x="562882" y="504035"/>
                  </a:lnTo>
                  <a:lnTo>
                    <a:pt x="577636" y="496653"/>
                  </a:lnTo>
                  <a:lnTo>
                    <a:pt x="581323" y="500349"/>
                  </a:lnTo>
                  <a:lnTo>
                    <a:pt x="585009" y="500349"/>
                  </a:lnTo>
                  <a:lnTo>
                    <a:pt x="588704" y="504035"/>
                  </a:lnTo>
                  <a:lnTo>
                    <a:pt x="596077" y="507730"/>
                  </a:lnTo>
                  <a:lnTo>
                    <a:pt x="596077" y="511417"/>
                  </a:lnTo>
                  <a:lnTo>
                    <a:pt x="588704" y="511417"/>
                  </a:lnTo>
                  <a:lnTo>
                    <a:pt x="592391" y="515112"/>
                  </a:lnTo>
                  <a:lnTo>
                    <a:pt x="596077" y="518799"/>
                  </a:lnTo>
                  <a:lnTo>
                    <a:pt x="599772" y="522494"/>
                  </a:lnTo>
                  <a:lnTo>
                    <a:pt x="607145" y="526180"/>
                  </a:lnTo>
                  <a:lnTo>
                    <a:pt x="614527" y="526180"/>
                  </a:lnTo>
                  <a:lnTo>
                    <a:pt x="614527" y="522494"/>
                  </a:lnTo>
                  <a:lnTo>
                    <a:pt x="621909" y="522494"/>
                  </a:lnTo>
                  <a:lnTo>
                    <a:pt x="625595" y="526180"/>
                  </a:lnTo>
                  <a:lnTo>
                    <a:pt x="629281" y="526180"/>
                  </a:lnTo>
                  <a:lnTo>
                    <a:pt x="629281" y="522494"/>
                  </a:lnTo>
                  <a:lnTo>
                    <a:pt x="632977" y="522494"/>
                  </a:lnTo>
                  <a:lnTo>
                    <a:pt x="632977" y="518799"/>
                  </a:lnTo>
                  <a:lnTo>
                    <a:pt x="636663" y="522494"/>
                  </a:lnTo>
                  <a:lnTo>
                    <a:pt x="647731" y="526180"/>
                  </a:lnTo>
                  <a:lnTo>
                    <a:pt x="647731" y="529876"/>
                  </a:lnTo>
                  <a:lnTo>
                    <a:pt x="651417" y="537248"/>
                  </a:lnTo>
                  <a:lnTo>
                    <a:pt x="651417" y="540944"/>
                  </a:lnTo>
                  <a:lnTo>
                    <a:pt x="658799" y="537248"/>
                  </a:lnTo>
                  <a:lnTo>
                    <a:pt x="666171" y="537248"/>
                  </a:lnTo>
                  <a:lnTo>
                    <a:pt x="669867" y="537248"/>
                  </a:lnTo>
                  <a:lnTo>
                    <a:pt x="673553" y="540944"/>
                  </a:lnTo>
                  <a:lnTo>
                    <a:pt x="677239" y="540944"/>
                  </a:lnTo>
                  <a:lnTo>
                    <a:pt x="680935" y="544630"/>
                  </a:lnTo>
                  <a:lnTo>
                    <a:pt x="680935" y="548326"/>
                  </a:lnTo>
                  <a:lnTo>
                    <a:pt x="680935" y="552012"/>
                  </a:lnTo>
                  <a:lnTo>
                    <a:pt x="684621" y="552012"/>
                  </a:lnTo>
                  <a:lnTo>
                    <a:pt x="688307" y="552012"/>
                  </a:lnTo>
                  <a:lnTo>
                    <a:pt x="692003" y="552012"/>
                  </a:lnTo>
                  <a:lnTo>
                    <a:pt x="699375" y="555708"/>
                  </a:lnTo>
                  <a:lnTo>
                    <a:pt x="703071" y="555708"/>
                  </a:lnTo>
                  <a:lnTo>
                    <a:pt x="699375" y="548326"/>
                  </a:lnTo>
                  <a:lnTo>
                    <a:pt x="703071" y="552012"/>
                  </a:lnTo>
                  <a:lnTo>
                    <a:pt x="699375" y="544630"/>
                  </a:lnTo>
                  <a:lnTo>
                    <a:pt x="699375" y="540944"/>
                  </a:lnTo>
                  <a:lnTo>
                    <a:pt x="703071" y="537248"/>
                  </a:lnTo>
                  <a:lnTo>
                    <a:pt x="699375" y="537248"/>
                  </a:lnTo>
                  <a:lnTo>
                    <a:pt x="699375" y="533562"/>
                  </a:lnTo>
                  <a:lnTo>
                    <a:pt x="695689" y="533562"/>
                  </a:lnTo>
                  <a:lnTo>
                    <a:pt x="692003" y="529876"/>
                  </a:lnTo>
                  <a:lnTo>
                    <a:pt x="692003" y="526180"/>
                  </a:lnTo>
                  <a:lnTo>
                    <a:pt x="692003" y="518799"/>
                  </a:lnTo>
                  <a:lnTo>
                    <a:pt x="699375" y="522494"/>
                  </a:lnTo>
                  <a:lnTo>
                    <a:pt x="703071" y="522494"/>
                  </a:lnTo>
                  <a:lnTo>
                    <a:pt x="706757" y="526180"/>
                  </a:lnTo>
                  <a:lnTo>
                    <a:pt x="710443" y="526180"/>
                  </a:lnTo>
                  <a:lnTo>
                    <a:pt x="710443" y="529876"/>
                  </a:lnTo>
                  <a:lnTo>
                    <a:pt x="714139" y="529876"/>
                  </a:lnTo>
                  <a:lnTo>
                    <a:pt x="717825" y="529876"/>
                  </a:lnTo>
                  <a:lnTo>
                    <a:pt x="721512" y="526180"/>
                  </a:lnTo>
                  <a:lnTo>
                    <a:pt x="725207" y="533562"/>
                  </a:lnTo>
                  <a:lnTo>
                    <a:pt x="728893" y="533562"/>
                  </a:lnTo>
                  <a:lnTo>
                    <a:pt x="732580" y="537248"/>
                  </a:lnTo>
                  <a:lnTo>
                    <a:pt x="736266" y="533562"/>
                  </a:lnTo>
                  <a:lnTo>
                    <a:pt x="747334" y="529876"/>
                  </a:lnTo>
                  <a:lnTo>
                    <a:pt x="747334" y="526180"/>
                  </a:lnTo>
                  <a:lnTo>
                    <a:pt x="747334" y="522494"/>
                  </a:lnTo>
                  <a:lnTo>
                    <a:pt x="751029" y="522494"/>
                  </a:lnTo>
                  <a:lnTo>
                    <a:pt x="754716" y="518799"/>
                  </a:lnTo>
                  <a:lnTo>
                    <a:pt x="758402" y="518799"/>
                  </a:lnTo>
                  <a:lnTo>
                    <a:pt x="762098" y="518799"/>
                  </a:lnTo>
                  <a:lnTo>
                    <a:pt x="765784" y="515112"/>
                  </a:lnTo>
                  <a:lnTo>
                    <a:pt x="765784" y="511417"/>
                  </a:lnTo>
                  <a:lnTo>
                    <a:pt x="769470" y="511417"/>
                  </a:lnTo>
                  <a:lnTo>
                    <a:pt x="773166" y="507730"/>
                  </a:lnTo>
                  <a:lnTo>
                    <a:pt x="773166" y="511417"/>
                  </a:lnTo>
                  <a:lnTo>
                    <a:pt x="776852" y="511417"/>
                  </a:lnTo>
                  <a:lnTo>
                    <a:pt x="780538" y="507730"/>
                  </a:lnTo>
                  <a:lnTo>
                    <a:pt x="787920" y="504035"/>
                  </a:lnTo>
                  <a:lnTo>
                    <a:pt x="806360" y="496653"/>
                  </a:lnTo>
                  <a:lnTo>
                    <a:pt x="810056" y="496653"/>
                  </a:lnTo>
                  <a:lnTo>
                    <a:pt x="813742" y="496653"/>
                  </a:lnTo>
                  <a:lnTo>
                    <a:pt x="813742" y="492967"/>
                  </a:lnTo>
                  <a:lnTo>
                    <a:pt x="821124" y="489271"/>
                  </a:lnTo>
                  <a:lnTo>
                    <a:pt x="828496" y="485585"/>
                  </a:lnTo>
                  <a:lnTo>
                    <a:pt x="832192" y="485585"/>
                  </a:lnTo>
                  <a:lnTo>
                    <a:pt x="835878" y="481899"/>
                  </a:lnTo>
                  <a:lnTo>
                    <a:pt x="835878" y="485585"/>
                  </a:lnTo>
                  <a:lnTo>
                    <a:pt x="839564" y="485585"/>
                  </a:lnTo>
                  <a:lnTo>
                    <a:pt x="843260" y="485585"/>
                  </a:lnTo>
                  <a:lnTo>
                    <a:pt x="843260" y="489271"/>
                  </a:lnTo>
                  <a:lnTo>
                    <a:pt x="846946" y="492967"/>
                  </a:lnTo>
                  <a:lnTo>
                    <a:pt x="854328" y="500349"/>
                  </a:lnTo>
                  <a:lnTo>
                    <a:pt x="861700" y="496653"/>
                  </a:lnTo>
                  <a:lnTo>
                    <a:pt x="861700" y="492967"/>
                  </a:lnTo>
                  <a:lnTo>
                    <a:pt x="865396" y="492967"/>
                  </a:lnTo>
                  <a:lnTo>
                    <a:pt x="869082" y="489271"/>
                  </a:lnTo>
                  <a:lnTo>
                    <a:pt x="872769" y="489271"/>
                  </a:lnTo>
                  <a:lnTo>
                    <a:pt x="872769" y="485585"/>
                  </a:lnTo>
                  <a:lnTo>
                    <a:pt x="876455" y="481899"/>
                  </a:lnTo>
                  <a:lnTo>
                    <a:pt x="880150" y="481899"/>
                  </a:lnTo>
                  <a:lnTo>
                    <a:pt x="887523" y="470821"/>
                  </a:lnTo>
                  <a:lnTo>
                    <a:pt x="891218" y="467135"/>
                  </a:lnTo>
                  <a:lnTo>
                    <a:pt x="891218" y="463439"/>
                  </a:lnTo>
                  <a:lnTo>
                    <a:pt x="891218" y="459753"/>
                  </a:lnTo>
                  <a:lnTo>
                    <a:pt x="891218" y="448676"/>
                  </a:lnTo>
                  <a:lnTo>
                    <a:pt x="898591" y="444989"/>
                  </a:lnTo>
                  <a:lnTo>
                    <a:pt x="905973" y="444989"/>
                  </a:lnTo>
                  <a:lnTo>
                    <a:pt x="909659" y="437607"/>
                  </a:lnTo>
                  <a:lnTo>
                    <a:pt x="905973" y="433921"/>
                  </a:lnTo>
                  <a:lnTo>
                    <a:pt x="905973" y="426539"/>
                  </a:lnTo>
                  <a:lnTo>
                    <a:pt x="905973" y="422844"/>
                  </a:lnTo>
                  <a:lnTo>
                    <a:pt x="894905" y="419158"/>
                  </a:lnTo>
                  <a:lnTo>
                    <a:pt x="898591" y="419158"/>
                  </a:lnTo>
                  <a:lnTo>
                    <a:pt x="876455" y="404394"/>
                  </a:lnTo>
                  <a:lnTo>
                    <a:pt x="872769" y="400698"/>
                  </a:lnTo>
                  <a:lnTo>
                    <a:pt x="869082" y="393316"/>
                  </a:lnTo>
                  <a:lnTo>
                    <a:pt x="850632" y="385944"/>
                  </a:lnTo>
                  <a:lnTo>
                    <a:pt x="835878" y="385944"/>
                  </a:lnTo>
                  <a:lnTo>
                    <a:pt x="835878" y="382248"/>
                  </a:lnTo>
                  <a:lnTo>
                    <a:pt x="835878" y="374866"/>
                  </a:lnTo>
                  <a:lnTo>
                    <a:pt x="835878" y="371180"/>
                  </a:lnTo>
                  <a:lnTo>
                    <a:pt x="839564" y="367484"/>
                  </a:lnTo>
                  <a:lnTo>
                    <a:pt x="839564" y="363798"/>
                  </a:lnTo>
                  <a:lnTo>
                    <a:pt x="839564" y="360103"/>
                  </a:lnTo>
                  <a:lnTo>
                    <a:pt x="850632" y="360103"/>
                  </a:lnTo>
                  <a:lnTo>
                    <a:pt x="858014" y="356416"/>
                  </a:lnTo>
                  <a:lnTo>
                    <a:pt x="865396" y="352721"/>
                  </a:lnTo>
                  <a:lnTo>
                    <a:pt x="865396" y="349035"/>
                  </a:lnTo>
                  <a:lnTo>
                    <a:pt x="865396" y="345339"/>
                  </a:lnTo>
                  <a:lnTo>
                    <a:pt x="865396" y="341653"/>
                  </a:lnTo>
                  <a:lnTo>
                    <a:pt x="869082" y="341653"/>
                  </a:lnTo>
                  <a:lnTo>
                    <a:pt x="869082" y="337966"/>
                  </a:lnTo>
                  <a:lnTo>
                    <a:pt x="872769" y="323203"/>
                  </a:lnTo>
                  <a:lnTo>
                    <a:pt x="850632" y="323203"/>
                  </a:lnTo>
                  <a:lnTo>
                    <a:pt x="846946" y="323203"/>
                  </a:lnTo>
                  <a:lnTo>
                    <a:pt x="839564" y="319507"/>
                  </a:lnTo>
                  <a:lnTo>
                    <a:pt x="832192" y="315821"/>
                  </a:lnTo>
                  <a:lnTo>
                    <a:pt x="828496" y="315821"/>
                  </a:lnTo>
                  <a:lnTo>
                    <a:pt x="821124" y="315821"/>
                  </a:lnTo>
                  <a:lnTo>
                    <a:pt x="828496" y="304743"/>
                  </a:lnTo>
                  <a:lnTo>
                    <a:pt x="828496" y="293675"/>
                  </a:lnTo>
                  <a:lnTo>
                    <a:pt x="828496" y="289989"/>
                  </a:lnTo>
                  <a:lnTo>
                    <a:pt x="828496" y="286293"/>
                  </a:lnTo>
                  <a:lnTo>
                    <a:pt x="817428" y="278911"/>
                  </a:lnTo>
                  <a:lnTo>
                    <a:pt x="813742" y="278911"/>
                  </a:lnTo>
                  <a:lnTo>
                    <a:pt x="810056" y="286293"/>
                  </a:lnTo>
                  <a:lnTo>
                    <a:pt x="810056" y="282607"/>
                  </a:lnTo>
                  <a:lnTo>
                    <a:pt x="806360" y="278911"/>
                  </a:lnTo>
                  <a:lnTo>
                    <a:pt x="802674" y="282607"/>
                  </a:lnTo>
                  <a:lnTo>
                    <a:pt x="798988" y="286293"/>
                  </a:lnTo>
                  <a:lnTo>
                    <a:pt x="798988" y="289989"/>
                  </a:lnTo>
                  <a:lnTo>
                    <a:pt x="795302" y="286293"/>
                  </a:lnTo>
                  <a:lnTo>
                    <a:pt x="791606" y="282607"/>
                  </a:lnTo>
                  <a:lnTo>
                    <a:pt x="795302" y="278911"/>
                  </a:lnTo>
                  <a:lnTo>
                    <a:pt x="787920" y="275225"/>
                  </a:lnTo>
                  <a:lnTo>
                    <a:pt x="784234" y="275225"/>
                  </a:lnTo>
                  <a:lnTo>
                    <a:pt x="769470" y="278911"/>
                  </a:lnTo>
                  <a:lnTo>
                    <a:pt x="751029" y="275225"/>
                  </a:lnTo>
                  <a:lnTo>
                    <a:pt x="747334" y="275225"/>
                  </a:lnTo>
                  <a:lnTo>
                    <a:pt x="739961" y="278911"/>
                  </a:lnTo>
                  <a:lnTo>
                    <a:pt x="736266" y="275225"/>
                  </a:lnTo>
                  <a:lnTo>
                    <a:pt x="732580" y="275225"/>
                  </a:lnTo>
                  <a:lnTo>
                    <a:pt x="732580" y="271530"/>
                  </a:lnTo>
                  <a:lnTo>
                    <a:pt x="728893" y="267843"/>
                  </a:lnTo>
                  <a:lnTo>
                    <a:pt x="728893" y="260461"/>
                  </a:lnTo>
                  <a:lnTo>
                    <a:pt x="721512" y="260461"/>
                  </a:lnTo>
                  <a:lnTo>
                    <a:pt x="721512" y="256766"/>
                  </a:lnTo>
                  <a:lnTo>
                    <a:pt x="717825" y="256766"/>
                  </a:lnTo>
                  <a:lnTo>
                    <a:pt x="717825" y="249384"/>
                  </a:lnTo>
                  <a:lnTo>
                    <a:pt x="706757" y="242012"/>
                  </a:lnTo>
                  <a:lnTo>
                    <a:pt x="703071" y="234630"/>
                  </a:lnTo>
                  <a:lnTo>
                    <a:pt x="703071" y="230934"/>
                  </a:lnTo>
                  <a:lnTo>
                    <a:pt x="703071" y="227248"/>
                  </a:lnTo>
                  <a:lnTo>
                    <a:pt x="699375" y="227248"/>
                  </a:lnTo>
                  <a:lnTo>
                    <a:pt x="692003" y="227248"/>
                  </a:lnTo>
                  <a:lnTo>
                    <a:pt x="688307" y="227248"/>
                  </a:lnTo>
                  <a:lnTo>
                    <a:pt x="684621" y="227248"/>
                  </a:lnTo>
                  <a:lnTo>
                    <a:pt x="684621" y="223552"/>
                  </a:lnTo>
                  <a:lnTo>
                    <a:pt x="680935" y="227248"/>
                  </a:lnTo>
                  <a:lnTo>
                    <a:pt x="677239" y="227248"/>
                  </a:lnTo>
                  <a:lnTo>
                    <a:pt x="669867" y="227248"/>
                  </a:lnTo>
                  <a:lnTo>
                    <a:pt x="666171" y="230934"/>
                  </a:lnTo>
                  <a:lnTo>
                    <a:pt x="662485" y="230934"/>
                  </a:lnTo>
                  <a:lnTo>
                    <a:pt x="662485" y="238316"/>
                  </a:lnTo>
                  <a:lnTo>
                    <a:pt x="655113" y="238316"/>
                  </a:lnTo>
                  <a:lnTo>
                    <a:pt x="655113" y="242012"/>
                  </a:lnTo>
                  <a:lnTo>
                    <a:pt x="644045" y="242012"/>
                  </a:lnTo>
                  <a:lnTo>
                    <a:pt x="644045" y="238316"/>
                  </a:lnTo>
                  <a:lnTo>
                    <a:pt x="640349" y="238316"/>
                  </a:lnTo>
                  <a:lnTo>
                    <a:pt x="636663" y="238316"/>
                  </a:lnTo>
                  <a:lnTo>
                    <a:pt x="632977" y="238316"/>
                  </a:lnTo>
                  <a:lnTo>
                    <a:pt x="629281" y="242012"/>
                  </a:lnTo>
                  <a:lnTo>
                    <a:pt x="625595" y="238316"/>
                  </a:lnTo>
                  <a:lnTo>
                    <a:pt x="621909" y="238316"/>
                  </a:lnTo>
                  <a:lnTo>
                    <a:pt x="614527" y="238316"/>
                  </a:lnTo>
                  <a:lnTo>
                    <a:pt x="610840" y="238316"/>
                  </a:lnTo>
                  <a:lnTo>
                    <a:pt x="607145" y="238316"/>
                  </a:lnTo>
                  <a:lnTo>
                    <a:pt x="603459" y="238316"/>
                  </a:lnTo>
                  <a:lnTo>
                    <a:pt x="603459" y="242012"/>
                  </a:lnTo>
                  <a:lnTo>
                    <a:pt x="599772" y="238316"/>
                  </a:lnTo>
                  <a:lnTo>
                    <a:pt x="596077" y="238316"/>
                  </a:lnTo>
                  <a:lnTo>
                    <a:pt x="588704" y="238316"/>
                  </a:lnTo>
                  <a:lnTo>
                    <a:pt x="588704" y="234630"/>
                  </a:lnTo>
                  <a:lnTo>
                    <a:pt x="585009" y="234630"/>
                  </a:lnTo>
                  <a:lnTo>
                    <a:pt x="577636" y="238316"/>
                  </a:lnTo>
                  <a:lnTo>
                    <a:pt x="577636" y="242012"/>
                  </a:lnTo>
                  <a:lnTo>
                    <a:pt x="581323" y="245698"/>
                  </a:lnTo>
                  <a:lnTo>
                    <a:pt x="577636" y="249384"/>
                  </a:lnTo>
                  <a:lnTo>
                    <a:pt x="577636" y="245698"/>
                  </a:lnTo>
                  <a:lnTo>
                    <a:pt x="577636" y="242012"/>
                  </a:lnTo>
                  <a:lnTo>
                    <a:pt x="573950" y="242012"/>
                  </a:lnTo>
                  <a:lnTo>
                    <a:pt x="570254" y="242012"/>
                  </a:lnTo>
                  <a:lnTo>
                    <a:pt x="566568" y="234630"/>
                  </a:lnTo>
                  <a:lnTo>
                    <a:pt x="566568" y="230934"/>
                  </a:lnTo>
                  <a:lnTo>
                    <a:pt x="570254" y="227248"/>
                  </a:lnTo>
                  <a:lnTo>
                    <a:pt x="573950" y="227248"/>
                  </a:lnTo>
                  <a:lnTo>
                    <a:pt x="573950" y="223552"/>
                  </a:lnTo>
                  <a:lnTo>
                    <a:pt x="570254" y="223552"/>
                  </a:lnTo>
                  <a:lnTo>
                    <a:pt x="566568" y="223552"/>
                  </a:lnTo>
                  <a:lnTo>
                    <a:pt x="562882" y="223552"/>
                  </a:lnTo>
                  <a:lnTo>
                    <a:pt x="559186" y="219866"/>
                  </a:lnTo>
                  <a:lnTo>
                    <a:pt x="559186" y="216170"/>
                  </a:lnTo>
                  <a:lnTo>
                    <a:pt x="559186" y="212484"/>
                  </a:lnTo>
                  <a:lnTo>
                    <a:pt x="559186" y="208788"/>
                  </a:lnTo>
                  <a:lnTo>
                    <a:pt x="555500" y="205102"/>
                  </a:lnTo>
                  <a:lnTo>
                    <a:pt x="551814" y="201407"/>
                  </a:lnTo>
                  <a:lnTo>
                    <a:pt x="551814" y="190338"/>
                  </a:lnTo>
                  <a:lnTo>
                    <a:pt x="548118" y="190338"/>
                  </a:lnTo>
                  <a:lnTo>
                    <a:pt x="548118" y="186652"/>
                  </a:lnTo>
                  <a:lnTo>
                    <a:pt x="548118" y="182957"/>
                  </a:lnTo>
                  <a:lnTo>
                    <a:pt x="544432" y="182957"/>
                  </a:lnTo>
                  <a:lnTo>
                    <a:pt x="540746" y="182957"/>
                  </a:lnTo>
                  <a:lnTo>
                    <a:pt x="537050" y="182957"/>
                  </a:lnTo>
                  <a:lnTo>
                    <a:pt x="537050" y="171889"/>
                  </a:lnTo>
                  <a:lnTo>
                    <a:pt x="537050" y="168193"/>
                  </a:lnTo>
                  <a:lnTo>
                    <a:pt x="533364" y="168193"/>
                  </a:lnTo>
                  <a:lnTo>
                    <a:pt x="529678" y="168193"/>
                  </a:lnTo>
                  <a:lnTo>
                    <a:pt x="529678" y="164507"/>
                  </a:lnTo>
                  <a:lnTo>
                    <a:pt x="533364" y="164507"/>
                  </a:lnTo>
                  <a:lnTo>
                    <a:pt x="533364" y="157125"/>
                  </a:lnTo>
                  <a:lnTo>
                    <a:pt x="533364" y="149743"/>
                  </a:lnTo>
                  <a:lnTo>
                    <a:pt x="533364" y="142361"/>
                  </a:lnTo>
                  <a:lnTo>
                    <a:pt x="537050" y="142361"/>
                  </a:lnTo>
                  <a:lnTo>
                    <a:pt x="540746" y="138675"/>
                  </a:lnTo>
                  <a:lnTo>
                    <a:pt x="544432" y="138675"/>
                  </a:lnTo>
                  <a:lnTo>
                    <a:pt x="540746" y="134979"/>
                  </a:lnTo>
                  <a:lnTo>
                    <a:pt x="537050" y="134979"/>
                  </a:lnTo>
                  <a:lnTo>
                    <a:pt x="533364" y="131293"/>
                  </a:lnTo>
                  <a:lnTo>
                    <a:pt x="533364" y="127597"/>
                  </a:lnTo>
                  <a:lnTo>
                    <a:pt x="537050" y="127597"/>
                  </a:lnTo>
                  <a:lnTo>
                    <a:pt x="537050" y="123909"/>
                  </a:lnTo>
                  <a:lnTo>
                    <a:pt x="544432" y="123909"/>
                  </a:lnTo>
                  <a:lnTo>
                    <a:pt x="551814" y="120218"/>
                  </a:lnTo>
                  <a:lnTo>
                    <a:pt x="555500" y="120218"/>
                  </a:lnTo>
                  <a:lnTo>
                    <a:pt x="555500" y="116528"/>
                  </a:lnTo>
                  <a:lnTo>
                    <a:pt x="559186" y="116528"/>
                  </a:lnTo>
                  <a:lnTo>
                    <a:pt x="559186" y="109147"/>
                  </a:lnTo>
                  <a:lnTo>
                    <a:pt x="559186" y="105456"/>
                  </a:lnTo>
                  <a:lnTo>
                    <a:pt x="559186" y="101766"/>
                  </a:lnTo>
                  <a:lnTo>
                    <a:pt x="555500" y="101766"/>
                  </a:lnTo>
                  <a:lnTo>
                    <a:pt x="551814" y="98075"/>
                  </a:lnTo>
                  <a:lnTo>
                    <a:pt x="551814" y="90695"/>
                  </a:lnTo>
                  <a:lnTo>
                    <a:pt x="551814" y="87004"/>
                  </a:lnTo>
                  <a:lnTo>
                    <a:pt x="555500" y="83313"/>
                  </a:lnTo>
                  <a:lnTo>
                    <a:pt x="555500" y="75932"/>
                  </a:lnTo>
                  <a:lnTo>
                    <a:pt x="551814" y="72242"/>
                  </a:lnTo>
                  <a:lnTo>
                    <a:pt x="548118" y="68551"/>
                  </a:lnTo>
                  <a:lnTo>
                    <a:pt x="548118" y="61170"/>
                  </a:lnTo>
                  <a:lnTo>
                    <a:pt x="544432" y="50098"/>
                  </a:lnTo>
                  <a:lnTo>
                    <a:pt x="544432" y="46407"/>
                  </a:lnTo>
                  <a:lnTo>
                    <a:pt x="540746" y="42717"/>
                  </a:lnTo>
                  <a:lnTo>
                    <a:pt x="529678" y="39026"/>
                  </a:lnTo>
                  <a:lnTo>
                    <a:pt x="525982" y="35335"/>
                  </a:lnTo>
                  <a:lnTo>
                    <a:pt x="525982" y="31645"/>
                  </a:lnTo>
                  <a:lnTo>
                    <a:pt x="525982" y="27954"/>
                  </a:lnTo>
                  <a:lnTo>
                    <a:pt x="522296" y="24264"/>
                  </a:lnTo>
                  <a:lnTo>
                    <a:pt x="518610" y="20573"/>
                  </a:lnTo>
                  <a:lnTo>
                    <a:pt x="514924" y="20573"/>
                  </a:lnTo>
                  <a:lnTo>
                    <a:pt x="511228" y="16882"/>
                  </a:lnTo>
                  <a:lnTo>
                    <a:pt x="507542" y="20573"/>
                  </a:lnTo>
                  <a:lnTo>
                    <a:pt x="503856" y="20573"/>
                  </a:lnTo>
                  <a:lnTo>
                    <a:pt x="500160" y="20573"/>
                  </a:lnTo>
                  <a:lnTo>
                    <a:pt x="496474" y="24264"/>
                  </a:lnTo>
                  <a:lnTo>
                    <a:pt x="489092" y="31645"/>
                  </a:lnTo>
                  <a:lnTo>
                    <a:pt x="481720" y="39026"/>
                  </a:lnTo>
                  <a:lnTo>
                    <a:pt x="478024" y="42717"/>
                  </a:lnTo>
                  <a:lnTo>
                    <a:pt x="474338" y="39026"/>
                  </a:lnTo>
                  <a:lnTo>
                    <a:pt x="474338" y="35335"/>
                  </a:lnTo>
                  <a:lnTo>
                    <a:pt x="470652" y="39026"/>
                  </a:lnTo>
                  <a:lnTo>
                    <a:pt x="466956" y="42717"/>
                  </a:lnTo>
                  <a:lnTo>
                    <a:pt x="459583" y="46407"/>
                  </a:lnTo>
                  <a:lnTo>
                    <a:pt x="459583" y="39026"/>
                  </a:lnTo>
                  <a:lnTo>
                    <a:pt x="452202" y="27954"/>
                  </a:lnTo>
                  <a:lnTo>
                    <a:pt x="448516" y="20573"/>
                  </a:lnTo>
                  <a:lnTo>
                    <a:pt x="441134" y="9502"/>
                  </a:lnTo>
                  <a:lnTo>
                    <a:pt x="437447" y="5812"/>
                  </a:lnTo>
                  <a:close/>
                  <a:moveTo>
                    <a:pt x="315699" y="138675"/>
                  </a:moveTo>
                  <a:lnTo>
                    <a:pt x="308326" y="134979"/>
                  </a:lnTo>
                  <a:lnTo>
                    <a:pt x="312013" y="138675"/>
                  </a:lnTo>
                  <a:lnTo>
                    <a:pt x="315699" y="138675"/>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99" name="Freeform: Shape 98">
              <a:extLst>
                <a:ext uri="{FF2B5EF4-FFF2-40B4-BE49-F238E27FC236}">
                  <a16:creationId xmlns:a16="http://schemas.microsoft.com/office/drawing/2014/main" id="{7A54BB8C-E0D3-48B9-A824-203753427BF0}"/>
                </a:ext>
              </a:extLst>
            </p:cNvPr>
            <p:cNvSpPr/>
            <p:nvPr/>
          </p:nvSpPr>
          <p:spPr>
            <a:xfrm>
              <a:off x="5179061" y="3431497"/>
              <a:ext cx="936355" cy="659707"/>
            </a:xfrm>
            <a:custGeom>
              <a:avLst/>
              <a:gdLst>
                <a:gd name="connsiteX0" fmla="*/ 112797 w 419100"/>
                <a:gd name="connsiteY0" fmla="*/ 5812 h 295275"/>
                <a:gd name="connsiteX1" fmla="*/ 112797 w 419100"/>
                <a:gd name="connsiteY1" fmla="*/ 9507 h 295275"/>
                <a:gd name="connsiteX2" fmla="*/ 109108 w 419100"/>
                <a:gd name="connsiteY2" fmla="*/ 9507 h 295275"/>
                <a:gd name="connsiteX3" fmla="*/ 109108 w 419100"/>
                <a:gd name="connsiteY3" fmla="*/ 13193 h 295275"/>
                <a:gd name="connsiteX4" fmla="*/ 109108 w 419100"/>
                <a:gd name="connsiteY4" fmla="*/ 16889 h 295275"/>
                <a:gd name="connsiteX5" fmla="*/ 101730 w 419100"/>
                <a:gd name="connsiteY5" fmla="*/ 13193 h 295275"/>
                <a:gd name="connsiteX6" fmla="*/ 101730 w 419100"/>
                <a:gd name="connsiteY6" fmla="*/ 16889 h 295275"/>
                <a:gd name="connsiteX7" fmla="*/ 94351 w 419100"/>
                <a:gd name="connsiteY7" fmla="*/ 20575 h 295275"/>
                <a:gd name="connsiteX8" fmla="*/ 94351 w 419100"/>
                <a:gd name="connsiteY8" fmla="*/ 24262 h 295275"/>
                <a:gd name="connsiteX9" fmla="*/ 90662 w 419100"/>
                <a:gd name="connsiteY9" fmla="*/ 24262 h 295275"/>
                <a:gd name="connsiteX10" fmla="*/ 86973 w 419100"/>
                <a:gd name="connsiteY10" fmla="*/ 24262 h 295275"/>
                <a:gd name="connsiteX11" fmla="*/ 83284 w 419100"/>
                <a:gd name="connsiteY11" fmla="*/ 24262 h 295275"/>
                <a:gd name="connsiteX12" fmla="*/ 75906 w 419100"/>
                <a:gd name="connsiteY12" fmla="*/ 20575 h 295275"/>
                <a:gd name="connsiteX13" fmla="*/ 72217 w 419100"/>
                <a:gd name="connsiteY13" fmla="*/ 24262 h 295275"/>
                <a:gd name="connsiteX14" fmla="*/ 72217 w 419100"/>
                <a:gd name="connsiteY14" fmla="*/ 27957 h 295275"/>
                <a:gd name="connsiteX15" fmla="*/ 75906 w 419100"/>
                <a:gd name="connsiteY15" fmla="*/ 31643 h 295275"/>
                <a:gd name="connsiteX16" fmla="*/ 72217 w 419100"/>
                <a:gd name="connsiteY16" fmla="*/ 35339 h 295275"/>
                <a:gd name="connsiteX17" fmla="*/ 68527 w 419100"/>
                <a:gd name="connsiteY17" fmla="*/ 39025 h 295275"/>
                <a:gd name="connsiteX18" fmla="*/ 68527 w 419100"/>
                <a:gd name="connsiteY18" fmla="*/ 42721 h 295275"/>
                <a:gd name="connsiteX19" fmla="*/ 64838 w 419100"/>
                <a:gd name="connsiteY19" fmla="*/ 42721 h 295275"/>
                <a:gd name="connsiteX20" fmla="*/ 61149 w 419100"/>
                <a:gd name="connsiteY20" fmla="*/ 42721 h 295275"/>
                <a:gd name="connsiteX21" fmla="*/ 61149 w 419100"/>
                <a:gd name="connsiteY21" fmla="*/ 46407 h 295275"/>
                <a:gd name="connsiteX22" fmla="*/ 57460 w 419100"/>
                <a:gd name="connsiteY22" fmla="*/ 42721 h 295275"/>
                <a:gd name="connsiteX23" fmla="*/ 53771 w 419100"/>
                <a:gd name="connsiteY23" fmla="*/ 42721 h 295275"/>
                <a:gd name="connsiteX24" fmla="*/ 50082 w 419100"/>
                <a:gd name="connsiteY24" fmla="*/ 42721 h 295275"/>
                <a:gd name="connsiteX25" fmla="*/ 46393 w 419100"/>
                <a:gd name="connsiteY25" fmla="*/ 46407 h 295275"/>
                <a:gd name="connsiteX26" fmla="*/ 39014 w 419100"/>
                <a:gd name="connsiteY26" fmla="*/ 50103 h 295275"/>
                <a:gd name="connsiteX27" fmla="*/ 39014 w 419100"/>
                <a:gd name="connsiteY27" fmla="*/ 53789 h 295275"/>
                <a:gd name="connsiteX28" fmla="*/ 35325 w 419100"/>
                <a:gd name="connsiteY28" fmla="*/ 53789 h 295275"/>
                <a:gd name="connsiteX29" fmla="*/ 31636 w 419100"/>
                <a:gd name="connsiteY29" fmla="*/ 57485 h 295275"/>
                <a:gd name="connsiteX30" fmla="*/ 27947 w 419100"/>
                <a:gd name="connsiteY30" fmla="*/ 57485 h 295275"/>
                <a:gd name="connsiteX31" fmla="*/ 27947 w 419100"/>
                <a:gd name="connsiteY31" fmla="*/ 61171 h 295275"/>
                <a:gd name="connsiteX32" fmla="*/ 24257 w 419100"/>
                <a:gd name="connsiteY32" fmla="*/ 61171 h 295275"/>
                <a:gd name="connsiteX33" fmla="*/ 20568 w 419100"/>
                <a:gd name="connsiteY33" fmla="*/ 64867 h 295275"/>
                <a:gd name="connsiteX34" fmla="*/ 16879 w 419100"/>
                <a:gd name="connsiteY34" fmla="*/ 64867 h 295275"/>
                <a:gd name="connsiteX35" fmla="*/ 13190 w 419100"/>
                <a:gd name="connsiteY35" fmla="*/ 64867 h 295275"/>
                <a:gd name="connsiteX36" fmla="*/ 9501 w 419100"/>
                <a:gd name="connsiteY36" fmla="*/ 64867 h 295275"/>
                <a:gd name="connsiteX37" fmla="*/ 9501 w 419100"/>
                <a:gd name="connsiteY37" fmla="*/ 68553 h 295275"/>
                <a:gd name="connsiteX38" fmla="*/ 13190 w 419100"/>
                <a:gd name="connsiteY38" fmla="*/ 72239 h 295275"/>
                <a:gd name="connsiteX39" fmla="*/ 13190 w 419100"/>
                <a:gd name="connsiteY39" fmla="*/ 79621 h 295275"/>
                <a:gd name="connsiteX40" fmla="*/ 13190 w 419100"/>
                <a:gd name="connsiteY40" fmla="*/ 83316 h 295275"/>
                <a:gd name="connsiteX41" fmla="*/ 16879 w 419100"/>
                <a:gd name="connsiteY41" fmla="*/ 83316 h 295275"/>
                <a:gd name="connsiteX42" fmla="*/ 16879 w 419100"/>
                <a:gd name="connsiteY42" fmla="*/ 87003 h 295275"/>
                <a:gd name="connsiteX43" fmla="*/ 20568 w 419100"/>
                <a:gd name="connsiteY43" fmla="*/ 90698 h 295275"/>
                <a:gd name="connsiteX44" fmla="*/ 24257 w 419100"/>
                <a:gd name="connsiteY44" fmla="*/ 90698 h 295275"/>
                <a:gd name="connsiteX45" fmla="*/ 24257 w 419100"/>
                <a:gd name="connsiteY45" fmla="*/ 94385 h 295275"/>
                <a:gd name="connsiteX46" fmla="*/ 27947 w 419100"/>
                <a:gd name="connsiteY46" fmla="*/ 98080 h 295275"/>
                <a:gd name="connsiteX47" fmla="*/ 31636 w 419100"/>
                <a:gd name="connsiteY47" fmla="*/ 101766 h 295275"/>
                <a:gd name="connsiteX48" fmla="*/ 39014 w 419100"/>
                <a:gd name="connsiteY48" fmla="*/ 101766 h 295275"/>
                <a:gd name="connsiteX49" fmla="*/ 42703 w 419100"/>
                <a:gd name="connsiteY49" fmla="*/ 105462 h 295275"/>
                <a:gd name="connsiteX50" fmla="*/ 57460 w 419100"/>
                <a:gd name="connsiteY50" fmla="*/ 116530 h 295275"/>
                <a:gd name="connsiteX51" fmla="*/ 46393 w 419100"/>
                <a:gd name="connsiteY51" fmla="*/ 120216 h 295275"/>
                <a:gd name="connsiteX52" fmla="*/ 46393 w 419100"/>
                <a:gd name="connsiteY52" fmla="*/ 134980 h 295275"/>
                <a:gd name="connsiteX53" fmla="*/ 42703 w 419100"/>
                <a:gd name="connsiteY53" fmla="*/ 134980 h 295275"/>
                <a:gd name="connsiteX54" fmla="*/ 39014 w 419100"/>
                <a:gd name="connsiteY54" fmla="*/ 134980 h 295275"/>
                <a:gd name="connsiteX55" fmla="*/ 31636 w 419100"/>
                <a:gd name="connsiteY55" fmla="*/ 134980 h 295275"/>
                <a:gd name="connsiteX56" fmla="*/ 27947 w 419100"/>
                <a:gd name="connsiteY56" fmla="*/ 134980 h 295275"/>
                <a:gd name="connsiteX57" fmla="*/ 27947 w 419100"/>
                <a:gd name="connsiteY57" fmla="*/ 131294 h 295275"/>
                <a:gd name="connsiteX58" fmla="*/ 20568 w 419100"/>
                <a:gd name="connsiteY58" fmla="*/ 131294 h 295275"/>
                <a:gd name="connsiteX59" fmla="*/ 16879 w 419100"/>
                <a:gd name="connsiteY59" fmla="*/ 134980 h 295275"/>
                <a:gd name="connsiteX60" fmla="*/ 13190 w 419100"/>
                <a:gd name="connsiteY60" fmla="*/ 138676 h 295275"/>
                <a:gd name="connsiteX61" fmla="*/ 16879 w 419100"/>
                <a:gd name="connsiteY61" fmla="*/ 138676 h 295275"/>
                <a:gd name="connsiteX62" fmla="*/ 13190 w 419100"/>
                <a:gd name="connsiteY62" fmla="*/ 142362 h 295275"/>
                <a:gd name="connsiteX63" fmla="*/ 13190 w 419100"/>
                <a:gd name="connsiteY63" fmla="*/ 146058 h 295275"/>
                <a:gd name="connsiteX64" fmla="*/ 9501 w 419100"/>
                <a:gd name="connsiteY64" fmla="*/ 146058 h 295275"/>
                <a:gd name="connsiteX65" fmla="*/ 5812 w 419100"/>
                <a:gd name="connsiteY65" fmla="*/ 146058 h 295275"/>
                <a:gd name="connsiteX66" fmla="*/ 5812 w 419100"/>
                <a:gd name="connsiteY66" fmla="*/ 149744 h 295275"/>
                <a:gd name="connsiteX67" fmla="*/ 20568 w 419100"/>
                <a:gd name="connsiteY67" fmla="*/ 157126 h 295275"/>
                <a:gd name="connsiteX68" fmla="*/ 24257 w 419100"/>
                <a:gd name="connsiteY68" fmla="*/ 160821 h 295275"/>
                <a:gd name="connsiteX69" fmla="*/ 20568 w 419100"/>
                <a:gd name="connsiteY69" fmla="*/ 160821 h 295275"/>
                <a:gd name="connsiteX70" fmla="*/ 20568 w 419100"/>
                <a:gd name="connsiteY70" fmla="*/ 171890 h 295275"/>
                <a:gd name="connsiteX71" fmla="*/ 24257 w 419100"/>
                <a:gd name="connsiteY71" fmla="*/ 182958 h 295275"/>
                <a:gd name="connsiteX72" fmla="*/ 24257 w 419100"/>
                <a:gd name="connsiteY72" fmla="*/ 186653 h 295275"/>
                <a:gd name="connsiteX73" fmla="*/ 27947 w 419100"/>
                <a:gd name="connsiteY73" fmla="*/ 186653 h 295275"/>
                <a:gd name="connsiteX74" fmla="*/ 24257 w 419100"/>
                <a:gd name="connsiteY74" fmla="*/ 190339 h 295275"/>
                <a:gd name="connsiteX75" fmla="*/ 31636 w 419100"/>
                <a:gd name="connsiteY75" fmla="*/ 190339 h 295275"/>
                <a:gd name="connsiteX76" fmla="*/ 46393 w 419100"/>
                <a:gd name="connsiteY76" fmla="*/ 190339 h 295275"/>
                <a:gd name="connsiteX77" fmla="*/ 42703 w 419100"/>
                <a:gd name="connsiteY77" fmla="*/ 194035 h 295275"/>
                <a:gd name="connsiteX78" fmla="*/ 39014 w 419100"/>
                <a:gd name="connsiteY78" fmla="*/ 197721 h 295275"/>
                <a:gd name="connsiteX79" fmla="*/ 35325 w 419100"/>
                <a:gd name="connsiteY79" fmla="*/ 197721 h 295275"/>
                <a:gd name="connsiteX80" fmla="*/ 24257 w 419100"/>
                <a:gd name="connsiteY80" fmla="*/ 205103 h 295275"/>
                <a:gd name="connsiteX81" fmla="*/ 20568 w 419100"/>
                <a:gd name="connsiteY81" fmla="*/ 216171 h 295275"/>
                <a:gd name="connsiteX82" fmla="*/ 16879 w 419100"/>
                <a:gd name="connsiteY82" fmla="*/ 219867 h 295275"/>
                <a:gd name="connsiteX83" fmla="*/ 13190 w 419100"/>
                <a:gd name="connsiteY83" fmla="*/ 219867 h 295275"/>
                <a:gd name="connsiteX84" fmla="*/ 13190 w 419100"/>
                <a:gd name="connsiteY84" fmla="*/ 223553 h 295275"/>
                <a:gd name="connsiteX85" fmla="*/ 9501 w 419100"/>
                <a:gd name="connsiteY85" fmla="*/ 227249 h 295275"/>
                <a:gd name="connsiteX86" fmla="*/ 13190 w 419100"/>
                <a:gd name="connsiteY86" fmla="*/ 234631 h 295275"/>
                <a:gd name="connsiteX87" fmla="*/ 16879 w 419100"/>
                <a:gd name="connsiteY87" fmla="*/ 234631 h 295275"/>
                <a:gd name="connsiteX88" fmla="*/ 20568 w 419100"/>
                <a:gd name="connsiteY88" fmla="*/ 230935 h 295275"/>
                <a:gd name="connsiteX89" fmla="*/ 24257 w 419100"/>
                <a:gd name="connsiteY89" fmla="*/ 230935 h 295275"/>
                <a:gd name="connsiteX90" fmla="*/ 27947 w 419100"/>
                <a:gd name="connsiteY90" fmla="*/ 230935 h 295275"/>
                <a:gd name="connsiteX91" fmla="*/ 31636 w 419100"/>
                <a:gd name="connsiteY91" fmla="*/ 230935 h 295275"/>
                <a:gd name="connsiteX92" fmla="*/ 35325 w 419100"/>
                <a:gd name="connsiteY92" fmla="*/ 230935 h 295275"/>
                <a:gd name="connsiteX93" fmla="*/ 39014 w 419100"/>
                <a:gd name="connsiteY93" fmla="*/ 242013 h 295275"/>
                <a:gd name="connsiteX94" fmla="*/ 35325 w 419100"/>
                <a:gd name="connsiteY94" fmla="*/ 242013 h 295275"/>
                <a:gd name="connsiteX95" fmla="*/ 20568 w 419100"/>
                <a:gd name="connsiteY95" fmla="*/ 245699 h 295275"/>
                <a:gd name="connsiteX96" fmla="*/ 24257 w 419100"/>
                <a:gd name="connsiteY96" fmla="*/ 249394 h 295275"/>
                <a:gd name="connsiteX97" fmla="*/ 27947 w 419100"/>
                <a:gd name="connsiteY97" fmla="*/ 256776 h 295275"/>
                <a:gd name="connsiteX98" fmla="*/ 31636 w 419100"/>
                <a:gd name="connsiteY98" fmla="*/ 264149 h 295275"/>
                <a:gd name="connsiteX99" fmla="*/ 35325 w 419100"/>
                <a:gd name="connsiteY99" fmla="*/ 267844 h 295275"/>
                <a:gd name="connsiteX100" fmla="*/ 39014 w 419100"/>
                <a:gd name="connsiteY100" fmla="*/ 271531 h 295275"/>
                <a:gd name="connsiteX101" fmla="*/ 42703 w 419100"/>
                <a:gd name="connsiteY101" fmla="*/ 275226 h 295275"/>
                <a:gd name="connsiteX102" fmla="*/ 42703 w 419100"/>
                <a:gd name="connsiteY102" fmla="*/ 278912 h 295275"/>
                <a:gd name="connsiteX103" fmla="*/ 46393 w 419100"/>
                <a:gd name="connsiteY103" fmla="*/ 282608 h 295275"/>
                <a:gd name="connsiteX104" fmla="*/ 46393 w 419100"/>
                <a:gd name="connsiteY104" fmla="*/ 289990 h 295275"/>
                <a:gd name="connsiteX105" fmla="*/ 46393 w 419100"/>
                <a:gd name="connsiteY105" fmla="*/ 293676 h 295275"/>
                <a:gd name="connsiteX106" fmla="*/ 50082 w 419100"/>
                <a:gd name="connsiteY106" fmla="*/ 293676 h 295275"/>
                <a:gd name="connsiteX107" fmla="*/ 57460 w 419100"/>
                <a:gd name="connsiteY107" fmla="*/ 293676 h 295275"/>
                <a:gd name="connsiteX108" fmla="*/ 61149 w 419100"/>
                <a:gd name="connsiteY108" fmla="*/ 293676 h 295275"/>
                <a:gd name="connsiteX109" fmla="*/ 64838 w 419100"/>
                <a:gd name="connsiteY109" fmla="*/ 289990 h 295275"/>
                <a:gd name="connsiteX110" fmla="*/ 68527 w 419100"/>
                <a:gd name="connsiteY110" fmla="*/ 289990 h 295275"/>
                <a:gd name="connsiteX111" fmla="*/ 68527 w 419100"/>
                <a:gd name="connsiteY111" fmla="*/ 286294 h 295275"/>
                <a:gd name="connsiteX112" fmla="*/ 72217 w 419100"/>
                <a:gd name="connsiteY112" fmla="*/ 286294 h 295275"/>
                <a:gd name="connsiteX113" fmla="*/ 75906 w 419100"/>
                <a:gd name="connsiteY113" fmla="*/ 278912 h 295275"/>
                <a:gd name="connsiteX114" fmla="*/ 79595 w 419100"/>
                <a:gd name="connsiteY114" fmla="*/ 275226 h 295275"/>
                <a:gd name="connsiteX115" fmla="*/ 83284 w 419100"/>
                <a:gd name="connsiteY115" fmla="*/ 275226 h 295275"/>
                <a:gd name="connsiteX116" fmla="*/ 86973 w 419100"/>
                <a:gd name="connsiteY116" fmla="*/ 275226 h 295275"/>
                <a:gd name="connsiteX117" fmla="*/ 90662 w 419100"/>
                <a:gd name="connsiteY117" fmla="*/ 278912 h 295275"/>
                <a:gd name="connsiteX118" fmla="*/ 94351 w 419100"/>
                <a:gd name="connsiteY118" fmla="*/ 278912 h 295275"/>
                <a:gd name="connsiteX119" fmla="*/ 98041 w 419100"/>
                <a:gd name="connsiteY119" fmla="*/ 275226 h 295275"/>
                <a:gd name="connsiteX120" fmla="*/ 98041 w 419100"/>
                <a:gd name="connsiteY120" fmla="*/ 271531 h 295275"/>
                <a:gd name="connsiteX121" fmla="*/ 101730 w 419100"/>
                <a:gd name="connsiteY121" fmla="*/ 267844 h 295275"/>
                <a:gd name="connsiteX122" fmla="*/ 105419 w 419100"/>
                <a:gd name="connsiteY122" fmla="*/ 264149 h 295275"/>
                <a:gd name="connsiteX123" fmla="*/ 109108 w 419100"/>
                <a:gd name="connsiteY123" fmla="*/ 264149 h 295275"/>
                <a:gd name="connsiteX124" fmla="*/ 112797 w 419100"/>
                <a:gd name="connsiteY124" fmla="*/ 264149 h 295275"/>
                <a:gd name="connsiteX125" fmla="*/ 120176 w 419100"/>
                <a:gd name="connsiteY125" fmla="*/ 271531 h 295275"/>
                <a:gd name="connsiteX126" fmla="*/ 123865 w 419100"/>
                <a:gd name="connsiteY126" fmla="*/ 271531 h 295275"/>
                <a:gd name="connsiteX127" fmla="*/ 127554 w 419100"/>
                <a:gd name="connsiteY127" fmla="*/ 267844 h 295275"/>
                <a:gd name="connsiteX128" fmla="*/ 127554 w 419100"/>
                <a:gd name="connsiteY128" fmla="*/ 264149 h 295275"/>
                <a:gd name="connsiteX129" fmla="*/ 131243 w 419100"/>
                <a:gd name="connsiteY129" fmla="*/ 264149 h 295275"/>
                <a:gd name="connsiteX130" fmla="*/ 134932 w 419100"/>
                <a:gd name="connsiteY130" fmla="*/ 264149 h 295275"/>
                <a:gd name="connsiteX131" fmla="*/ 138621 w 419100"/>
                <a:gd name="connsiteY131" fmla="*/ 275226 h 295275"/>
                <a:gd name="connsiteX132" fmla="*/ 134932 w 419100"/>
                <a:gd name="connsiteY132" fmla="*/ 282608 h 295275"/>
                <a:gd name="connsiteX133" fmla="*/ 149690 w 419100"/>
                <a:gd name="connsiteY133" fmla="*/ 286294 h 295275"/>
                <a:gd name="connsiteX134" fmla="*/ 157068 w 419100"/>
                <a:gd name="connsiteY134" fmla="*/ 289990 h 295275"/>
                <a:gd name="connsiteX135" fmla="*/ 171825 w 419100"/>
                <a:gd name="connsiteY135" fmla="*/ 297372 h 295275"/>
                <a:gd name="connsiteX136" fmla="*/ 175514 w 419100"/>
                <a:gd name="connsiteY136" fmla="*/ 297372 h 295275"/>
                <a:gd name="connsiteX137" fmla="*/ 179203 w 419100"/>
                <a:gd name="connsiteY137" fmla="*/ 297372 h 295275"/>
                <a:gd name="connsiteX138" fmla="*/ 182892 w 419100"/>
                <a:gd name="connsiteY138" fmla="*/ 297372 h 295275"/>
                <a:gd name="connsiteX139" fmla="*/ 190271 w 419100"/>
                <a:gd name="connsiteY139" fmla="*/ 289990 h 295275"/>
                <a:gd name="connsiteX140" fmla="*/ 193960 w 419100"/>
                <a:gd name="connsiteY140" fmla="*/ 278912 h 295275"/>
                <a:gd name="connsiteX141" fmla="*/ 197649 w 419100"/>
                <a:gd name="connsiteY141" fmla="*/ 271531 h 295275"/>
                <a:gd name="connsiteX142" fmla="*/ 201338 w 419100"/>
                <a:gd name="connsiteY142" fmla="*/ 275226 h 295275"/>
                <a:gd name="connsiteX143" fmla="*/ 205027 w 419100"/>
                <a:gd name="connsiteY143" fmla="*/ 278912 h 295275"/>
                <a:gd name="connsiteX144" fmla="*/ 208716 w 419100"/>
                <a:gd name="connsiteY144" fmla="*/ 278912 h 295275"/>
                <a:gd name="connsiteX145" fmla="*/ 212406 w 419100"/>
                <a:gd name="connsiteY145" fmla="*/ 278912 h 295275"/>
                <a:gd name="connsiteX146" fmla="*/ 216095 w 419100"/>
                <a:gd name="connsiteY146" fmla="*/ 275226 h 295275"/>
                <a:gd name="connsiteX147" fmla="*/ 219784 w 419100"/>
                <a:gd name="connsiteY147" fmla="*/ 271531 h 295275"/>
                <a:gd name="connsiteX148" fmla="*/ 219784 w 419100"/>
                <a:gd name="connsiteY148" fmla="*/ 264149 h 295275"/>
                <a:gd name="connsiteX149" fmla="*/ 223473 w 419100"/>
                <a:gd name="connsiteY149" fmla="*/ 264149 h 295275"/>
                <a:gd name="connsiteX150" fmla="*/ 227162 w 419100"/>
                <a:gd name="connsiteY150" fmla="*/ 264149 h 295275"/>
                <a:gd name="connsiteX151" fmla="*/ 234541 w 419100"/>
                <a:gd name="connsiteY151" fmla="*/ 267844 h 295275"/>
                <a:gd name="connsiteX152" fmla="*/ 241923 w 419100"/>
                <a:gd name="connsiteY152" fmla="*/ 275226 h 295275"/>
                <a:gd name="connsiteX153" fmla="*/ 245609 w 419100"/>
                <a:gd name="connsiteY153" fmla="*/ 275226 h 295275"/>
                <a:gd name="connsiteX154" fmla="*/ 256677 w 419100"/>
                <a:gd name="connsiteY154" fmla="*/ 275226 h 295275"/>
                <a:gd name="connsiteX155" fmla="*/ 260363 w 419100"/>
                <a:gd name="connsiteY155" fmla="*/ 278912 h 295275"/>
                <a:gd name="connsiteX156" fmla="*/ 264050 w 419100"/>
                <a:gd name="connsiteY156" fmla="*/ 282608 h 295275"/>
                <a:gd name="connsiteX157" fmla="*/ 267745 w 419100"/>
                <a:gd name="connsiteY157" fmla="*/ 282608 h 295275"/>
                <a:gd name="connsiteX158" fmla="*/ 271431 w 419100"/>
                <a:gd name="connsiteY158" fmla="*/ 278912 h 295275"/>
                <a:gd name="connsiteX159" fmla="*/ 275118 w 419100"/>
                <a:gd name="connsiteY159" fmla="*/ 278912 h 295275"/>
                <a:gd name="connsiteX160" fmla="*/ 275118 w 419100"/>
                <a:gd name="connsiteY160" fmla="*/ 275226 h 295275"/>
                <a:gd name="connsiteX161" fmla="*/ 278813 w 419100"/>
                <a:gd name="connsiteY161" fmla="*/ 271531 h 295275"/>
                <a:gd name="connsiteX162" fmla="*/ 282499 w 419100"/>
                <a:gd name="connsiteY162" fmla="*/ 271531 h 295275"/>
                <a:gd name="connsiteX163" fmla="*/ 286186 w 419100"/>
                <a:gd name="connsiteY163" fmla="*/ 267844 h 295275"/>
                <a:gd name="connsiteX164" fmla="*/ 293568 w 419100"/>
                <a:gd name="connsiteY164" fmla="*/ 271531 h 295275"/>
                <a:gd name="connsiteX165" fmla="*/ 297254 w 419100"/>
                <a:gd name="connsiteY165" fmla="*/ 271531 h 295275"/>
                <a:gd name="connsiteX166" fmla="*/ 300949 w 419100"/>
                <a:gd name="connsiteY166" fmla="*/ 267844 h 295275"/>
                <a:gd name="connsiteX167" fmla="*/ 304636 w 419100"/>
                <a:gd name="connsiteY167" fmla="*/ 267844 h 295275"/>
                <a:gd name="connsiteX168" fmla="*/ 312017 w 419100"/>
                <a:gd name="connsiteY168" fmla="*/ 264149 h 295275"/>
                <a:gd name="connsiteX169" fmla="*/ 315704 w 419100"/>
                <a:gd name="connsiteY169" fmla="*/ 264149 h 295275"/>
                <a:gd name="connsiteX170" fmla="*/ 319390 w 419100"/>
                <a:gd name="connsiteY170" fmla="*/ 260462 h 295275"/>
                <a:gd name="connsiteX171" fmla="*/ 323086 w 419100"/>
                <a:gd name="connsiteY171" fmla="*/ 256776 h 295275"/>
                <a:gd name="connsiteX172" fmla="*/ 326772 w 419100"/>
                <a:gd name="connsiteY172" fmla="*/ 256776 h 295275"/>
                <a:gd name="connsiteX173" fmla="*/ 330458 w 419100"/>
                <a:gd name="connsiteY173" fmla="*/ 260462 h 295275"/>
                <a:gd name="connsiteX174" fmla="*/ 341526 w 419100"/>
                <a:gd name="connsiteY174" fmla="*/ 260462 h 295275"/>
                <a:gd name="connsiteX175" fmla="*/ 345212 w 419100"/>
                <a:gd name="connsiteY175" fmla="*/ 260462 h 295275"/>
                <a:gd name="connsiteX176" fmla="*/ 348908 w 419100"/>
                <a:gd name="connsiteY176" fmla="*/ 260462 h 295275"/>
                <a:gd name="connsiteX177" fmla="*/ 352594 w 419100"/>
                <a:gd name="connsiteY177" fmla="*/ 264149 h 295275"/>
                <a:gd name="connsiteX178" fmla="*/ 359976 w 419100"/>
                <a:gd name="connsiteY178" fmla="*/ 267844 h 295275"/>
                <a:gd name="connsiteX179" fmla="*/ 363662 w 419100"/>
                <a:gd name="connsiteY179" fmla="*/ 267844 h 295275"/>
                <a:gd name="connsiteX180" fmla="*/ 367348 w 419100"/>
                <a:gd name="connsiteY180" fmla="*/ 271531 h 295275"/>
                <a:gd name="connsiteX181" fmla="*/ 371044 w 419100"/>
                <a:gd name="connsiteY181" fmla="*/ 271531 h 295275"/>
                <a:gd name="connsiteX182" fmla="*/ 374730 w 419100"/>
                <a:gd name="connsiteY182" fmla="*/ 271531 h 295275"/>
                <a:gd name="connsiteX183" fmla="*/ 378416 w 419100"/>
                <a:gd name="connsiteY183" fmla="*/ 278912 h 295275"/>
                <a:gd name="connsiteX184" fmla="*/ 385798 w 419100"/>
                <a:gd name="connsiteY184" fmla="*/ 282608 h 295275"/>
                <a:gd name="connsiteX185" fmla="*/ 396866 w 419100"/>
                <a:gd name="connsiteY185" fmla="*/ 286294 h 295275"/>
                <a:gd name="connsiteX186" fmla="*/ 404239 w 419100"/>
                <a:gd name="connsiteY186" fmla="*/ 289990 h 295275"/>
                <a:gd name="connsiteX187" fmla="*/ 411620 w 419100"/>
                <a:gd name="connsiteY187" fmla="*/ 286294 h 295275"/>
                <a:gd name="connsiteX188" fmla="*/ 415307 w 419100"/>
                <a:gd name="connsiteY188" fmla="*/ 282608 h 295275"/>
                <a:gd name="connsiteX189" fmla="*/ 415307 w 419100"/>
                <a:gd name="connsiteY189" fmla="*/ 278912 h 295275"/>
                <a:gd name="connsiteX190" fmla="*/ 415307 w 419100"/>
                <a:gd name="connsiteY190" fmla="*/ 275226 h 295275"/>
                <a:gd name="connsiteX191" fmla="*/ 411620 w 419100"/>
                <a:gd name="connsiteY191" fmla="*/ 271531 h 295275"/>
                <a:gd name="connsiteX192" fmla="*/ 415307 w 419100"/>
                <a:gd name="connsiteY192" fmla="*/ 267844 h 295275"/>
                <a:gd name="connsiteX193" fmla="*/ 411620 w 419100"/>
                <a:gd name="connsiteY193" fmla="*/ 264149 h 295275"/>
                <a:gd name="connsiteX194" fmla="*/ 411620 w 419100"/>
                <a:gd name="connsiteY194" fmla="*/ 260462 h 295275"/>
                <a:gd name="connsiteX195" fmla="*/ 407934 w 419100"/>
                <a:gd name="connsiteY195" fmla="*/ 253081 h 295275"/>
                <a:gd name="connsiteX196" fmla="*/ 407934 w 419100"/>
                <a:gd name="connsiteY196" fmla="*/ 249394 h 295275"/>
                <a:gd name="connsiteX197" fmla="*/ 404239 w 419100"/>
                <a:gd name="connsiteY197" fmla="*/ 249394 h 295275"/>
                <a:gd name="connsiteX198" fmla="*/ 400552 w 419100"/>
                <a:gd name="connsiteY198" fmla="*/ 245699 h 295275"/>
                <a:gd name="connsiteX199" fmla="*/ 396866 w 419100"/>
                <a:gd name="connsiteY199" fmla="*/ 242013 h 295275"/>
                <a:gd name="connsiteX200" fmla="*/ 396866 w 419100"/>
                <a:gd name="connsiteY200" fmla="*/ 238317 h 295275"/>
                <a:gd name="connsiteX201" fmla="*/ 396866 w 419100"/>
                <a:gd name="connsiteY201" fmla="*/ 234631 h 295275"/>
                <a:gd name="connsiteX202" fmla="*/ 396866 w 419100"/>
                <a:gd name="connsiteY202" fmla="*/ 230935 h 295275"/>
                <a:gd name="connsiteX203" fmla="*/ 396866 w 419100"/>
                <a:gd name="connsiteY203" fmla="*/ 219867 h 295275"/>
                <a:gd name="connsiteX204" fmla="*/ 385798 w 419100"/>
                <a:gd name="connsiteY204" fmla="*/ 212485 h 295275"/>
                <a:gd name="connsiteX205" fmla="*/ 389484 w 419100"/>
                <a:gd name="connsiteY205" fmla="*/ 212485 h 295275"/>
                <a:gd name="connsiteX206" fmla="*/ 389484 w 419100"/>
                <a:gd name="connsiteY206" fmla="*/ 208799 h 295275"/>
                <a:gd name="connsiteX207" fmla="*/ 382112 w 419100"/>
                <a:gd name="connsiteY207" fmla="*/ 208799 h 295275"/>
                <a:gd name="connsiteX208" fmla="*/ 382112 w 419100"/>
                <a:gd name="connsiteY208" fmla="*/ 190339 h 295275"/>
                <a:gd name="connsiteX209" fmla="*/ 382112 w 419100"/>
                <a:gd name="connsiteY209" fmla="*/ 186653 h 295275"/>
                <a:gd name="connsiteX210" fmla="*/ 385798 w 419100"/>
                <a:gd name="connsiteY210" fmla="*/ 182958 h 295275"/>
                <a:gd name="connsiteX211" fmla="*/ 382112 w 419100"/>
                <a:gd name="connsiteY211" fmla="*/ 179271 h 295275"/>
                <a:gd name="connsiteX212" fmla="*/ 382112 w 419100"/>
                <a:gd name="connsiteY212" fmla="*/ 175576 h 295275"/>
                <a:gd name="connsiteX213" fmla="*/ 382112 w 419100"/>
                <a:gd name="connsiteY213" fmla="*/ 171890 h 295275"/>
                <a:gd name="connsiteX214" fmla="*/ 382112 w 419100"/>
                <a:gd name="connsiteY214" fmla="*/ 168194 h 295275"/>
                <a:gd name="connsiteX215" fmla="*/ 378416 w 419100"/>
                <a:gd name="connsiteY215" fmla="*/ 160821 h 295275"/>
                <a:gd name="connsiteX216" fmla="*/ 367348 w 419100"/>
                <a:gd name="connsiteY216" fmla="*/ 164508 h 295275"/>
                <a:gd name="connsiteX217" fmla="*/ 371044 w 419100"/>
                <a:gd name="connsiteY217" fmla="*/ 168194 h 295275"/>
                <a:gd name="connsiteX218" fmla="*/ 371044 w 419100"/>
                <a:gd name="connsiteY218" fmla="*/ 171890 h 295275"/>
                <a:gd name="connsiteX219" fmla="*/ 371044 w 419100"/>
                <a:gd name="connsiteY219" fmla="*/ 175576 h 295275"/>
                <a:gd name="connsiteX220" fmla="*/ 367348 w 419100"/>
                <a:gd name="connsiteY220" fmla="*/ 175576 h 295275"/>
                <a:gd name="connsiteX221" fmla="*/ 367348 w 419100"/>
                <a:gd name="connsiteY221" fmla="*/ 179271 h 295275"/>
                <a:gd name="connsiteX222" fmla="*/ 363662 w 419100"/>
                <a:gd name="connsiteY222" fmla="*/ 182958 h 295275"/>
                <a:gd name="connsiteX223" fmla="*/ 359976 w 419100"/>
                <a:gd name="connsiteY223" fmla="*/ 182958 h 295275"/>
                <a:gd name="connsiteX224" fmla="*/ 356280 w 419100"/>
                <a:gd name="connsiteY224" fmla="*/ 186653 h 295275"/>
                <a:gd name="connsiteX225" fmla="*/ 352594 w 419100"/>
                <a:gd name="connsiteY225" fmla="*/ 190339 h 295275"/>
                <a:gd name="connsiteX226" fmla="*/ 348908 w 419100"/>
                <a:gd name="connsiteY226" fmla="*/ 190339 h 295275"/>
                <a:gd name="connsiteX227" fmla="*/ 345212 w 419100"/>
                <a:gd name="connsiteY227" fmla="*/ 190339 h 295275"/>
                <a:gd name="connsiteX228" fmla="*/ 337840 w 419100"/>
                <a:gd name="connsiteY228" fmla="*/ 186653 h 295275"/>
                <a:gd name="connsiteX229" fmla="*/ 334144 w 419100"/>
                <a:gd name="connsiteY229" fmla="*/ 182958 h 295275"/>
                <a:gd name="connsiteX230" fmla="*/ 334144 w 419100"/>
                <a:gd name="connsiteY230" fmla="*/ 179271 h 295275"/>
                <a:gd name="connsiteX231" fmla="*/ 337840 w 419100"/>
                <a:gd name="connsiteY231" fmla="*/ 179271 h 295275"/>
                <a:gd name="connsiteX232" fmla="*/ 341526 w 419100"/>
                <a:gd name="connsiteY232" fmla="*/ 175576 h 295275"/>
                <a:gd name="connsiteX233" fmla="*/ 345212 w 419100"/>
                <a:gd name="connsiteY233" fmla="*/ 171890 h 295275"/>
                <a:gd name="connsiteX234" fmla="*/ 345212 w 419100"/>
                <a:gd name="connsiteY234" fmla="*/ 168194 h 295275"/>
                <a:gd name="connsiteX235" fmla="*/ 345212 w 419100"/>
                <a:gd name="connsiteY235" fmla="*/ 160821 h 295275"/>
                <a:gd name="connsiteX236" fmla="*/ 348908 w 419100"/>
                <a:gd name="connsiteY236" fmla="*/ 157126 h 295275"/>
                <a:gd name="connsiteX237" fmla="*/ 348908 w 419100"/>
                <a:gd name="connsiteY237" fmla="*/ 153440 h 295275"/>
                <a:gd name="connsiteX238" fmla="*/ 352594 w 419100"/>
                <a:gd name="connsiteY238" fmla="*/ 153440 h 295275"/>
                <a:gd name="connsiteX239" fmla="*/ 356280 w 419100"/>
                <a:gd name="connsiteY239" fmla="*/ 153440 h 295275"/>
                <a:gd name="connsiteX240" fmla="*/ 356280 w 419100"/>
                <a:gd name="connsiteY240" fmla="*/ 149744 h 295275"/>
                <a:gd name="connsiteX241" fmla="*/ 352594 w 419100"/>
                <a:gd name="connsiteY241" fmla="*/ 149744 h 295275"/>
                <a:gd name="connsiteX242" fmla="*/ 352594 w 419100"/>
                <a:gd name="connsiteY242" fmla="*/ 146058 h 295275"/>
                <a:gd name="connsiteX243" fmla="*/ 352594 w 419100"/>
                <a:gd name="connsiteY243" fmla="*/ 142362 h 295275"/>
                <a:gd name="connsiteX244" fmla="*/ 359976 w 419100"/>
                <a:gd name="connsiteY244" fmla="*/ 142362 h 295275"/>
                <a:gd name="connsiteX245" fmla="*/ 359976 w 419100"/>
                <a:gd name="connsiteY245" fmla="*/ 138676 h 295275"/>
                <a:gd name="connsiteX246" fmla="*/ 359976 w 419100"/>
                <a:gd name="connsiteY246" fmla="*/ 134980 h 295275"/>
                <a:gd name="connsiteX247" fmla="*/ 352594 w 419100"/>
                <a:gd name="connsiteY247" fmla="*/ 134980 h 295275"/>
                <a:gd name="connsiteX248" fmla="*/ 352594 w 419100"/>
                <a:gd name="connsiteY248" fmla="*/ 127598 h 295275"/>
                <a:gd name="connsiteX249" fmla="*/ 348908 w 419100"/>
                <a:gd name="connsiteY249" fmla="*/ 127598 h 295275"/>
                <a:gd name="connsiteX250" fmla="*/ 345212 w 419100"/>
                <a:gd name="connsiteY250" fmla="*/ 127598 h 295275"/>
                <a:gd name="connsiteX251" fmla="*/ 345212 w 419100"/>
                <a:gd name="connsiteY251" fmla="*/ 123912 h 295275"/>
                <a:gd name="connsiteX252" fmla="*/ 345212 w 419100"/>
                <a:gd name="connsiteY252" fmla="*/ 120216 h 295275"/>
                <a:gd name="connsiteX253" fmla="*/ 341526 w 419100"/>
                <a:gd name="connsiteY253" fmla="*/ 116530 h 295275"/>
                <a:gd name="connsiteX254" fmla="*/ 345212 w 419100"/>
                <a:gd name="connsiteY254" fmla="*/ 116530 h 295275"/>
                <a:gd name="connsiteX255" fmla="*/ 345212 w 419100"/>
                <a:gd name="connsiteY255" fmla="*/ 112844 h 295275"/>
                <a:gd name="connsiteX256" fmla="*/ 326772 w 419100"/>
                <a:gd name="connsiteY256" fmla="*/ 112844 h 295275"/>
                <a:gd name="connsiteX257" fmla="*/ 323086 w 419100"/>
                <a:gd name="connsiteY257" fmla="*/ 109148 h 295275"/>
                <a:gd name="connsiteX258" fmla="*/ 323086 w 419100"/>
                <a:gd name="connsiteY258" fmla="*/ 98080 h 295275"/>
                <a:gd name="connsiteX259" fmla="*/ 323086 w 419100"/>
                <a:gd name="connsiteY259" fmla="*/ 94385 h 295275"/>
                <a:gd name="connsiteX260" fmla="*/ 323086 w 419100"/>
                <a:gd name="connsiteY260" fmla="*/ 90698 h 295275"/>
                <a:gd name="connsiteX261" fmla="*/ 323086 w 419100"/>
                <a:gd name="connsiteY261" fmla="*/ 87003 h 295275"/>
                <a:gd name="connsiteX262" fmla="*/ 323086 w 419100"/>
                <a:gd name="connsiteY262" fmla="*/ 83316 h 295275"/>
                <a:gd name="connsiteX263" fmla="*/ 308322 w 419100"/>
                <a:gd name="connsiteY263" fmla="*/ 72239 h 295275"/>
                <a:gd name="connsiteX264" fmla="*/ 308322 w 419100"/>
                <a:gd name="connsiteY264" fmla="*/ 75935 h 295275"/>
                <a:gd name="connsiteX265" fmla="*/ 300949 w 419100"/>
                <a:gd name="connsiteY265" fmla="*/ 72239 h 295275"/>
                <a:gd name="connsiteX266" fmla="*/ 300949 w 419100"/>
                <a:gd name="connsiteY266" fmla="*/ 68553 h 295275"/>
                <a:gd name="connsiteX267" fmla="*/ 304636 w 419100"/>
                <a:gd name="connsiteY267" fmla="*/ 50103 h 295275"/>
                <a:gd name="connsiteX268" fmla="*/ 300949 w 419100"/>
                <a:gd name="connsiteY268" fmla="*/ 46407 h 295275"/>
                <a:gd name="connsiteX269" fmla="*/ 297254 w 419100"/>
                <a:gd name="connsiteY269" fmla="*/ 42721 h 295275"/>
                <a:gd name="connsiteX270" fmla="*/ 293568 w 419100"/>
                <a:gd name="connsiteY270" fmla="*/ 39025 h 295275"/>
                <a:gd name="connsiteX271" fmla="*/ 289881 w 419100"/>
                <a:gd name="connsiteY271" fmla="*/ 39025 h 295275"/>
                <a:gd name="connsiteX272" fmla="*/ 289881 w 419100"/>
                <a:gd name="connsiteY272" fmla="*/ 35339 h 295275"/>
                <a:gd name="connsiteX273" fmla="*/ 286186 w 419100"/>
                <a:gd name="connsiteY273" fmla="*/ 31643 h 295275"/>
                <a:gd name="connsiteX274" fmla="*/ 282499 w 419100"/>
                <a:gd name="connsiteY274" fmla="*/ 31643 h 295275"/>
                <a:gd name="connsiteX275" fmla="*/ 278813 w 419100"/>
                <a:gd name="connsiteY275" fmla="*/ 31643 h 295275"/>
                <a:gd name="connsiteX276" fmla="*/ 275118 w 419100"/>
                <a:gd name="connsiteY276" fmla="*/ 31643 h 295275"/>
                <a:gd name="connsiteX277" fmla="*/ 271431 w 419100"/>
                <a:gd name="connsiteY277" fmla="*/ 27957 h 295275"/>
                <a:gd name="connsiteX278" fmla="*/ 264050 w 419100"/>
                <a:gd name="connsiteY278" fmla="*/ 27957 h 295275"/>
                <a:gd name="connsiteX279" fmla="*/ 260363 w 419100"/>
                <a:gd name="connsiteY279" fmla="*/ 24262 h 295275"/>
                <a:gd name="connsiteX280" fmla="*/ 245609 w 419100"/>
                <a:gd name="connsiteY280" fmla="*/ 24262 h 295275"/>
                <a:gd name="connsiteX281" fmla="*/ 238227 w 419100"/>
                <a:gd name="connsiteY281" fmla="*/ 20575 h 295275"/>
                <a:gd name="connsiteX282" fmla="*/ 227162 w 419100"/>
                <a:gd name="connsiteY282" fmla="*/ 42721 h 295275"/>
                <a:gd name="connsiteX283" fmla="*/ 227162 w 419100"/>
                <a:gd name="connsiteY283" fmla="*/ 46407 h 295275"/>
                <a:gd name="connsiteX284" fmla="*/ 227162 w 419100"/>
                <a:gd name="connsiteY284" fmla="*/ 50103 h 295275"/>
                <a:gd name="connsiteX285" fmla="*/ 223473 w 419100"/>
                <a:gd name="connsiteY285" fmla="*/ 57485 h 295275"/>
                <a:gd name="connsiteX286" fmla="*/ 219784 w 419100"/>
                <a:gd name="connsiteY286" fmla="*/ 68553 h 295275"/>
                <a:gd name="connsiteX287" fmla="*/ 216095 w 419100"/>
                <a:gd name="connsiteY287" fmla="*/ 75935 h 295275"/>
                <a:gd name="connsiteX288" fmla="*/ 216095 w 419100"/>
                <a:gd name="connsiteY288" fmla="*/ 83316 h 295275"/>
                <a:gd name="connsiteX289" fmla="*/ 212406 w 419100"/>
                <a:gd name="connsiteY289" fmla="*/ 87003 h 295275"/>
                <a:gd name="connsiteX290" fmla="*/ 212406 w 419100"/>
                <a:gd name="connsiteY290" fmla="*/ 90698 h 295275"/>
                <a:gd name="connsiteX291" fmla="*/ 205027 w 419100"/>
                <a:gd name="connsiteY291" fmla="*/ 105462 h 295275"/>
                <a:gd name="connsiteX292" fmla="*/ 197649 w 419100"/>
                <a:gd name="connsiteY292" fmla="*/ 105462 h 295275"/>
                <a:gd name="connsiteX293" fmla="*/ 193960 w 419100"/>
                <a:gd name="connsiteY293" fmla="*/ 105462 h 295275"/>
                <a:gd name="connsiteX294" fmla="*/ 190271 w 419100"/>
                <a:gd name="connsiteY294" fmla="*/ 105462 h 295275"/>
                <a:gd name="connsiteX295" fmla="*/ 168136 w 419100"/>
                <a:gd name="connsiteY295" fmla="*/ 101766 h 295275"/>
                <a:gd name="connsiteX296" fmla="*/ 164447 w 419100"/>
                <a:gd name="connsiteY296" fmla="*/ 101766 h 295275"/>
                <a:gd name="connsiteX297" fmla="*/ 146001 w 419100"/>
                <a:gd name="connsiteY297" fmla="*/ 109148 h 295275"/>
                <a:gd name="connsiteX298" fmla="*/ 131243 w 419100"/>
                <a:gd name="connsiteY298" fmla="*/ 112844 h 295275"/>
                <a:gd name="connsiteX299" fmla="*/ 131243 w 419100"/>
                <a:gd name="connsiteY299" fmla="*/ 98080 h 295275"/>
                <a:gd name="connsiteX300" fmla="*/ 127554 w 419100"/>
                <a:gd name="connsiteY300" fmla="*/ 98080 h 295275"/>
                <a:gd name="connsiteX301" fmla="*/ 127554 w 419100"/>
                <a:gd name="connsiteY301" fmla="*/ 90698 h 295275"/>
                <a:gd name="connsiteX302" fmla="*/ 127554 w 419100"/>
                <a:gd name="connsiteY302" fmla="*/ 87003 h 295275"/>
                <a:gd name="connsiteX303" fmla="*/ 123865 w 419100"/>
                <a:gd name="connsiteY303" fmla="*/ 87003 h 295275"/>
                <a:gd name="connsiteX304" fmla="*/ 120176 w 419100"/>
                <a:gd name="connsiteY304" fmla="*/ 83316 h 295275"/>
                <a:gd name="connsiteX305" fmla="*/ 127554 w 419100"/>
                <a:gd name="connsiteY305" fmla="*/ 83316 h 295275"/>
                <a:gd name="connsiteX306" fmla="*/ 127554 w 419100"/>
                <a:gd name="connsiteY306" fmla="*/ 79621 h 295275"/>
                <a:gd name="connsiteX307" fmla="*/ 127554 w 419100"/>
                <a:gd name="connsiteY307" fmla="*/ 75935 h 295275"/>
                <a:gd name="connsiteX308" fmla="*/ 127554 w 419100"/>
                <a:gd name="connsiteY308" fmla="*/ 68553 h 295275"/>
                <a:gd name="connsiteX309" fmla="*/ 127554 w 419100"/>
                <a:gd name="connsiteY309" fmla="*/ 61171 h 295275"/>
                <a:gd name="connsiteX310" fmla="*/ 131243 w 419100"/>
                <a:gd name="connsiteY310" fmla="*/ 61171 h 295275"/>
                <a:gd name="connsiteX311" fmla="*/ 138621 w 419100"/>
                <a:gd name="connsiteY311" fmla="*/ 57485 h 295275"/>
                <a:gd name="connsiteX312" fmla="*/ 131243 w 419100"/>
                <a:gd name="connsiteY312" fmla="*/ 53789 h 295275"/>
                <a:gd name="connsiteX313" fmla="*/ 131243 w 419100"/>
                <a:gd name="connsiteY313" fmla="*/ 46407 h 295275"/>
                <a:gd name="connsiteX314" fmla="*/ 131243 w 419100"/>
                <a:gd name="connsiteY314" fmla="*/ 42721 h 295275"/>
                <a:gd name="connsiteX315" fmla="*/ 127554 w 419100"/>
                <a:gd name="connsiteY315" fmla="*/ 42721 h 295275"/>
                <a:gd name="connsiteX316" fmla="*/ 127554 w 419100"/>
                <a:gd name="connsiteY316" fmla="*/ 46407 h 295275"/>
                <a:gd name="connsiteX317" fmla="*/ 123865 w 419100"/>
                <a:gd name="connsiteY317" fmla="*/ 42721 h 295275"/>
                <a:gd name="connsiteX318" fmla="*/ 120176 w 419100"/>
                <a:gd name="connsiteY318" fmla="*/ 31643 h 295275"/>
                <a:gd name="connsiteX319" fmla="*/ 120176 w 419100"/>
                <a:gd name="connsiteY319" fmla="*/ 27957 h 295275"/>
                <a:gd name="connsiteX320" fmla="*/ 123865 w 419100"/>
                <a:gd name="connsiteY320" fmla="*/ 27957 h 295275"/>
                <a:gd name="connsiteX321" fmla="*/ 127554 w 419100"/>
                <a:gd name="connsiteY321" fmla="*/ 27957 h 295275"/>
                <a:gd name="connsiteX322" fmla="*/ 127554 w 419100"/>
                <a:gd name="connsiteY322" fmla="*/ 24262 h 295275"/>
                <a:gd name="connsiteX323" fmla="*/ 131243 w 419100"/>
                <a:gd name="connsiteY323" fmla="*/ 24262 h 295275"/>
                <a:gd name="connsiteX324" fmla="*/ 134932 w 419100"/>
                <a:gd name="connsiteY324" fmla="*/ 24262 h 295275"/>
                <a:gd name="connsiteX325" fmla="*/ 134932 w 419100"/>
                <a:gd name="connsiteY325" fmla="*/ 20575 h 295275"/>
                <a:gd name="connsiteX326" fmla="*/ 138621 w 419100"/>
                <a:gd name="connsiteY326" fmla="*/ 20575 h 295275"/>
                <a:gd name="connsiteX327" fmla="*/ 142312 w 419100"/>
                <a:gd name="connsiteY327" fmla="*/ 20575 h 295275"/>
                <a:gd name="connsiteX328" fmla="*/ 138621 w 419100"/>
                <a:gd name="connsiteY328" fmla="*/ 16889 h 295275"/>
                <a:gd name="connsiteX329" fmla="*/ 134932 w 419100"/>
                <a:gd name="connsiteY329" fmla="*/ 16889 h 295275"/>
                <a:gd name="connsiteX330" fmla="*/ 131243 w 419100"/>
                <a:gd name="connsiteY330" fmla="*/ 20575 h 295275"/>
                <a:gd name="connsiteX331" fmla="*/ 127554 w 419100"/>
                <a:gd name="connsiteY331" fmla="*/ 20575 h 295275"/>
                <a:gd name="connsiteX332" fmla="*/ 123865 w 419100"/>
                <a:gd name="connsiteY332" fmla="*/ 16889 h 295275"/>
                <a:gd name="connsiteX333" fmla="*/ 120176 w 419100"/>
                <a:gd name="connsiteY333" fmla="*/ 20575 h 295275"/>
                <a:gd name="connsiteX334" fmla="*/ 120176 w 419100"/>
                <a:gd name="connsiteY334" fmla="*/ 5812 h 295275"/>
                <a:gd name="connsiteX335" fmla="*/ 116486 w 419100"/>
                <a:gd name="connsiteY335" fmla="*/ 5812 h 295275"/>
                <a:gd name="connsiteX336" fmla="*/ 112797 w 419100"/>
                <a:gd name="connsiteY336" fmla="*/ 5812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419100" h="295275">
                  <a:moveTo>
                    <a:pt x="112797" y="5812"/>
                  </a:moveTo>
                  <a:lnTo>
                    <a:pt x="112797" y="9507"/>
                  </a:lnTo>
                  <a:lnTo>
                    <a:pt x="109108" y="9507"/>
                  </a:lnTo>
                  <a:lnTo>
                    <a:pt x="109108" y="13193"/>
                  </a:lnTo>
                  <a:lnTo>
                    <a:pt x="109108" y="16889"/>
                  </a:lnTo>
                  <a:lnTo>
                    <a:pt x="101730" y="13193"/>
                  </a:lnTo>
                  <a:lnTo>
                    <a:pt x="101730" y="16889"/>
                  </a:lnTo>
                  <a:lnTo>
                    <a:pt x="94351" y="20575"/>
                  </a:lnTo>
                  <a:lnTo>
                    <a:pt x="94351" y="24262"/>
                  </a:lnTo>
                  <a:lnTo>
                    <a:pt x="90662" y="24262"/>
                  </a:lnTo>
                  <a:lnTo>
                    <a:pt x="86973" y="24262"/>
                  </a:lnTo>
                  <a:lnTo>
                    <a:pt x="83284" y="24262"/>
                  </a:lnTo>
                  <a:lnTo>
                    <a:pt x="75906" y="20575"/>
                  </a:lnTo>
                  <a:lnTo>
                    <a:pt x="72217" y="24262"/>
                  </a:lnTo>
                  <a:lnTo>
                    <a:pt x="72217" y="27957"/>
                  </a:lnTo>
                  <a:lnTo>
                    <a:pt x="75906" y="31643"/>
                  </a:lnTo>
                  <a:lnTo>
                    <a:pt x="72217" y="35339"/>
                  </a:lnTo>
                  <a:lnTo>
                    <a:pt x="68527" y="39025"/>
                  </a:lnTo>
                  <a:lnTo>
                    <a:pt x="68527" y="42721"/>
                  </a:lnTo>
                  <a:lnTo>
                    <a:pt x="64838" y="42721"/>
                  </a:lnTo>
                  <a:lnTo>
                    <a:pt x="61149" y="42721"/>
                  </a:lnTo>
                  <a:lnTo>
                    <a:pt x="61149" y="46407"/>
                  </a:lnTo>
                  <a:lnTo>
                    <a:pt x="57460" y="42721"/>
                  </a:lnTo>
                  <a:lnTo>
                    <a:pt x="53771" y="42721"/>
                  </a:lnTo>
                  <a:lnTo>
                    <a:pt x="50082" y="42721"/>
                  </a:lnTo>
                  <a:lnTo>
                    <a:pt x="46393" y="46407"/>
                  </a:lnTo>
                  <a:lnTo>
                    <a:pt x="39014" y="50103"/>
                  </a:lnTo>
                  <a:lnTo>
                    <a:pt x="39014" y="53789"/>
                  </a:lnTo>
                  <a:lnTo>
                    <a:pt x="35325" y="53789"/>
                  </a:lnTo>
                  <a:lnTo>
                    <a:pt x="31636" y="57485"/>
                  </a:lnTo>
                  <a:lnTo>
                    <a:pt x="27947" y="57485"/>
                  </a:lnTo>
                  <a:lnTo>
                    <a:pt x="27947" y="61171"/>
                  </a:lnTo>
                  <a:lnTo>
                    <a:pt x="24257" y="61171"/>
                  </a:lnTo>
                  <a:lnTo>
                    <a:pt x="20568" y="64867"/>
                  </a:lnTo>
                  <a:lnTo>
                    <a:pt x="16879" y="64867"/>
                  </a:lnTo>
                  <a:lnTo>
                    <a:pt x="13190" y="64867"/>
                  </a:lnTo>
                  <a:lnTo>
                    <a:pt x="9501" y="64867"/>
                  </a:lnTo>
                  <a:lnTo>
                    <a:pt x="9501" y="68553"/>
                  </a:lnTo>
                  <a:lnTo>
                    <a:pt x="13190" y="72239"/>
                  </a:lnTo>
                  <a:lnTo>
                    <a:pt x="13190" y="79621"/>
                  </a:lnTo>
                  <a:lnTo>
                    <a:pt x="13190" y="83316"/>
                  </a:lnTo>
                  <a:lnTo>
                    <a:pt x="16879" y="83316"/>
                  </a:lnTo>
                  <a:lnTo>
                    <a:pt x="16879" y="87003"/>
                  </a:lnTo>
                  <a:lnTo>
                    <a:pt x="20568" y="90698"/>
                  </a:lnTo>
                  <a:lnTo>
                    <a:pt x="24257" y="90698"/>
                  </a:lnTo>
                  <a:lnTo>
                    <a:pt x="24257" y="94385"/>
                  </a:lnTo>
                  <a:lnTo>
                    <a:pt x="27947" y="98080"/>
                  </a:lnTo>
                  <a:lnTo>
                    <a:pt x="31636" y="101766"/>
                  </a:lnTo>
                  <a:lnTo>
                    <a:pt x="39014" y="101766"/>
                  </a:lnTo>
                  <a:lnTo>
                    <a:pt x="42703" y="105462"/>
                  </a:lnTo>
                  <a:lnTo>
                    <a:pt x="57460" y="116530"/>
                  </a:lnTo>
                  <a:lnTo>
                    <a:pt x="46393" y="120216"/>
                  </a:lnTo>
                  <a:lnTo>
                    <a:pt x="46393" y="134980"/>
                  </a:lnTo>
                  <a:lnTo>
                    <a:pt x="42703" y="134980"/>
                  </a:lnTo>
                  <a:lnTo>
                    <a:pt x="39014" y="134980"/>
                  </a:lnTo>
                  <a:lnTo>
                    <a:pt x="31636" y="134980"/>
                  </a:lnTo>
                  <a:lnTo>
                    <a:pt x="27947" y="134980"/>
                  </a:lnTo>
                  <a:lnTo>
                    <a:pt x="27947" y="131294"/>
                  </a:lnTo>
                  <a:lnTo>
                    <a:pt x="20568" y="131294"/>
                  </a:lnTo>
                  <a:lnTo>
                    <a:pt x="16879" y="134980"/>
                  </a:lnTo>
                  <a:lnTo>
                    <a:pt x="13190" y="138676"/>
                  </a:lnTo>
                  <a:lnTo>
                    <a:pt x="16879" y="138676"/>
                  </a:lnTo>
                  <a:lnTo>
                    <a:pt x="13190" y="142362"/>
                  </a:lnTo>
                  <a:lnTo>
                    <a:pt x="13190" y="146058"/>
                  </a:lnTo>
                  <a:lnTo>
                    <a:pt x="9501" y="146058"/>
                  </a:lnTo>
                  <a:lnTo>
                    <a:pt x="5812" y="146058"/>
                  </a:lnTo>
                  <a:lnTo>
                    <a:pt x="5812" y="149744"/>
                  </a:lnTo>
                  <a:lnTo>
                    <a:pt x="20568" y="157126"/>
                  </a:lnTo>
                  <a:lnTo>
                    <a:pt x="24257" y="160821"/>
                  </a:lnTo>
                  <a:lnTo>
                    <a:pt x="20568" y="160821"/>
                  </a:lnTo>
                  <a:lnTo>
                    <a:pt x="20568" y="171890"/>
                  </a:lnTo>
                  <a:lnTo>
                    <a:pt x="24257" y="182958"/>
                  </a:lnTo>
                  <a:lnTo>
                    <a:pt x="24257" y="186653"/>
                  </a:lnTo>
                  <a:lnTo>
                    <a:pt x="27947" y="186653"/>
                  </a:lnTo>
                  <a:lnTo>
                    <a:pt x="24257" y="190339"/>
                  </a:lnTo>
                  <a:lnTo>
                    <a:pt x="31636" y="190339"/>
                  </a:lnTo>
                  <a:lnTo>
                    <a:pt x="46393" y="190339"/>
                  </a:lnTo>
                  <a:lnTo>
                    <a:pt x="42703" y="194035"/>
                  </a:lnTo>
                  <a:lnTo>
                    <a:pt x="39014" y="197721"/>
                  </a:lnTo>
                  <a:lnTo>
                    <a:pt x="35325" y="197721"/>
                  </a:lnTo>
                  <a:lnTo>
                    <a:pt x="24257" y="205103"/>
                  </a:lnTo>
                  <a:lnTo>
                    <a:pt x="20568" y="216171"/>
                  </a:lnTo>
                  <a:lnTo>
                    <a:pt x="16879" y="219867"/>
                  </a:lnTo>
                  <a:lnTo>
                    <a:pt x="13190" y="219867"/>
                  </a:lnTo>
                  <a:lnTo>
                    <a:pt x="13190" y="223553"/>
                  </a:lnTo>
                  <a:lnTo>
                    <a:pt x="9501" y="227249"/>
                  </a:lnTo>
                  <a:lnTo>
                    <a:pt x="13190" y="234631"/>
                  </a:lnTo>
                  <a:lnTo>
                    <a:pt x="16879" y="234631"/>
                  </a:lnTo>
                  <a:lnTo>
                    <a:pt x="20568" y="230935"/>
                  </a:lnTo>
                  <a:lnTo>
                    <a:pt x="24257" y="230935"/>
                  </a:lnTo>
                  <a:lnTo>
                    <a:pt x="27947" y="230935"/>
                  </a:lnTo>
                  <a:lnTo>
                    <a:pt x="31636" y="230935"/>
                  </a:lnTo>
                  <a:lnTo>
                    <a:pt x="35325" y="230935"/>
                  </a:lnTo>
                  <a:lnTo>
                    <a:pt x="39014" y="242013"/>
                  </a:lnTo>
                  <a:lnTo>
                    <a:pt x="35325" y="242013"/>
                  </a:lnTo>
                  <a:lnTo>
                    <a:pt x="20568" y="245699"/>
                  </a:lnTo>
                  <a:lnTo>
                    <a:pt x="24257" y="249394"/>
                  </a:lnTo>
                  <a:lnTo>
                    <a:pt x="27947" y="256776"/>
                  </a:lnTo>
                  <a:lnTo>
                    <a:pt x="31636" y="264149"/>
                  </a:lnTo>
                  <a:lnTo>
                    <a:pt x="35325" y="267844"/>
                  </a:lnTo>
                  <a:lnTo>
                    <a:pt x="39014" y="271531"/>
                  </a:lnTo>
                  <a:lnTo>
                    <a:pt x="42703" y="275226"/>
                  </a:lnTo>
                  <a:lnTo>
                    <a:pt x="42703" y="278912"/>
                  </a:lnTo>
                  <a:lnTo>
                    <a:pt x="46393" y="282608"/>
                  </a:lnTo>
                  <a:lnTo>
                    <a:pt x="46393" y="289990"/>
                  </a:lnTo>
                  <a:lnTo>
                    <a:pt x="46393" y="293676"/>
                  </a:lnTo>
                  <a:lnTo>
                    <a:pt x="50082" y="293676"/>
                  </a:lnTo>
                  <a:lnTo>
                    <a:pt x="57460" y="293676"/>
                  </a:lnTo>
                  <a:lnTo>
                    <a:pt x="61149" y="293676"/>
                  </a:lnTo>
                  <a:lnTo>
                    <a:pt x="64838" y="289990"/>
                  </a:lnTo>
                  <a:lnTo>
                    <a:pt x="68527" y="289990"/>
                  </a:lnTo>
                  <a:lnTo>
                    <a:pt x="68527" y="286294"/>
                  </a:lnTo>
                  <a:lnTo>
                    <a:pt x="72217" y="286294"/>
                  </a:lnTo>
                  <a:lnTo>
                    <a:pt x="75906" y="278912"/>
                  </a:lnTo>
                  <a:lnTo>
                    <a:pt x="79595" y="275226"/>
                  </a:lnTo>
                  <a:lnTo>
                    <a:pt x="83284" y="275226"/>
                  </a:lnTo>
                  <a:lnTo>
                    <a:pt x="86973" y="275226"/>
                  </a:lnTo>
                  <a:lnTo>
                    <a:pt x="90662" y="278912"/>
                  </a:lnTo>
                  <a:lnTo>
                    <a:pt x="94351" y="278912"/>
                  </a:lnTo>
                  <a:lnTo>
                    <a:pt x="98041" y="275226"/>
                  </a:lnTo>
                  <a:lnTo>
                    <a:pt x="98041" y="271531"/>
                  </a:lnTo>
                  <a:lnTo>
                    <a:pt x="101730" y="267844"/>
                  </a:lnTo>
                  <a:lnTo>
                    <a:pt x="105419" y="264149"/>
                  </a:lnTo>
                  <a:lnTo>
                    <a:pt x="109108" y="264149"/>
                  </a:lnTo>
                  <a:lnTo>
                    <a:pt x="112797" y="264149"/>
                  </a:lnTo>
                  <a:lnTo>
                    <a:pt x="120176" y="271531"/>
                  </a:lnTo>
                  <a:lnTo>
                    <a:pt x="123865" y="271531"/>
                  </a:lnTo>
                  <a:lnTo>
                    <a:pt x="127554" y="267844"/>
                  </a:lnTo>
                  <a:lnTo>
                    <a:pt x="127554" y="264149"/>
                  </a:lnTo>
                  <a:lnTo>
                    <a:pt x="131243" y="264149"/>
                  </a:lnTo>
                  <a:lnTo>
                    <a:pt x="134932" y="264149"/>
                  </a:lnTo>
                  <a:lnTo>
                    <a:pt x="138621" y="275226"/>
                  </a:lnTo>
                  <a:lnTo>
                    <a:pt x="134932" y="282608"/>
                  </a:lnTo>
                  <a:lnTo>
                    <a:pt x="149690" y="286294"/>
                  </a:lnTo>
                  <a:lnTo>
                    <a:pt x="157068" y="289990"/>
                  </a:lnTo>
                  <a:lnTo>
                    <a:pt x="171825" y="297372"/>
                  </a:lnTo>
                  <a:lnTo>
                    <a:pt x="175514" y="297372"/>
                  </a:lnTo>
                  <a:lnTo>
                    <a:pt x="179203" y="297372"/>
                  </a:lnTo>
                  <a:lnTo>
                    <a:pt x="182892" y="297372"/>
                  </a:lnTo>
                  <a:lnTo>
                    <a:pt x="190271" y="289990"/>
                  </a:lnTo>
                  <a:lnTo>
                    <a:pt x="193960" y="278912"/>
                  </a:lnTo>
                  <a:lnTo>
                    <a:pt x="197649" y="271531"/>
                  </a:lnTo>
                  <a:lnTo>
                    <a:pt x="201338" y="275226"/>
                  </a:lnTo>
                  <a:lnTo>
                    <a:pt x="205027" y="278912"/>
                  </a:lnTo>
                  <a:lnTo>
                    <a:pt x="208716" y="278912"/>
                  </a:lnTo>
                  <a:lnTo>
                    <a:pt x="212406" y="278912"/>
                  </a:lnTo>
                  <a:lnTo>
                    <a:pt x="216095" y="275226"/>
                  </a:lnTo>
                  <a:lnTo>
                    <a:pt x="219784" y="271531"/>
                  </a:lnTo>
                  <a:lnTo>
                    <a:pt x="219784" y="264149"/>
                  </a:lnTo>
                  <a:lnTo>
                    <a:pt x="223473" y="264149"/>
                  </a:lnTo>
                  <a:lnTo>
                    <a:pt x="227162" y="264149"/>
                  </a:lnTo>
                  <a:lnTo>
                    <a:pt x="234541" y="267844"/>
                  </a:lnTo>
                  <a:lnTo>
                    <a:pt x="241923" y="275226"/>
                  </a:lnTo>
                  <a:lnTo>
                    <a:pt x="245609" y="275226"/>
                  </a:lnTo>
                  <a:lnTo>
                    <a:pt x="256677" y="275226"/>
                  </a:lnTo>
                  <a:lnTo>
                    <a:pt x="260363" y="278912"/>
                  </a:lnTo>
                  <a:lnTo>
                    <a:pt x="264050" y="282608"/>
                  </a:lnTo>
                  <a:lnTo>
                    <a:pt x="267745" y="282608"/>
                  </a:lnTo>
                  <a:lnTo>
                    <a:pt x="271431" y="278912"/>
                  </a:lnTo>
                  <a:lnTo>
                    <a:pt x="275118" y="278912"/>
                  </a:lnTo>
                  <a:lnTo>
                    <a:pt x="275118" y="275226"/>
                  </a:lnTo>
                  <a:lnTo>
                    <a:pt x="278813" y="271531"/>
                  </a:lnTo>
                  <a:lnTo>
                    <a:pt x="282499" y="271531"/>
                  </a:lnTo>
                  <a:lnTo>
                    <a:pt x="286186" y="267844"/>
                  </a:lnTo>
                  <a:lnTo>
                    <a:pt x="293568" y="271531"/>
                  </a:lnTo>
                  <a:lnTo>
                    <a:pt x="297254" y="271531"/>
                  </a:lnTo>
                  <a:lnTo>
                    <a:pt x="300949" y="267844"/>
                  </a:lnTo>
                  <a:lnTo>
                    <a:pt x="304636" y="267844"/>
                  </a:lnTo>
                  <a:lnTo>
                    <a:pt x="312017" y="264149"/>
                  </a:lnTo>
                  <a:lnTo>
                    <a:pt x="315704" y="264149"/>
                  </a:lnTo>
                  <a:lnTo>
                    <a:pt x="319390" y="260462"/>
                  </a:lnTo>
                  <a:lnTo>
                    <a:pt x="323086" y="256776"/>
                  </a:lnTo>
                  <a:lnTo>
                    <a:pt x="326772" y="256776"/>
                  </a:lnTo>
                  <a:lnTo>
                    <a:pt x="330458" y="260462"/>
                  </a:lnTo>
                  <a:lnTo>
                    <a:pt x="341526" y="260462"/>
                  </a:lnTo>
                  <a:lnTo>
                    <a:pt x="345212" y="260462"/>
                  </a:lnTo>
                  <a:lnTo>
                    <a:pt x="348908" y="260462"/>
                  </a:lnTo>
                  <a:lnTo>
                    <a:pt x="352594" y="264149"/>
                  </a:lnTo>
                  <a:lnTo>
                    <a:pt x="359976" y="267844"/>
                  </a:lnTo>
                  <a:lnTo>
                    <a:pt x="363662" y="267844"/>
                  </a:lnTo>
                  <a:lnTo>
                    <a:pt x="367348" y="271531"/>
                  </a:lnTo>
                  <a:lnTo>
                    <a:pt x="371044" y="271531"/>
                  </a:lnTo>
                  <a:lnTo>
                    <a:pt x="374730" y="271531"/>
                  </a:lnTo>
                  <a:lnTo>
                    <a:pt x="378416" y="278912"/>
                  </a:lnTo>
                  <a:lnTo>
                    <a:pt x="385798" y="282608"/>
                  </a:lnTo>
                  <a:lnTo>
                    <a:pt x="396866" y="286294"/>
                  </a:lnTo>
                  <a:lnTo>
                    <a:pt x="404239" y="289990"/>
                  </a:lnTo>
                  <a:lnTo>
                    <a:pt x="411620" y="286294"/>
                  </a:lnTo>
                  <a:lnTo>
                    <a:pt x="415307" y="282608"/>
                  </a:lnTo>
                  <a:lnTo>
                    <a:pt x="415307" y="278912"/>
                  </a:lnTo>
                  <a:lnTo>
                    <a:pt x="415307" y="275226"/>
                  </a:lnTo>
                  <a:lnTo>
                    <a:pt x="411620" y="271531"/>
                  </a:lnTo>
                  <a:lnTo>
                    <a:pt x="415307" y="267844"/>
                  </a:lnTo>
                  <a:lnTo>
                    <a:pt x="411620" y="264149"/>
                  </a:lnTo>
                  <a:lnTo>
                    <a:pt x="411620" y="260462"/>
                  </a:lnTo>
                  <a:lnTo>
                    <a:pt x="407934" y="253081"/>
                  </a:lnTo>
                  <a:lnTo>
                    <a:pt x="407934" y="249394"/>
                  </a:lnTo>
                  <a:lnTo>
                    <a:pt x="404239" y="249394"/>
                  </a:lnTo>
                  <a:lnTo>
                    <a:pt x="400552" y="245699"/>
                  </a:lnTo>
                  <a:lnTo>
                    <a:pt x="396866" y="242013"/>
                  </a:lnTo>
                  <a:lnTo>
                    <a:pt x="396866" y="238317"/>
                  </a:lnTo>
                  <a:lnTo>
                    <a:pt x="396866" y="234631"/>
                  </a:lnTo>
                  <a:lnTo>
                    <a:pt x="396866" y="230935"/>
                  </a:lnTo>
                  <a:lnTo>
                    <a:pt x="396866" y="219867"/>
                  </a:lnTo>
                  <a:lnTo>
                    <a:pt x="385798" y="212485"/>
                  </a:lnTo>
                  <a:lnTo>
                    <a:pt x="389484" y="212485"/>
                  </a:lnTo>
                  <a:lnTo>
                    <a:pt x="389484" y="208799"/>
                  </a:lnTo>
                  <a:lnTo>
                    <a:pt x="382112" y="208799"/>
                  </a:lnTo>
                  <a:lnTo>
                    <a:pt x="382112" y="190339"/>
                  </a:lnTo>
                  <a:lnTo>
                    <a:pt x="382112" y="186653"/>
                  </a:lnTo>
                  <a:lnTo>
                    <a:pt x="385798" y="182958"/>
                  </a:lnTo>
                  <a:lnTo>
                    <a:pt x="382112" y="179271"/>
                  </a:lnTo>
                  <a:lnTo>
                    <a:pt x="382112" y="175576"/>
                  </a:lnTo>
                  <a:lnTo>
                    <a:pt x="382112" y="171890"/>
                  </a:lnTo>
                  <a:lnTo>
                    <a:pt x="382112" y="168194"/>
                  </a:lnTo>
                  <a:lnTo>
                    <a:pt x="378416" y="160821"/>
                  </a:lnTo>
                  <a:lnTo>
                    <a:pt x="367348" y="164508"/>
                  </a:lnTo>
                  <a:lnTo>
                    <a:pt x="371044" y="168194"/>
                  </a:lnTo>
                  <a:lnTo>
                    <a:pt x="371044" y="171890"/>
                  </a:lnTo>
                  <a:lnTo>
                    <a:pt x="371044" y="175576"/>
                  </a:lnTo>
                  <a:lnTo>
                    <a:pt x="367348" y="175576"/>
                  </a:lnTo>
                  <a:lnTo>
                    <a:pt x="367348" y="179271"/>
                  </a:lnTo>
                  <a:lnTo>
                    <a:pt x="363662" y="182958"/>
                  </a:lnTo>
                  <a:lnTo>
                    <a:pt x="359976" y="182958"/>
                  </a:lnTo>
                  <a:lnTo>
                    <a:pt x="356280" y="186653"/>
                  </a:lnTo>
                  <a:lnTo>
                    <a:pt x="352594" y="190339"/>
                  </a:lnTo>
                  <a:lnTo>
                    <a:pt x="348908" y="190339"/>
                  </a:lnTo>
                  <a:lnTo>
                    <a:pt x="345212" y="190339"/>
                  </a:lnTo>
                  <a:lnTo>
                    <a:pt x="337840" y="186653"/>
                  </a:lnTo>
                  <a:lnTo>
                    <a:pt x="334144" y="182958"/>
                  </a:lnTo>
                  <a:lnTo>
                    <a:pt x="334144" y="179271"/>
                  </a:lnTo>
                  <a:lnTo>
                    <a:pt x="337840" y="179271"/>
                  </a:lnTo>
                  <a:lnTo>
                    <a:pt x="341526" y="175576"/>
                  </a:lnTo>
                  <a:lnTo>
                    <a:pt x="345212" y="171890"/>
                  </a:lnTo>
                  <a:lnTo>
                    <a:pt x="345212" y="168194"/>
                  </a:lnTo>
                  <a:lnTo>
                    <a:pt x="345212" y="160821"/>
                  </a:lnTo>
                  <a:lnTo>
                    <a:pt x="348908" y="157126"/>
                  </a:lnTo>
                  <a:lnTo>
                    <a:pt x="348908" y="153440"/>
                  </a:lnTo>
                  <a:lnTo>
                    <a:pt x="352594" y="153440"/>
                  </a:lnTo>
                  <a:lnTo>
                    <a:pt x="356280" y="153440"/>
                  </a:lnTo>
                  <a:lnTo>
                    <a:pt x="356280" y="149744"/>
                  </a:lnTo>
                  <a:lnTo>
                    <a:pt x="352594" y="149744"/>
                  </a:lnTo>
                  <a:lnTo>
                    <a:pt x="352594" y="146058"/>
                  </a:lnTo>
                  <a:lnTo>
                    <a:pt x="352594" y="142362"/>
                  </a:lnTo>
                  <a:lnTo>
                    <a:pt x="359976" y="142362"/>
                  </a:lnTo>
                  <a:lnTo>
                    <a:pt x="359976" y="138676"/>
                  </a:lnTo>
                  <a:lnTo>
                    <a:pt x="359976" y="134980"/>
                  </a:lnTo>
                  <a:lnTo>
                    <a:pt x="352594" y="134980"/>
                  </a:lnTo>
                  <a:lnTo>
                    <a:pt x="352594" y="127598"/>
                  </a:lnTo>
                  <a:lnTo>
                    <a:pt x="348908" y="127598"/>
                  </a:lnTo>
                  <a:lnTo>
                    <a:pt x="345212" y="127598"/>
                  </a:lnTo>
                  <a:lnTo>
                    <a:pt x="345212" y="123912"/>
                  </a:lnTo>
                  <a:lnTo>
                    <a:pt x="345212" y="120216"/>
                  </a:lnTo>
                  <a:lnTo>
                    <a:pt x="341526" y="116530"/>
                  </a:lnTo>
                  <a:lnTo>
                    <a:pt x="345212" y="116530"/>
                  </a:lnTo>
                  <a:lnTo>
                    <a:pt x="345212" y="112844"/>
                  </a:lnTo>
                  <a:lnTo>
                    <a:pt x="326772" y="112844"/>
                  </a:lnTo>
                  <a:lnTo>
                    <a:pt x="323086" y="109148"/>
                  </a:lnTo>
                  <a:lnTo>
                    <a:pt x="323086" y="98080"/>
                  </a:lnTo>
                  <a:lnTo>
                    <a:pt x="323086" y="94385"/>
                  </a:lnTo>
                  <a:lnTo>
                    <a:pt x="323086" y="90698"/>
                  </a:lnTo>
                  <a:lnTo>
                    <a:pt x="323086" y="87003"/>
                  </a:lnTo>
                  <a:lnTo>
                    <a:pt x="323086" y="83316"/>
                  </a:lnTo>
                  <a:lnTo>
                    <a:pt x="308322" y="72239"/>
                  </a:lnTo>
                  <a:lnTo>
                    <a:pt x="308322" y="75935"/>
                  </a:lnTo>
                  <a:lnTo>
                    <a:pt x="300949" y="72239"/>
                  </a:lnTo>
                  <a:lnTo>
                    <a:pt x="300949" y="68553"/>
                  </a:lnTo>
                  <a:lnTo>
                    <a:pt x="304636" y="50103"/>
                  </a:lnTo>
                  <a:lnTo>
                    <a:pt x="300949" y="46407"/>
                  </a:lnTo>
                  <a:lnTo>
                    <a:pt x="297254" y="42721"/>
                  </a:lnTo>
                  <a:lnTo>
                    <a:pt x="293568" y="39025"/>
                  </a:lnTo>
                  <a:lnTo>
                    <a:pt x="289881" y="39025"/>
                  </a:lnTo>
                  <a:lnTo>
                    <a:pt x="289881" y="35339"/>
                  </a:lnTo>
                  <a:lnTo>
                    <a:pt x="286186" y="31643"/>
                  </a:lnTo>
                  <a:lnTo>
                    <a:pt x="282499" y="31643"/>
                  </a:lnTo>
                  <a:lnTo>
                    <a:pt x="278813" y="31643"/>
                  </a:lnTo>
                  <a:lnTo>
                    <a:pt x="275118" y="31643"/>
                  </a:lnTo>
                  <a:lnTo>
                    <a:pt x="271431" y="27957"/>
                  </a:lnTo>
                  <a:lnTo>
                    <a:pt x="264050" y="27957"/>
                  </a:lnTo>
                  <a:lnTo>
                    <a:pt x="260363" y="24262"/>
                  </a:lnTo>
                  <a:lnTo>
                    <a:pt x="245609" y="24262"/>
                  </a:lnTo>
                  <a:lnTo>
                    <a:pt x="238227" y="20575"/>
                  </a:lnTo>
                  <a:lnTo>
                    <a:pt x="227162" y="42721"/>
                  </a:lnTo>
                  <a:lnTo>
                    <a:pt x="227162" y="46407"/>
                  </a:lnTo>
                  <a:lnTo>
                    <a:pt x="227162" y="50103"/>
                  </a:lnTo>
                  <a:lnTo>
                    <a:pt x="223473" y="57485"/>
                  </a:lnTo>
                  <a:lnTo>
                    <a:pt x="219784" y="68553"/>
                  </a:lnTo>
                  <a:lnTo>
                    <a:pt x="216095" y="75935"/>
                  </a:lnTo>
                  <a:lnTo>
                    <a:pt x="216095" y="83316"/>
                  </a:lnTo>
                  <a:lnTo>
                    <a:pt x="212406" y="87003"/>
                  </a:lnTo>
                  <a:lnTo>
                    <a:pt x="212406" y="90698"/>
                  </a:lnTo>
                  <a:lnTo>
                    <a:pt x="205027" y="105462"/>
                  </a:lnTo>
                  <a:lnTo>
                    <a:pt x="197649" y="105462"/>
                  </a:lnTo>
                  <a:lnTo>
                    <a:pt x="193960" y="105462"/>
                  </a:lnTo>
                  <a:lnTo>
                    <a:pt x="190271" y="105462"/>
                  </a:lnTo>
                  <a:lnTo>
                    <a:pt x="168136" y="101766"/>
                  </a:lnTo>
                  <a:lnTo>
                    <a:pt x="164447" y="101766"/>
                  </a:lnTo>
                  <a:lnTo>
                    <a:pt x="146001" y="109148"/>
                  </a:lnTo>
                  <a:lnTo>
                    <a:pt x="131243" y="112844"/>
                  </a:lnTo>
                  <a:lnTo>
                    <a:pt x="131243" y="98080"/>
                  </a:lnTo>
                  <a:lnTo>
                    <a:pt x="127554" y="98080"/>
                  </a:lnTo>
                  <a:lnTo>
                    <a:pt x="127554" y="90698"/>
                  </a:lnTo>
                  <a:lnTo>
                    <a:pt x="127554" y="87003"/>
                  </a:lnTo>
                  <a:lnTo>
                    <a:pt x="123865" y="87003"/>
                  </a:lnTo>
                  <a:lnTo>
                    <a:pt x="120176" y="83316"/>
                  </a:lnTo>
                  <a:lnTo>
                    <a:pt x="127554" y="83316"/>
                  </a:lnTo>
                  <a:lnTo>
                    <a:pt x="127554" y="79621"/>
                  </a:lnTo>
                  <a:lnTo>
                    <a:pt x="127554" y="75935"/>
                  </a:lnTo>
                  <a:lnTo>
                    <a:pt x="127554" y="68553"/>
                  </a:lnTo>
                  <a:lnTo>
                    <a:pt x="127554" y="61171"/>
                  </a:lnTo>
                  <a:lnTo>
                    <a:pt x="131243" y="61171"/>
                  </a:lnTo>
                  <a:lnTo>
                    <a:pt x="138621" y="57485"/>
                  </a:lnTo>
                  <a:lnTo>
                    <a:pt x="131243" y="53789"/>
                  </a:lnTo>
                  <a:lnTo>
                    <a:pt x="131243" y="46407"/>
                  </a:lnTo>
                  <a:lnTo>
                    <a:pt x="131243" y="42721"/>
                  </a:lnTo>
                  <a:lnTo>
                    <a:pt x="127554" y="42721"/>
                  </a:lnTo>
                  <a:lnTo>
                    <a:pt x="127554" y="46407"/>
                  </a:lnTo>
                  <a:lnTo>
                    <a:pt x="123865" y="42721"/>
                  </a:lnTo>
                  <a:lnTo>
                    <a:pt x="120176" y="31643"/>
                  </a:lnTo>
                  <a:lnTo>
                    <a:pt x="120176" y="27957"/>
                  </a:lnTo>
                  <a:lnTo>
                    <a:pt x="123865" y="27957"/>
                  </a:lnTo>
                  <a:lnTo>
                    <a:pt x="127554" y="27957"/>
                  </a:lnTo>
                  <a:lnTo>
                    <a:pt x="127554" y="24262"/>
                  </a:lnTo>
                  <a:lnTo>
                    <a:pt x="131243" y="24262"/>
                  </a:lnTo>
                  <a:lnTo>
                    <a:pt x="134932" y="24262"/>
                  </a:lnTo>
                  <a:lnTo>
                    <a:pt x="134932" y="20575"/>
                  </a:lnTo>
                  <a:lnTo>
                    <a:pt x="138621" y="20575"/>
                  </a:lnTo>
                  <a:lnTo>
                    <a:pt x="142312" y="20575"/>
                  </a:lnTo>
                  <a:lnTo>
                    <a:pt x="138621" y="16889"/>
                  </a:lnTo>
                  <a:lnTo>
                    <a:pt x="134932" y="16889"/>
                  </a:lnTo>
                  <a:lnTo>
                    <a:pt x="131243" y="20575"/>
                  </a:lnTo>
                  <a:lnTo>
                    <a:pt x="127554" y="20575"/>
                  </a:lnTo>
                  <a:lnTo>
                    <a:pt x="123865" y="16889"/>
                  </a:lnTo>
                  <a:lnTo>
                    <a:pt x="120176" y="20575"/>
                  </a:lnTo>
                  <a:lnTo>
                    <a:pt x="120176" y="5812"/>
                  </a:lnTo>
                  <a:lnTo>
                    <a:pt x="116486" y="5812"/>
                  </a:lnTo>
                  <a:lnTo>
                    <a:pt x="112797" y="5812"/>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00" name="Freeform: Shape 99">
              <a:extLst>
                <a:ext uri="{FF2B5EF4-FFF2-40B4-BE49-F238E27FC236}">
                  <a16:creationId xmlns:a16="http://schemas.microsoft.com/office/drawing/2014/main" id="{448CB59C-9C6A-4A67-B4BC-140346D51928}"/>
                </a:ext>
              </a:extLst>
            </p:cNvPr>
            <p:cNvSpPr/>
            <p:nvPr/>
          </p:nvSpPr>
          <p:spPr>
            <a:xfrm>
              <a:off x="5038938" y="2219414"/>
              <a:ext cx="85123" cy="63843"/>
            </a:xfrm>
            <a:custGeom>
              <a:avLst/>
              <a:gdLst>
                <a:gd name="connsiteX0" fmla="*/ 27947 w 38100"/>
                <a:gd name="connsiteY0" fmla="*/ 13192 h 28575"/>
                <a:gd name="connsiteX1" fmla="*/ 20569 w 38100"/>
                <a:gd name="connsiteY1" fmla="*/ 16883 h 28575"/>
                <a:gd name="connsiteX2" fmla="*/ 20569 w 38100"/>
                <a:gd name="connsiteY2" fmla="*/ 16883 h 28575"/>
                <a:gd name="connsiteX3" fmla="*/ 20569 w 38100"/>
                <a:gd name="connsiteY3" fmla="*/ 16883 h 28575"/>
                <a:gd name="connsiteX4" fmla="*/ 20569 w 38100"/>
                <a:gd name="connsiteY4" fmla="*/ 16883 h 28575"/>
                <a:gd name="connsiteX5" fmla="*/ 16879 w 38100"/>
                <a:gd name="connsiteY5" fmla="*/ 20573 h 28575"/>
                <a:gd name="connsiteX6" fmla="*/ 13190 w 38100"/>
                <a:gd name="connsiteY6" fmla="*/ 20573 h 28575"/>
                <a:gd name="connsiteX7" fmla="*/ 13190 w 38100"/>
                <a:gd name="connsiteY7" fmla="*/ 24264 h 28575"/>
                <a:gd name="connsiteX8" fmla="*/ 13190 w 38100"/>
                <a:gd name="connsiteY8" fmla="*/ 24264 h 28575"/>
                <a:gd name="connsiteX9" fmla="*/ 9501 w 38100"/>
                <a:gd name="connsiteY9" fmla="*/ 24264 h 28575"/>
                <a:gd name="connsiteX10" fmla="*/ 9501 w 38100"/>
                <a:gd name="connsiteY10" fmla="*/ 24264 h 28575"/>
                <a:gd name="connsiteX11" fmla="*/ 5812 w 38100"/>
                <a:gd name="connsiteY11" fmla="*/ 20573 h 28575"/>
                <a:gd name="connsiteX12" fmla="*/ 5812 w 38100"/>
                <a:gd name="connsiteY12" fmla="*/ 20573 h 28575"/>
                <a:gd name="connsiteX13" fmla="*/ 5812 w 38100"/>
                <a:gd name="connsiteY13" fmla="*/ 16883 h 28575"/>
                <a:gd name="connsiteX14" fmla="*/ 5812 w 38100"/>
                <a:gd name="connsiteY14" fmla="*/ 13192 h 28575"/>
                <a:gd name="connsiteX15" fmla="*/ 5812 w 38100"/>
                <a:gd name="connsiteY15" fmla="*/ 9503 h 28575"/>
                <a:gd name="connsiteX16" fmla="*/ 9501 w 38100"/>
                <a:gd name="connsiteY16" fmla="*/ 9503 h 28575"/>
                <a:gd name="connsiteX17" fmla="*/ 9501 w 38100"/>
                <a:gd name="connsiteY17" fmla="*/ 9503 h 28575"/>
                <a:gd name="connsiteX18" fmla="*/ 9501 w 38100"/>
                <a:gd name="connsiteY18" fmla="*/ 9503 h 28575"/>
                <a:gd name="connsiteX19" fmla="*/ 9501 w 38100"/>
                <a:gd name="connsiteY19" fmla="*/ 9503 h 28575"/>
                <a:gd name="connsiteX20" fmla="*/ 13190 w 38100"/>
                <a:gd name="connsiteY20" fmla="*/ 9503 h 28575"/>
                <a:gd name="connsiteX21" fmla="*/ 16879 w 38100"/>
                <a:gd name="connsiteY21" fmla="*/ 9503 h 28575"/>
                <a:gd name="connsiteX22" fmla="*/ 27947 w 38100"/>
                <a:gd name="connsiteY22" fmla="*/ 5812 h 28575"/>
                <a:gd name="connsiteX23" fmla="*/ 27947 w 38100"/>
                <a:gd name="connsiteY23" fmla="*/ 5812 h 28575"/>
                <a:gd name="connsiteX24" fmla="*/ 35325 w 38100"/>
                <a:gd name="connsiteY24" fmla="*/ 5812 h 28575"/>
                <a:gd name="connsiteX25" fmla="*/ 35325 w 38100"/>
                <a:gd name="connsiteY25" fmla="*/ 9503 h 28575"/>
                <a:gd name="connsiteX26" fmla="*/ 35325 w 38100"/>
                <a:gd name="connsiteY26" fmla="*/ 9503 h 28575"/>
                <a:gd name="connsiteX27" fmla="*/ 27947 w 38100"/>
                <a:gd name="connsiteY27" fmla="*/ 13192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8100" h="28575">
                  <a:moveTo>
                    <a:pt x="27947" y="13192"/>
                  </a:moveTo>
                  <a:lnTo>
                    <a:pt x="20569" y="16883"/>
                  </a:lnTo>
                  <a:lnTo>
                    <a:pt x="20569" y="16883"/>
                  </a:lnTo>
                  <a:lnTo>
                    <a:pt x="20569" y="16883"/>
                  </a:lnTo>
                  <a:lnTo>
                    <a:pt x="20569" y="16883"/>
                  </a:lnTo>
                  <a:lnTo>
                    <a:pt x="16879" y="20573"/>
                  </a:lnTo>
                  <a:lnTo>
                    <a:pt x="13190" y="20573"/>
                  </a:lnTo>
                  <a:lnTo>
                    <a:pt x="13190" y="24264"/>
                  </a:lnTo>
                  <a:lnTo>
                    <a:pt x="13190" y="24264"/>
                  </a:lnTo>
                  <a:lnTo>
                    <a:pt x="9501" y="24264"/>
                  </a:lnTo>
                  <a:lnTo>
                    <a:pt x="9501" y="24264"/>
                  </a:lnTo>
                  <a:lnTo>
                    <a:pt x="5812" y="20573"/>
                  </a:lnTo>
                  <a:lnTo>
                    <a:pt x="5812" y="20573"/>
                  </a:lnTo>
                  <a:lnTo>
                    <a:pt x="5812" y="16883"/>
                  </a:lnTo>
                  <a:lnTo>
                    <a:pt x="5812" y="13192"/>
                  </a:lnTo>
                  <a:lnTo>
                    <a:pt x="5812" y="9503"/>
                  </a:lnTo>
                  <a:lnTo>
                    <a:pt x="9501" y="9503"/>
                  </a:lnTo>
                  <a:lnTo>
                    <a:pt x="9501" y="9503"/>
                  </a:lnTo>
                  <a:lnTo>
                    <a:pt x="9501" y="9503"/>
                  </a:lnTo>
                  <a:lnTo>
                    <a:pt x="9501" y="9503"/>
                  </a:lnTo>
                  <a:lnTo>
                    <a:pt x="13190" y="9503"/>
                  </a:lnTo>
                  <a:lnTo>
                    <a:pt x="16879" y="9503"/>
                  </a:lnTo>
                  <a:lnTo>
                    <a:pt x="27947" y="5812"/>
                  </a:lnTo>
                  <a:lnTo>
                    <a:pt x="27947" y="5812"/>
                  </a:lnTo>
                  <a:lnTo>
                    <a:pt x="35325" y="5812"/>
                  </a:lnTo>
                  <a:lnTo>
                    <a:pt x="35325" y="9503"/>
                  </a:lnTo>
                  <a:lnTo>
                    <a:pt x="35325" y="9503"/>
                  </a:lnTo>
                  <a:lnTo>
                    <a:pt x="27947" y="13192"/>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01" name="Freeform: Shape 100">
              <a:extLst>
                <a:ext uri="{FF2B5EF4-FFF2-40B4-BE49-F238E27FC236}">
                  <a16:creationId xmlns:a16="http://schemas.microsoft.com/office/drawing/2014/main" id="{F389A74B-2036-4D03-B6F4-A3FF97422CD4}"/>
                </a:ext>
              </a:extLst>
            </p:cNvPr>
            <p:cNvSpPr/>
            <p:nvPr/>
          </p:nvSpPr>
          <p:spPr>
            <a:xfrm>
              <a:off x="4857605" y="2252396"/>
              <a:ext cx="915074" cy="1425814"/>
            </a:xfrm>
            <a:custGeom>
              <a:avLst/>
              <a:gdLst>
                <a:gd name="connsiteX0" fmla="*/ 127555 w 409575"/>
                <a:gd name="connsiteY0" fmla="*/ 5812 h 638175"/>
                <a:gd name="connsiteX1" fmla="*/ 120176 w 409575"/>
                <a:gd name="connsiteY1" fmla="*/ 16883 h 638175"/>
                <a:gd name="connsiteX2" fmla="*/ 120176 w 409575"/>
                <a:gd name="connsiteY2" fmla="*/ 20574 h 638175"/>
                <a:gd name="connsiteX3" fmla="*/ 120176 w 409575"/>
                <a:gd name="connsiteY3" fmla="*/ 24264 h 638175"/>
                <a:gd name="connsiteX4" fmla="*/ 120176 w 409575"/>
                <a:gd name="connsiteY4" fmla="*/ 31646 h 638175"/>
                <a:gd name="connsiteX5" fmla="*/ 116487 w 409575"/>
                <a:gd name="connsiteY5" fmla="*/ 42718 h 638175"/>
                <a:gd name="connsiteX6" fmla="*/ 116487 w 409575"/>
                <a:gd name="connsiteY6" fmla="*/ 53789 h 638175"/>
                <a:gd name="connsiteX7" fmla="*/ 116487 w 409575"/>
                <a:gd name="connsiteY7" fmla="*/ 68552 h 638175"/>
                <a:gd name="connsiteX8" fmla="*/ 109109 w 409575"/>
                <a:gd name="connsiteY8" fmla="*/ 90695 h 638175"/>
                <a:gd name="connsiteX9" fmla="*/ 105420 w 409575"/>
                <a:gd name="connsiteY9" fmla="*/ 112838 h 638175"/>
                <a:gd name="connsiteX10" fmla="*/ 98041 w 409575"/>
                <a:gd name="connsiteY10" fmla="*/ 134982 h 638175"/>
                <a:gd name="connsiteX11" fmla="*/ 98041 w 409575"/>
                <a:gd name="connsiteY11" fmla="*/ 142363 h 638175"/>
                <a:gd name="connsiteX12" fmla="*/ 94352 w 409575"/>
                <a:gd name="connsiteY12" fmla="*/ 142363 h 638175"/>
                <a:gd name="connsiteX13" fmla="*/ 94352 w 409575"/>
                <a:gd name="connsiteY13" fmla="*/ 149744 h 638175"/>
                <a:gd name="connsiteX14" fmla="*/ 86974 w 409575"/>
                <a:gd name="connsiteY14" fmla="*/ 164507 h 638175"/>
                <a:gd name="connsiteX15" fmla="*/ 86974 w 409575"/>
                <a:gd name="connsiteY15" fmla="*/ 171888 h 638175"/>
                <a:gd name="connsiteX16" fmla="*/ 79596 w 409575"/>
                <a:gd name="connsiteY16" fmla="*/ 194031 h 638175"/>
                <a:gd name="connsiteX17" fmla="*/ 79596 w 409575"/>
                <a:gd name="connsiteY17" fmla="*/ 197721 h 638175"/>
                <a:gd name="connsiteX18" fmla="*/ 79596 w 409575"/>
                <a:gd name="connsiteY18" fmla="*/ 201412 h 638175"/>
                <a:gd name="connsiteX19" fmla="*/ 79596 w 409575"/>
                <a:gd name="connsiteY19" fmla="*/ 205102 h 638175"/>
                <a:gd name="connsiteX20" fmla="*/ 79596 w 409575"/>
                <a:gd name="connsiteY20" fmla="*/ 208793 h 638175"/>
                <a:gd name="connsiteX21" fmla="*/ 79596 w 409575"/>
                <a:gd name="connsiteY21" fmla="*/ 219865 h 638175"/>
                <a:gd name="connsiteX22" fmla="*/ 75906 w 409575"/>
                <a:gd name="connsiteY22" fmla="*/ 234627 h 638175"/>
                <a:gd name="connsiteX23" fmla="*/ 75906 w 409575"/>
                <a:gd name="connsiteY23" fmla="*/ 242009 h 638175"/>
                <a:gd name="connsiteX24" fmla="*/ 75906 w 409575"/>
                <a:gd name="connsiteY24" fmla="*/ 249390 h 638175"/>
                <a:gd name="connsiteX25" fmla="*/ 72217 w 409575"/>
                <a:gd name="connsiteY25" fmla="*/ 264151 h 638175"/>
                <a:gd name="connsiteX26" fmla="*/ 72217 w 409575"/>
                <a:gd name="connsiteY26" fmla="*/ 271532 h 638175"/>
                <a:gd name="connsiteX27" fmla="*/ 72217 w 409575"/>
                <a:gd name="connsiteY27" fmla="*/ 275223 h 638175"/>
                <a:gd name="connsiteX28" fmla="*/ 72217 w 409575"/>
                <a:gd name="connsiteY28" fmla="*/ 282604 h 638175"/>
                <a:gd name="connsiteX29" fmla="*/ 68528 w 409575"/>
                <a:gd name="connsiteY29" fmla="*/ 286295 h 638175"/>
                <a:gd name="connsiteX30" fmla="*/ 68528 w 409575"/>
                <a:gd name="connsiteY30" fmla="*/ 289986 h 638175"/>
                <a:gd name="connsiteX31" fmla="*/ 64839 w 409575"/>
                <a:gd name="connsiteY31" fmla="*/ 315820 h 638175"/>
                <a:gd name="connsiteX32" fmla="*/ 61150 w 409575"/>
                <a:gd name="connsiteY32" fmla="*/ 349034 h 638175"/>
                <a:gd name="connsiteX33" fmla="*/ 57461 w 409575"/>
                <a:gd name="connsiteY33" fmla="*/ 367487 h 638175"/>
                <a:gd name="connsiteX34" fmla="*/ 53772 w 409575"/>
                <a:gd name="connsiteY34" fmla="*/ 374869 h 638175"/>
                <a:gd name="connsiteX35" fmla="*/ 50082 w 409575"/>
                <a:gd name="connsiteY35" fmla="*/ 382250 h 638175"/>
                <a:gd name="connsiteX36" fmla="*/ 46393 w 409575"/>
                <a:gd name="connsiteY36" fmla="*/ 389631 h 638175"/>
                <a:gd name="connsiteX37" fmla="*/ 42704 w 409575"/>
                <a:gd name="connsiteY37" fmla="*/ 400703 h 638175"/>
                <a:gd name="connsiteX38" fmla="*/ 50082 w 409575"/>
                <a:gd name="connsiteY38" fmla="*/ 397012 h 638175"/>
                <a:gd name="connsiteX39" fmla="*/ 53772 w 409575"/>
                <a:gd name="connsiteY39" fmla="*/ 397012 h 638175"/>
                <a:gd name="connsiteX40" fmla="*/ 61150 w 409575"/>
                <a:gd name="connsiteY40" fmla="*/ 393322 h 638175"/>
                <a:gd name="connsiteX41" fmla="*/ 64839 w 409575"/>
                <a:gd name="connsiteY41" fmla="*/ 397012 h 638175"/>
                <a:gd name="connsiteX42" fmla="*/ 61150 w 409575"/>
                <a:gd name="connsiteY42" fmla="*/ 397012 h 638175"/>
                <a:gd name="connsiteX43" fmla="*/ 61150 w 409575"/>
                <a:gd name="connsiteY43" fmla="*/ 400703 h 638175"/>
                <a:gd name="connsiteX44" fmla="*/ 53772 w 409575"/>
                <a:gd name="connsiteY44" fmla="*/ 400703 h 638175"/>
                <a:gd name="connsiteX45" fmla="*/ 50082 w 409575"/>
                <a:gd name="connsiteY45" fmla="*/ 404394 h 638175"/>
                <a:gd name="connsiteX46" fmla="*/ 57461 w 409575"/>
                <a:gd name="connsiteY46" fmla="*/ 404394 h 638175"/>
                <a:gd name="connsiteX47" fmla="*/ 57461 w 409575"/>
                <a:gd name="connsiteY47" fmla="*/ 408084 h 638175"/>
                <a:gd name="connsiteX48" fmla="*/ 50082 w 409575"/>
                <a:gd name="connsiteY48" fmla="*/ 404394 h 638175"/>
                <a:gd name="connsiteX49" fmla="*/ 46393 w 409575"/>
                <a:gd name="connsiteY49" fmla="*/ 404394 h 638175"/>
                <a:gd name="connsiteX50" fmla="*/ 46393 w 409575"/>
                <a:gd name="connsiteY50" fmla="*/ 408084 h 638175"/>
                <a:gd name="connsiteX51" fmla="*/ 39015 w 409575"/>
                <a:gd name="connsiteY51" fmla="*/ 404394 h 638175"/>
                <a:gd name="connsiteX52" fmla="*/ 39015 w 409575"/>
                <a:gd name="connsiteY52" fmla="*/ 411775 h 638175"/>
                <a:gd name="connsiteX53" fmla="*/ 42704 w 409575"/>
                <a:gd name="connsiteY53" fmla="*/ 419156 h 638175"/>
                <a:gd name="connsiteX54" fmla="*/ 39015 w 409575"/>
                <a:gd name="connsiteY54" fmla="*/ 422847 h 638175"/>
                <a:gd name="connsiteX55" fmla="*/ 39015 w 409575"/>
                <a:gd name="connsiteY55" fmla="*/ 430227 h 638175"/>
                <a:gd name="connsiteX56" fmla="*/ 35326 w 409575"/>
                <a:gd name="connsiteY56" fmla="*/ 437608 h 638175"/>
                <a:gd name="connsiteX57" fmla="*/ 31637 w 409575"/>
                <a:gd name="connsiteY57" fmla="*/ 452370 h 638175"/>
                <a:gd name="connsiteX58" fmla="*/ 27947 w 409575"/>
                <a:gd name="connsiteY58" fmla="*/ 463442 h 638175"/>
                <a:gd name="connsiteX59" fmla="*/ 20569 w 409575"/>
                <a:gd name="connsiteY59" fmla="*/ 481898 h 638175"/>
                <a:gd name="connsiteX60" fmla="*/ 5812 w 409575"/>
                <a:gd name="connsiteY60" fmla="*/ 511416 h 638175"/>
                <a:gd name="connsiteX61" fmla="*/ 31637 w 409575"/>
                <a:gd name="connsiteY61" fmla="*/ 522493 h 638175"/>
                <a:gd name="connsiteX62" fmla="*/ 42704 w 409575"/>
                <a:gd name="connsiteY62" fmla="*/ 526179 h 638175"/>
                <a:gd name="connsiteX63" fmla="*/ 42704 w 409575"/>
                <a:gd name="connsiteY63" fmla="*/ 518798 h 638175"/>
                <a:gd name="connsiteX64" fmla="*/ 46393 w 409575"/>
                <a:gd name="connsiteY64" fmla="*/ 522493 h 638175"/>
                <a:gd name="connsiteX65" fmla="*/ 50082 w 409575"/>
                <a:gd name="connsiteY65" fmla="*/ 518798 h 638175"/>
                <a:gd name="connsiteX66" fmla="*/ 53772 w 409575"/>
                <a:gd name="connsiteY66" fmla="*/ 518798 h 638175"/>
                <a:gd name="connsiteX67" fmla="*/ 57461 w 409575"/>
                <a:gd name="connsiteY67" fmla="*/ 518798 h 638175"/>
                <a:gd name="connsiteX68" fmla="*/ 64839 w 409575"/>
                <a:gd name="connsiteY68" fmla="*/ 522493 h 638175"/>
                <a:gd name="connsiteX69" fmla="*/ 61150 w 409575"/>
                <a:gd name="connsiteY69" fmla="*/ 529875 h 638175"/>
                <a:gd name="connsiteX70" fmla="*/ 57461 w 409575"/>
                <a:gd name="connsiteY70" fmla="*/ 533561 h 638175"/>
                <a:gd name="connsiteX71" fmla="*/ 57461 w 409575"/>
                <a:gd name="connsiteY71" fmla="*/ 540943 h 638175"/>
                <a:gd name="connsiteX72" fmla="*/ 53772 w 409575"/>
                <a:gd name="connsiteY72" fmla="*/ 540943 h 638175"/>
                <a:gd name="connsiteX73" fmla="*/ 53772 w 409575"/>
                <a:gd name="connsiteY73" fmla="*/ 544639 h 638175"/>
                <a:gd name="connsiteX74" fmla="*/ 53772 w 409575"/>
                <a:gd name="connsiteY74" fmla="*/ 548325 h 638175"/>
                <a:gd name="connsiteX75" fmla="*/ 50082 w 409575"/>
                <a:gd name="connsiteY75" fmla="*/ 552011 h 638175"/>
                <a:gd name="connsiteX76" fmla="*/ 46393 w 409575"/>
                <a:gd name="connsiteY76" fmla="*/ 555707 h 638175"/>
                <a:gd name="connsiteX77" fmla="*/ 42704 w 409575"/>
                <a:gd name="connsiteY77" fmla="*/ 559393 h 638175"/>
                <a:gd name="connsiteX78" fmla="*/ 42704 w 409575"/>
                <a:gd name="connsiteY78" fmla="*/ 563089 h 638175"/>
                <a:gd name="connsiteX79" fmla="*/ 42704 w 409575"/>
                <a:gd name="connsiteY79" fmla="*/ 566775 h 638175"/>
                <a:gd name="connsiteX80" fmla="*/ 42704 w 409575"/>
                <a:gd name="connsiteY80" fmla="*/ 570471 h 638175"/>
                <a:gd name="connsiteX81" fmla="*/ 42704 w 409575"/>
                <a:gd name="connsiteY81" fmla="*/ 577853 h 638175"/>
                <a:gd name="connsiteX82" fmla="*/ 39015 w 409575"/>
                <a:gd name="connsiteY82" fmla="*/ 581539 h 638175"/>
                <a:gd name="connsiteX83" fmla="*/ 39015 w 409575"/>
                <a:gd name="connsiteY83" fmla="*/ 585234 h 638175"/>
                <a:gd name="connsiteX84" fmla="*/ 35326 w 409575"/>
                <a:gd name="connsiteY84" fmla="*/ 585234 h 638175"/>
                <a:gd name="connsiteX85" fmla="*/ 35326 w 409575"/>
                <a:gd name="connsiteY85" fmla="*/ 588921 h 638175"/>
                <a:gd name="connsiteX86" fmla="*/ 35326 w 409575"/>
                <a:gd name="connsiteY86" fmla="*/ 592616 h 638175"/>
                <a:gd name="connsiteX87" fmla="*/ 35326 w 409575"/>
                <a:gd name="connsiteY87" fmla="*/ 596303 h 638175"/>
                <a:gd name="connsiteX88" fmla="*/ 39015 w 409575"/>
                <a:gd name="connsiteY88" fmla="*/ 596303 h 638175"/>
                <a:gd name="connsiteX89" fmla="*/ 42704 w 409575"/>
                <a:gd name="connsiteY89" fmla="*/ 599989 h 638175"/>
                <a:gd name="connsiteX90" fmla="*/ 46393 w 409575"/>
                <a:gd name="connsiteY90" fmla="*/ 599989 h 638175"/>
                <a:gd name="connsiteX91" fmla="*/ 50082 w 409575"/>
                <a:gd name="connsiteY91" fmla="*/ 596303 h 638175"/>
                <a:gd name="connsiteX92" fmla="*/ 57461 w 409575"/>
                <a:gd name="connsiteY92" fmla="*/ 599989 h 638175"/>
                <a:gd name="connsiteX93" fmla="*/ 68528 w 409575"/>
                <a:gd name="connsiteY93" fmla="*/ 599989 h 638175"/>
                <a:gd name="connsiteX94" fmla="*/ 72217 w 409575"/>
                <a:gd name="connsiteY94" fmla="*/ 599989 h 638175"/>
                <a:gd name="connsiteX95" fmla="*/ 75906 w 409575"/>
                <a:gd name="connsiteY95" fmla="*/ 599989 h 638175"/>
                <a:gd name="connsiteX96" fmla="*/ 79596 w 409575"/>
                <a:gd name="connsiteY96" fmla="*/ 596303 h 638175"/>
                <a:gd name="connsiteX97" fmla="*/ 86974 w 409575"/>
                <a:gd name="connsiteY97" fmla="*/ 592616 h 638175"/>
                <a:gd name="connsiteX98" fmla="*/ 90663 w 409575"/>
                <a:gd name="connsiteY98" fmla="*/ 592616 h 638175"/>
                <a:gd name="connsiteX99" fmla="*/ 90663 w 409575"/>
                <a:gd name="connsiteY99" fmla="*/ 588921 h 638175"/>
                <a:gd name="connsiteX100" fmla="*/ 94352 w 409575"/>
                <a:gd name="connsiteY100" fmla="*/ 592616 h 638175"/>
                <a:gd name="connsiteX101" fmla="*/ 98041 w 409575"/>
                <a:gd name="connsiteY101" fmla="*/ 592616 h 638175"/>
                <a:gd name="connsiteX102" fmla="*/ 101731 w 409575"/>
                <a:gd name="connsiteY102" fmla="*/ 592616 h 638175"/>
                <a:gd name="connsiteX103" fmla="*/ 105420 w 409575"/>
                <a:gd name="connsiteY103" fmla="*/ 588921 h 638175"/>
                <a:gd name="connsiteX104" fmla="*/ 109109 w 409575"/>
                <a:gd name="connsiteY104" fmla="*/ 585234 h 638175"/>
                <a:gd name="connsiteX105" fmla="*/ 120176 w 409575"/>
                <a:gd name="connsiteY105" fmla="*/ 588921 h 638175"/>
                <a:gd name="connsiteX106" fmla="*/ 116487 w 409575"/>
                <a:gd name="connsiteY106" fmla="*/ 599989 h 638175"/>
                <a:gd name="connsiteX107" fmla="*/ 120176 w 409575"/>
                <a:gd name="connsiteY107" fmla="*/ 603684 h 638175"/>
                <a:gd name="connsiteX108" fmla="*/ 123866 w 409575"/>
                <a:gd name="connsiteY108" fmla="*/ 607371 h 638175"/>
                <a:gd name="connsiteX109" fmla="*/ 127555 w 409575"/>
                <a:gd name="connsiteY109" fmla="*/ 599989 h 638175"/>
                <a:gd name="connsiteX110" fmla="*/ 131244 w 409575"/>
                <a:gd name="connsiteY110" fmla="*/ 599989 h 638175"/>
                <a:gd name="connsiteX111" fmla="*/ 138622 w 409575"/>
                <a:gd name="connsiteY111" fmla="*/ 599989 h 638175"/>
                <a:gd name="connsiteX112" fmla="*/ 142312 w 409575"/>
                <a:gd name="connsiteY112" fmla="*/ 596303 h 638175"/>
                <a:gd name="connsiteX113" fmla="*/ 142312 w 409575"/>
                <a:gd name="connsiteY113" fmla="*/ 592616 h 638175"/>
                <a:gd name="connsiteX114" fmla="*/ 146001 w 409575"/>
                <a:gd name="connsiteY114" fmla="*/ 592616 h 638175"/>
                <a:gd name="connsiteX115" fmla="*/ 149690 w 409575"/>
                <a:gd name="connsiteY115" fmla="*/ 592616 h 638175"/>
                <a:gd name="connsiteX116" fmla="*/ 153380 w 409575"/>
                <a:gd name="connsiteY116" fmla="*/ 592616 h 638175"/>
                <a:gd name="connsiteX117" fmla="*/ 157069 w 409575"/>
                <a:gd name="connsiteY117" fmla="*/ 592616 h 638175"/>
                <a:gd name="connsiteX118" fmla="*/ 160758 w 409575"/>
                <a:gd name="connsiteY118" fmla="*/ 592616 h 638175"/>
                <a:gd name="connsiteX119" fmla="*/ 164447 w 409575"/>
                <a:gd name="connsiteY119" fmla="*/ 592616 h 638175"/>
                <a:gd name="connsiteX120" fmla="*/ 168136 w 409575"/>
                <a:gd name="connsiteY120" fmla="*/ 588921 h 638175"/>
                <a:gd name="connsiteX121" fmla="*/ 171826 w 409575"/>
                <a:gd name="connsiteY121" fmla="*/ 588921 h 638175"/>
                <a:gd name="connsiteX122" fmla="*/ 171826 w 409575"/>
                <a:gd name="connsiteY122" fmla="*/ 585234 h 638175"/>
                <a:gd name="connsiteX123" fmla="*/ 175515 w 409575"/>
                <a:gd name="connsiteY123" fmla="*/ 585234 h 638175"/>
                <a:gd name="connsiteX124" fmla="*/ 179204 w 409575"/>
                <a:gd name="connsiteY124" fmla="*/ 581539 h 638175"/>
                <a:gd name="connsiteX125" fmla="*/ 182893 w 409575"/>
                <a:gd name="connsiteY125" fmla="*/ 581539 h 638175"/>
                <a:gd name="connsiteX126" fmla="*/ 182893 w 409575"/>
                <a:gd name="connsiteY126" fmla="*/ 577853 h 638175"/>
                <a:gd name="connsiteX127" fmla="*/ 190272 w 409575"/>
                <a:gd name="connsiteY127" fmla="*/ 574157 h 638175"/>
                <a:gd name="connsiteX128" fmla="*/ 193961 w 409575"/>
                <a:gd name="connsiteY128" fmla="*/ 570471 h 638175"/>
                <a:gd name="connsiteX129" fmla="*/ 197650 w 409575"/>
                <a:gd name="connsiteY129" fmla="*/ 570471 h 638175"/>
                <a:gd name="connsiteX130" fmla="*/ 201339 w 409575"/>
                <a:gd name="connsiteY130" fmla="*/ 570471 h 638175"/>
                <a:gd name="connsiteX131" fmla="*/ 205028 w 409575"/>
                <a:gd name="connsiteY131" fmla="*/ 574157 h 638175"/>
                <a:gd name="connsiteX132" fmla="*/ 205028 w 409575"/>
                <a:gd name="connsiteY132" fmla="*/ 570471 h 638175"/>
                <a:gd name="connsiteX133" fmla="*/ 208717 w 409575"/>
                <a:gd name="connsiteY133" fmla="*/ 570471 h 638175"/>
                <a:gd name="connsiteX134" fmla="*/ 212406 w 409575"/>
                <a:gd name="connsiteY134" fmla="*/ 570471 h 638175"/>
                <a:gd name="connsiteX135" fmla="*/ 212406 w 409575"/>
                <a:gd name="connsiteY135" fmla="*/ 566775 h 638175"/>
                <a:gd name="connsiteX136" fmla="*/ 216096 w 409575"/>
                <a:gd name="connsiteY136" fmla="*/ 563089 h 638175"/>
                <a:gd name="connsiteX137" fmla="*/ 219785 w 409575"/>
                <a:gd name="connsiteY137" fmla="*/ 559393 h 638175"/>
                <a:gd name="connsiteX138" fmla="*/ 216096 w 409575"/>
                <a:gd name="connsiteY138" fmla="*/ 555707 h 638175"/>
                <a:gd name="connsiteX139" fmla="*/ 216096 w 409575"/>
                <a:gd name="connsiteY139" fmla="*/ 552011 h 638175"/>
                <a:gd name="connsiteX140" fmla="*/ 219785 w 409575"/>
                <a:gd name="connsiteY140" fmla="*/ 548325 h 638175"/>
                <a:gd name="connsiteX141" fmla="*/ 227163 w 409575"/>
                <a:gd name="connsiteY141" fmla="*/ 552011 h 638175"/>
                <a:gd name="connsiteX142" fmla="*/ 230852 w 409575"/>
                <a:gd name="connsiteY142" fmla="*/ 552011 h 638175"/>
                <a:gd name="connsiteX143" fmla="*/ 234541 w 409575"/>
                <a:gd name="connsiteY143" fmla="*/ 552011 h 638175"/>
                <a:gd name="connsiteX144" fmla="*/ 238230 w 409575"/>
                <a:gd name="connsiteY144" fmla="*/ 552011 h 638175"/>
                <a:gd name="connsiteX145" fmla="*/ 238230 w 409575"/>
                <a:gd name="connsiteY145" fmla="*/ 548325 h 638175"/>
                <a:gd name="connsiteX146" fmla="*/ 245609 w 409575"/>
                <a:gd name="connsiteY146" fmla="*/ 544639 h 638175"/>
                <a:gd name="connsiteX147" fmla="*/ 245609 w 409575"/>
                <a:gd name="connsiteY147" fmla="*/ 540943 h 638175"/>
                <a:gd name="connsiteX148" fmla="*/ 252987 w 409575"/>
                <a:gd name="connsiteY148" fmla="*/ 544639 h 638175"/>
                <a:gd name="connsiteX149" fmla="*/ 252987 w 409575"/>
                <a:gd name="connsiteY149" fmla="*/ 540943 h 638175"/>
                <a:gd name="connsiteX150" fmla="*/ 252987 w 409575"/>
                <a:gd name="connsiteY150" fmla="*/ 537257 h 638175"/>
                <a:gd name="connsiteX151" fmla="*/ 256676 w 409575"/>
                <a:gd name="connsiteY151" fmla="*/ 537257 h 638175"/>
                <a:gd name="connsiteX152" fmla="*/ 256676 w 409575"/>
                <a:gd name="connsiteY152" fmla="*/ 533561 h 638175"/>
                <a:gd name="connsiteX153" fmla="*/ 260365 w 409575"/>
                <a:gd name="connsiteY153" fmla="*/ 533561 h 638175"/>
                <a:gd name="connsiteX154" fmla="*/ 264055 w 409575"/>
                <a:gd name="connsiteY154" fmla="*/ 533561 h 638175"/>
                <a:gd name="connsiteX155" fmla="*/ 264055 w 409575"/>
                <a:gd name="connsiteY155" fmla="*/ 548325 h 638175"/>
                <a:gd name="connsiteX156" fmla="*/ 267744 w 409575"/>
                <a:gd name="connsiteY156" fmla="*/ 544639 h 638175"/>
                <a:gd name="connsiteX157" fmla="*/ 271433 w 409575"/>
                <a:gd name="connsiteY157" fmla="*/ 548325 h 638175"/>
                <a:gd name="connsiteX158" fmla="*/ 275122 w 409575"/>
                <a:gd name="connsiteY158" fmla="*/ 548325 h 638175"/>
                <a:gd name="connsiteX159" fmla="*/ 278811 w 409575"/>
                <a:gd name="connsiteY159" fmla="*/ 544639 h 638175"/>
                <a:gd name="connsiteX160" fmla="*/ 282500 w 409575"/>
                <a:gd name="connsiteY160" fmla="*/ 544639 h 638175"/>
                <a:gd name="connsiteX161" fmla="*/ 286190 w 409575"/>
                <a:gd name="connsiteY161" fmla="*/ 548325 h 638175"/>
                <a:gd name="connsiteX162" fmla="*/ 282500 w 409575"/>
                <a:gd name="connsiteY162" fmla="*/ 548325 h 638175"/>
                <a:gd name="connsiteX163" fmla="*/ 278811 w 409575"/>
                <a:gd name="connsiteY163" fmla="*/ 548325 h 638175"/>
                <a:gd name="connsiteX164" fmla="*/ 278811 w 409575"/>
                <a:gd name="connsiteY164" fmla="*/ 552011 h 638175"/>
                <a:gd name="connsiteX165" fmla="*/ 275122 w 409575"/>
                <a:gd name="connsiteY165" fmla="*/ 552011 h 638175"/>
                <a:gd name="connsiteX166" fmla="*/ 271433 w 409575"/>
                <a:gd name="connsiteY166" fmla="*/ 552011 h 638175"/>
                <a:gd name="connsiteX167" fmla="*/ 271433 w 409575"/>
                <a:gd name="connsiteY167" fmla="*/ 555707 h 638175"/>
                <a:gd name="connsiteX168" fmla="*/ 267744 w 409575"/>
                <a:gd name="connsiteY168" fmla="*/ 555707 h 638175"/>
                <a:gd name="connsiteX169" fmla="*/ 264055 w 409575"/>
                <a:gd name="connsiteY169" fmla="*/ 555707 h 638175"/>
                <a:gd name="connsiteX170" fmla="*/ 264055 w 409575"/>
                <a:gd name="connsiteY170" fmla="*/ 559393 h 638175"/>
                <a:gd name="connsiteX171" fmla="*/ 267744 w 409575"/>
                <a:gd name="connsiteY171" fmla="*/ 570471 h 638175"/>
                <a:gd name="connsiteX172" fmla="*/ 271433 w 409575"/>
                <a:gd name="connsiteY172" fmla="*/ 574157 h 638175"/>
                <a:gd name="connsiteX173" fmla="*/ 271433 w 409575"/>
                <a:gd name="connsiteY173" fmla="*/ 570471 h 638175"/>
                <a:gd name="connsiteX174" fmla="*/ 275122 w 409575"/>
                <a:gd name="connsiteY174" fmla="*/ 570471 h 638175"/>
                <a:gd name="connsiteX175" fmla="*/ 275122 w 409575"/>
                <a:gd name="connsiteY175" fmla="*/ 574157 h 638175"/>
                <a:gd name="connsiteX176" fmla="*/ 275122 w 409575"/>
                <a:gd name="connsiteY176" fmla="*/ 581539 h 638175"/>
                <a:gd name="connsiteX177" fmla="*/ 282500 w 409575"/>
                <a:gd name="connsiteY177" fmla="*/ 585234 h 638175"/>
                <a:gd name="connsiteX178" fmla="*/ 275122 w 409575"/>
                <a:gd name="connsiteY178" fmla="*/ 588921 h 638175"/>
                <a:gd name="connsiteX179" fmla="*/ 271433 w 409575"/>
                <a:gd name="connsiteY179" fmla="*/ 588921 h 638175"/>
                <a:gd name="connsiteX180" fmla="*/ 271433 w 409575"/>
                <a:gd name="connsiteY180" fmla="*/ 596303 h 638175"/>
                <a:gd name="connsiteX181" fmla="*/ 271433 w 409575"/>
                <a:gd name="connsiteY181" fmla="*/ 603684 h 638175"/>
                <a:gd name="connsiteX182" fmla="*/ 271433 w 409575"/>
                <a:gd name="connsiteY182" fmla="*/ 607371 h 638175"/>
                <a:gd name="connsiteX183" fmla="*/ 271433 w 409575"/>
                <a:gd name="connsiteY183" fmla="*/ 611066 h 638175"/>
                <a:gd name="connsiteX184" fmla="*/ 264055 w 409575"/>
                <a:gd name="connsiteY184" fmla="*/ 611066 h 638175"/>
                <a:gd name="connsiteX185" fmla="*/ 267744 w 409575"/>
                <a:gd name="connsiteY185" fmla="*/ 614752 h 638175"/>
                <a:gd name="connsiteX186" fmla="*/ 271433 w 409575"/>
                <a:gd name="connsiteY186" fmla="*/ 614752 h 638175"/>
                <a:gd name="connsiteX187" fmla="*/ 271433 w 409575"/>
                <a:gd name="connsiteY187" fmla="*/ 618448 h 638175"/>
                <a:gd name="connsiteX188" fmla="*/ 271433 w 409575"/>
                <a:gd name="connsiteY188" fmla="*/ 625830 h 638175"/>
                <a:gd name="connsiteX189" fmla="*/ 275122 w 409575"/>
                <a:gd name="connsiteY189" fmla="*/ 625830 h 638175"/>
                <a:gd name="connsiteX190" fmla="*/ 275122 w 409575"/>
                <a:gd name="connsiteY190" fmla="*/ 640594 h 638175"/>
                <a:gd name="connsiteX191" fmla="*/ 289879 w 409575"/>
                <a:gd name="connsiteY191" fmla="*/ 636898 h 638175"/>
                <a:gd name="connsiteX192" fmla="*/ 308326 w 409575"/>
                <a:gd name="connsiteY192" fmla="*/ 629516 h 638175"/>
                <a:gd name="connsiteX193" fmla="*/ 312015 w 409575"/>
                <a:gd name="connsiteY193" fmla="*/ 629516 h 638175"/>
                <a:gd name="connsiteX194" fmla="*/ 334150 w 409575"/>
                <a:gd name="connsiteY194" fmla="*/ 633212 h 638175"/>
                <a:gd name="connsiteX195" fmla="*/ 337839 w 409575"/>
                <a:gd name="connsiteY195" fmla="*/ 633212 h 638175"/>
                <a:gd name="connsiteX196" fmla="*/ 341528 w 409575"/>
                <a:gd name="connsiteY196" fmla="*/ 633212 h 638175"/>
                <a:gd name="connsiteX197" fmla="*/ 348906 w 409575"/>
                <a:gd name="connsiteY197" fmla="*/ 633212 h 638175"/>
                <a:gd name="connsiteX198" fmla="*/ 359974 w 409575"/>
                <a:gd name="connsiteY198" fmla="*/ 611066 h 638175"/>
                <a:gd name="connsiteX199" fmla="*/ 359974 w 409575"/>
                <a:gd name="connsiteY199" fmla="*/ 603684 h 638175"/>
                <a:gd name="connsiteX200" fmla="*/ 363663 w 409575"/>
                <a:gd name="connsiteY200" fmla="*/ 596303 h 638175"/>
                <a:gd name="connsiteX201" fmla="*/ 367352 w 409575"/>
                <a:gd name="connsiteY201" fmla="*/ 585234 h 638175"/>
                <a:gd name="connsiteX202" fmla="*/ 371041 w 409575"/>
                <a:gd name="connsiteY202" fmla="*/ 577853 h 638175"/>
                <a:gd name="connsiteX203" fmla="*/ 371041 w 409575"/>
                <a:gd name="connsiteY203" fmla="*/ 574157 h 638175"/>
                <a:gd name="connsiteX204" fmla="*/ 371041 w 409575"/>
                <a:gd name="connsiteY204" fmla="*/ 570471 h 638175"/>
                <a:gd name="connsiteX205" fmla="*/ 382106 w 409575"/>
                <a:gd name="connsiteY205" fmla="*/ 548325 h 638175"/>
                <a:gd name="connsiteX206" fmla="*/ 389488 w 409575"/>
                <a:gd name="connsiteY206" fmla="*/ 552011 h 638175"/>
                <a:gd name="connsiteX207" fmla="*/ 404242 w 409575"/>
                <a:gd name="connsiteY207" fmla="*/ 552011 h 638175"/>
                <a:gd name="connsiteX208" fmla="*/ 396870 w 409575"/>
                <a:gd name="connsiteY208" fmla="*/ 544639 h 638175"/>
                <a:gd name="connsiteX209" fmla="*/ 396870 w 409575"/>
                <a:gd name="connsiteY209" fmla="*/ 540943 h 638175"/>
                <a:gd name="connsiteX210" fmla="*/ 400556 w 409575"/>
                <a:gd name="connsiteY210" fmla="*/ 537257 h 638175"/>
                <a:gd name="connsiteX211" fmla="*/ 396870 w 409575"/>
                <a:gd name="connsiteY211" fmla="*/ 537257 h 638175"/>
                <a:gd name="connsiteX212" fmla="*/ 393174 w 409575"/>
                <a:gd name="connsiteY212" fmla="*/ 537257 h 638175"/>
                <a:gd name="connsiteX213" fmla="*/ 389488 w 409575"/>
                <a:gd name="connsiteY213" fmla="*/ 533561 h 638175"/>
                <a:gd name="connsiteX214" fmla="*/ 385802 w 409575"/>
                <a:gd name="connsiteY214" fmla="*/ 533561 h 638175"/>
                <a:gd name="connsiteX215" fmla="*/ 382106 w 409575"/>
                <a:gd name="connsiteY215" fmla="*/ 529875 h 638175"/>
                <a:gd name="connsiteX216" fmla="*/ 378420 w 409575"/>
                <a:gd name="connsiteY216" fmla="*/ 529875 h 638175"/>
                <a:gd name="connsiteX217" fmla="*/ 378420 w 409575"/>
                <a:gd name="connsiteY217" fmla="*/ 526179 h 638175"/>
                <a:gd name="connsiteX218" fmla="*/ 374730 w 409575"/>
                <a:gd name="connsiteY218" fmla="*/ 522493 h 638175"/>
                <a:gd name="connsiteX219" fmla="*/ 371041 w 409575"/>
                <a:gd name="connsiteY219" fmla="*/ 526179 h 638175"/>
                <a:gd name="connsiteX220" fmla="*/ 367352 w 409575"/>
                <a:gd name="connsiteY220" fmla="*/ 526179 h 638175"/>
                <a:gd name="connsiteX221" fmla="*/ 363663 w 409575"/>
                <a:gd name="connsiteY221" fmla="*/ 526179 h 638175"/>
                <a:gd name="connsiteX222" fmla="*/ 348906 w 409575"/>
                <a:gd name="connsiteY222" fmla="*/ 526179 h 638175"/>
                <a:gd name="connsiteX223" fmla="*/ 345217 w 409575"/>
                <a:gd name="connsiteY223" fmla="*/ 529875 h 638175"/>
                <a:gd name="connsiteX224" fmla="*/ 341528 w 409575"/>
                <a:gd name="connsiteY224" fmla="*/ 529875 h 638175"/>
                <a:gd name="connsiteX225" fmla="*/ 337839 w 409575"/>
                <a:gd name="connsiteY225" fmla="*/ 533561 h 638175"/>
                <a:gd name="connsiteX226" fmla="*/ 334150 w 409575"/>
                <a:gd name="connsiteY226" fmla="*/ 533561 h 638175"/>
                <a:gd name="connsiteX227" fmla="*/ 334150 w 409575"/>
                <a:gd name="connsiteY227" fmla="*/ 529875 h 638175"/>
                <a:gd name="connsiteX228" fmla="*/ 330460 w 409575"/>
                <a:gd name="connsiteY228" fmla="*/ 529875 h 638175"/>
                <a:gd name="connsiteX229" fmla="*/ 326771 w 409575"/>
                <a:gd name="connsiteY229" fmla="*/ 526179 h 638175"/>
                <a:gd name="connsiteX230" fmla="*/ 323082 w 409575"/>
                <a:gd name="connsiteY230" fmla="*/ 522493 h 638175"/>
                <a:gd name="connsiteX231" fmla="*/ 319393 w 409575"/>
                <a:gd name="connsiteY231" fmla="*/ 515111 h 638175"/>
                <a:gd name="connsiteX232" fmla="*/ 315704 w 409575"/>
                <a:gd name="connsiteY232" fmla="*/ 515111 h 638175"/>
                <a:gd name="connsiteX233" fmla="*/ 315704 w 409575"/>
                <a:gd name="connsiteY233" fmla="*/ 511416 h 638175"/>
                <a:gd name="connsiteX234" fmla="*/ 308326 w 409575"/>
                <a:gd name="connsiteY234" fmla="*/ 511416 h 638175"/>
                <a:gd name="connsiteX235" fmla="*/ 304636 w 409575"/>
                <a:gd name="connsiteY235" fmla="*/ 511416 h 638175"/>
                <a:gd name="connsiteX236" fmla="*/ 300947 w 409575"/>
                <a:gd name="connsiteY236" fmla="*/ 504043 h 638175"/>
                <a:gd name="connsiteX237" fmla="*/ 289879 w 409575"/>
                <a:gd name="connsiteY237" fmla="*/ 504043 h 638175"/>
                <a:gd name="connsiteX238" fmla="*/ 286190 w 409575"/>
                <a:gd name="connsiteY238" fmla="*/ 504043 h 638175"/>
                <a:gd name="connsiteX239" fmla="*/ 282500 w 409575"/>
                <a:gd name="connsiteY239" fmla="*/ 504043 h 638175"/>
                <a:gd name="connsiteX240" fmla="*/ 275122 w 409575"/>
                <a:gd name="connsiteY240" fmla="*/ 507730 h 638175"/>
                <a:gd name="connsiteX241" fmla="*/ 271433 w 409575"/>
                <a:gd name="connsiteY241" fmla="*/ 504043 h 638175"/>
                <a:gd name="connsiteX242" fmla="*/ 271433 w 409575"/>
                <a:gd name="connsiteY242" fmla="*/ 507730 h 638175"/>
                <a:gd name="connsiteX243" fmla="*/ 267744 w 409575"/>
                <a:gd name="connsiteY243" fmla="*/ 507730 h 638175"/>
                <a:gd name="connsiteX244" fmla="*/ 267744 w 409575"/>
                <a:gd name="connsiteY244" fmla="*/ 504043 h 638175"/>
                <a:gd name="connsiteX245" fmla="*/ 271433 w 409575"/>
                <a:gd name="connsiteY245" fmla="*/ 504043 h 638175"/>
                <a:gd name="connsiteX246" fmla="*/ 271433 w 409575"/>
                <a:gd name="connsiteY246" fmla="*/ 500348 h 638175"/>
                <a:gd name="connsiteX247" fmla="*/ 267744 w 409575"/>
                <a:gd name="connsiteY247" fmla="*/ 496662 h 638175"/>
                <a:gd name="connsiteX248" fmla="*/ 264055 w 409575"/>
                <a:gd name="connsiteY248" fmla="*/ 496662 h 638175"/>
                <a:gd name="connsiteX249" fmla="*/ 260365 w 409575"/>
                <a:gd name="connsiteY249" fmla="*/ 500348 h 638175"/>
                <a:gd name="connsiteX250" fmla="*/ 256676 w 409575"/>
                <a:gd name="connsiteY250" fmla="*/ 500348 h 638175"/>
                <a:gd name="connsiteX251" fmla="*/ 252987 w 409575"/>
                <a:gd name="connsiteY251" fmla="*/ 500348 h 638175"/>
                <a:gd name="connsiteX252" fmla="*/ 252987 w 409575"/>
                <a:gd name="connsiteY252" fmla="*/ 496662 h 638175"/>
                <a:gd name="connsiteX253" fmla="*/ 256676 w 409575"/>
                <a:gd name="connsiteY253" fmla="*/ 496662 h 638175"/>
                <a:gd name="connsiteX254" fmla="*/ 256676 w 409575"/>
                <a:gd name="connsiteY254" fmla="*/ 492966 h 638175"/>
                <a:gd name="connsiteX255" fmla="*/ 256676 w 409575"/>
                <a:gd name="connsiteY255" fmla="*/ 489280 h 638175"/>
                <a:gd name="connsiteX256" fmla="*/ 249298 w 409575"/>
                <a:gd name="connsiteY256" fmla="*/ 485584 h 638175"/>
                <a:gd name="connsiteX257" fmla="*/ 245609 w 409575"/>
                <a:gd name="connsiteY257" fmla="*/ 485584 h 638175"/>
                <a:gd name="connsiteX258" fmla="*/ 245609 w 409575"/>
                <a:gd name="connsiteY258" fmla="*/ 489280 h 638175"/>
                <a:gd name="connsiteX259" fmla="*/ 241920 w 409575"/>
                <a:gd name="connsiteY259" fmla="*/ 489280 h 638175"/>
                <a:gd name="connsiteX260" fmla="*/ 238230 w 409575"/>
                <a:gd name="connsiteY260" fmla="*/ 485584 h 638175"/>
                <a:gd name="connsiteX261" fmla="*/ 234541 w 409575"/>
                <a:gd name="connsiteY261" fmla="*/ 485584 h 638175"/>
                <a:gd name="connsiteX262" fmla="*/ 234541 w 409575"/>
                <a:gd name="connsiteY262" fmla="*/ 481898 h 638175"/>
                <a:gd name="connsiteX263" fmla="*/ 238230 w 409575"/>
                <a:gd name="connsiteY263" fmla="*/ 481898 h 638175"/>
                <a:gd name="connsiteX264" fmla="*/ 241920 w 409575"/>
                <a:gd name="connsiteY264" fmla="*/ 481898 h 638175"/>
                <a:gd name="connsiteX265" fmla="*/ 245609 w 409575"/>
                <a:gd name="connsiteY265" fmla="*/ 478202 h 638175"/>
                <a:gd name="connsiteX266" fmla="*/ 234541 w 409575"/>
                <a:gd name="connsiteY266" fmla="*/ 470823 h 638175"/>
                <a:gd name="connsiteX267" fmla="*/ 234541 w 409575"/>
                <a:gd name="connsiteY267" fmla="*/ 467133 h 638175"/>
                <a:gd name="connsiteX268" fmla="*/ 241920 w 409575"/>
                <a:gd name="connsiteY268" fmla="*/ 470823 h 638175"/>
                <a:gd name="connsiteX269" fmla="*/ 245609 w 409575"/>
                <a:gd name="connsiteY269" fmla="*/ 474514 h 638175"/>
                <a:gd name="connsiteX270" fmla="*/ 249298 w 409575"/>
                <a:gd name="connsiteY270" fmla="*/ 474514 h 638175"/>
                <a:gd name="connsiteX271" fmla="*/ 252987 w 409575"/>
                <a:gd name="connsiteY271" fmla="*/ 470823 h 638175"/>
                <a:gd name="connsiteX272" fmla="*/ 252987 w 409575"/>
                <a:gd name="connsiteY272" fmla="*/ 474514 h 638175"/>
                <a:gd name="connsiteX273" fmla="*/ 256676 w 409575"/>
                <a:gd name="connsiteY273" fmla="*/ 478202 h 638175"/>
                <a:gd name="connsiteX274" fmla="*/ 260365 w 409575"/>
                <a:gd name="connsiteY274" fmla="*/ 474514 h 638175"/>
                <a:gd name="connsiteX275" fmla="*/ 260365 w 409575"/>
                <a:gd name="connsiteY275" fmla="*/ 470823 h 638175"/>
                <a:gd name="connsiteX276" fmla="*/ 260365 w 409575"/>
                <a:gd name="connsiteY276" fmla="*/ 467133 h 638175"/>
                <a:gd name="connsiteX277" fmla="*/ 264055 w 409575"/>
                <a:gd name="connsiteY277" fmla="*/ 467133 h 638175"/>
                <a:gd name="connsiteX278" fmla="*/ 267744 w 409575"/>
                <a:gd name="connsiteY278" fmla="*/ 463442 h 638175"/>
                <a:gd name="connsiteX279" fmla="*/ 267744 w 409575"/>
                <a:gd name="connsiteY279" fmla="*/ 456061 h 638175"/>
                <a:gd name="connsiteX280" fmla="*/ 271433 w 409575"/>
                <a:gd name="connsiteY280" fmla="*/ 452370 h 638175"/>
                <a:gd name="connsiteX281" fmla="*/ 275122 w 409575"/>
                <a:gd name="connsiteY281" fmla="*/ 448680 h 638175"/>
                <a:gd name="connsiteX282" fmla="*/ 278811 w 409575"/>
                <a:gd name="connsiteY282" fmla="*/ 444989 h 638175"/>
                <a:gd name="connsiteX283" fmla="*/ 282500 w 409575"/>
                <a:gd name="connsiteY283" fmla="*/ 444989 h 638175"/>
                <a:gd name="connsiteX284" fmla="*/ 286190 w 409575"/>
                <a:gd name="connsiteY284" fmla="*/ 444989 h 638175"/>
                <a:gd name="connsiteX285" fmla="*/ 286190 w 409575"/>
                <a:gd name="connsiteY285" fmla="*/ 441299 h 638175"/>
                <a:gd name="connsiteX286" fmla="*/ 289879 w 409575"/>
                <a:gd name="connsiteY286" fmla="*/ 437608 h 638175"/>
                <a:gd name="connsiteX287" fmla="*/ 289879 w 409575"/>
                <a:gd name="connsiteY287" fmla="*/ 433917 h 638175"/>
                <a:gd name="connsiteX288" fmla="*/ 297258 w 409575"/>
                <a:gd name="connsiteY288" fmla="*/ 426537 h 638175"/>
                <a:gd name="connsiteX289" fmla="*/ 293568 w 409575"/>
                <a:gd name="connsiteY289" fmla="*/ 426537 h 638175"/>
                <a:gd name="connsiteX290" fmla="*/ 289879 w 409575"/>
                <a:gd name="connsiteY290" fmla="*/ 426537 h 638175"/>
                <a:gd name="connsiteX291" fmla="*/ 286190 w 409575"/>
                <a:gd name="connsiteY291" fmla="*/ 422847 h 638175"/>
                <a:gd name="connsiteX292" fmla="*/ 286190 w 409575"/>
                <a:gd name="connsiteY292" fmla="*/ 426537 h 638175"/>
                <a:gd name="connsiteX293" fmla="*/ 278811 w 409575"/>
                <a:gd name="connsiteY293" fmla="*/ 422847 h 638175"/>
                <a:gd name="connsiteX294" fmla="*/ 278811 w 409575"/>
                <a:gd name="connsiteY294" fmla="*/ 419156 h 638175"/>
                <a:gd name="connsiteX295" fmla="*/ 278811 w 409575"/>
                <a:gd name="connsiteY295" fmla="*/ 415465 h 638175"/>
                <a:gd name="connsiteX296" fmla="*/ 278811 w 409575"/>
                <a:gd name="connsiteY296" fmla="*/ 411775 h 638175"/>
                <a:gd name="connsiteX297" fmla="*/ 282500 w 409575"/>
                <a:gd name="connsiteY297" fmla="*/ 408084 h 638175"/>
                <a:gd name="connsiteX298" fmla="*/ 282500 w 409575"/>
                <a:gd name="connsiteY298" fmla="*/ 404394 h 638175"/>
                <a:gd name="connsiteX299" fmla="*/ 278811 w 409575"/>
                <a:gd name="connsiteY299" fmla="*/ 404394 h 638175"/>
                <a:gd name="connsiteX300" fmla="*/ 275122 w 409575"/>
                <a:gd name="connsiteY300" fmla="*/ 408084 h 638175"/>
                <a:gd name="connsiteX301" fmla="*/ 271433 w 409575"/>
                <a:gd name="connsiteY301" fmla="*/ 404394 h 638175"/>
                <a:gd name="connsiteX302" fmla="*/ 278811 w 409575"/>
                <a:gd name="connsiteY302" fmla="*/ 400703 h 638175"/>
                <a:gd name="connsiteX303" fmla="*/ 286190 w 409575"/>
                <a:gd name="connsiteY303" fmla="*/ 400703 h 638175"/>
                <a:gd name="connsiteX304" fmla="*/ 286190 w 409575"/>
                <a:gd name="connsiteY304" fmla="*/ 397012 h 638175"/>
                <a:gd name="connsiteX305" fmla="*/ 282500 w 409575"/>
                <a:gd name="connsiteY305" fmla="*/ 393322 h 638175"/>
                <a:gd name="connsiteX306" fmla="*/ 282500 w 409575"/>
                <a:gd name="connsiteY306" fmla="*/ 389631 h 638175"/>
                <a:gd name="connsiteX307" fmla="*/ 282500 w 409575"/>
                <a:gd name="connsiteY307" fmla="*/ 385940 h 638175"/>
                <a:gd name="connsiteX308" fmla="*/ 286190 w 409575"/>
                <a:gd name="connsiteY308" fmla="*/ 382250 h 638175"/>
                <a:gd name="connsiteX309" fmla="*/ 289879 w 409575"/>
                <a:gd name="connsiteY309" fmla="*/ 385940 h 638175"/>
                <a:gd name="connsiteX310" fmla="*/ 289879 w 409575"/>
                <a:gd name="connsiteY310" fmla="*/ 382250 h 638175"/>
                <a:gd name="connsiteX311" fmla="*/ 293568 w 409575"/>
                <a:gd name="connsiteY311" fmla="*/ 378559 h 638175"/>
                <a:gd name="connsiteX312" fmla="*/ 297258 w 409575"/>
                <a:gd name="connsiteY312" fmla="*/ 371178 h 638175"/>
                <a:gd name="connsiteX313" fmla="*/ 293568 w 409575"/>
                <a:gd name="connsiteY313" fmla="*/ 371178 h 638175"/>
                <a:gd name="connsiteX314" fmla="*/ 293568 w 409575"/>
                <a:gd name="connsiteY314" fmla="*/ 363797 h 638175"/>
                <a:gd name="connsiteX315" fmla="*/ 289879 w 409575"/>
                <a:gd name="connsiteY315" fmla="*/ 363797 h 638175"/>
                <a:gd name="connsiteX316" fmla="*/ 289879 w 409575"/>
                <a:gd name="connsiteY316" fmla="*/ 360106 h 638175"/>
                <a:gd name="connsiteX317" fmla="*/ 286190 w 409575"/>
                <a:gd name="connsiteY317" fmla="*/ 356416 h 638175"/>
                <a:gd name="connsiteX318" fmla="*/ 286190 w 409575"/>
                <a:gd name="connsiteY318" fmla="*/ 352725 h 638175"/>
                <a:gd name="connsiteX319" fmla="*/ 282500 w 409575"/>
                <a:gd name="connsiteY319" fmla="*/ 345344 h 638175"/>
                <a:gd name="connsiteX320" fmla="*/ 282500 w 409575"/>
                <a:gd name="connsiteY320" fmla="*/ 341654 h 638175"/>
                <a:gd name="connsiteX321" fmla="*/ 275122 w 409575"/>
                <a:gd name="connsiteY321" fmla="*/ 330582 h 638175"/>
                <a:gd name="connsiteX322" fmla="*/ 275122 w 409575"/>
                <a:gd name="connsiteY322" fmla="*/ 326892 h 638175"/>
                <a:gd name="connsiteX323" fmla="*/ 271433 w 409575"/>
                <a:gd name="connsiteY323" fmla="*/ 323201 h 638175"/>
                <a:gd name="connsiteX324" fmla="*/ 271433 w 409575"/>
                <a:gd name="connsiteY324" fmla="*/ 315820 h 638175"/>
                <a:gd name="connsiteX325" fmla="*/ 267744 w 409575"/>
                <a:gd name="connsiteY325" fmla="*/ 308439 h 638175"/>
                <a:gd name="connsiteX326" fmla="*/ 267744 w 409575"/>
                <a:gd name="connsiteY326" fmla="*/ 304748 h 638175"/>
                <a:gd name="connsiteX327" fmla="*/ 264055 w 409575"/>
                <a:gd name="connsiteY327" fmla="*/ 301057 h 638175"/>
                <a:gd name="connsiteX328" fmla="*/ 267744 w 409575"/>
                <a:gd name="connsiteY328" fmla="*/ 297367 h 638175"/>
                <a:gd name="connsiteX329" fmla="*/ 264055 w 409575"/>
                <a:gd name="connsiteY329" fmla="*/ 293676 h 638175"/>
                <a:gd name="connsiteX330" fmla="*/ 264055 w 409575"/>
                <a:gd name="connsiteY330" fmla="*/ 289986 h 638175"/>
                <a:gd name="connsiteX331" fmla="*/ 264055 w 409575"/>
                <a:gd name="connsiteY331" fmla="*/ 286295 h 638175"/>
                <a:gd name="connsiteX332" fmla="*/ 264055 w 409575"/>
                <a:gd name="connsiteY332" fmla="*/ 282604 h 638175"/>
                <a:gd name="connsiteX333" fmla="*/ 264055 w 409575"/>
                <a:gd name="connsiteY333" fmla="*/ 275223 h 638175"/>
                <a:gd name="connsiteX334" fmla="*/ 264055 w 409575"/>
                <a:gd name="connsiteY334" fmla="*/ 271532 h 638175"/>
                <a:gd name="connsiteX335" fmla="*/ 267744 w 409575"/>
                <a:gd name="connsiteY335" fmla="*/ 271532 h 638175"/>
                <a:gd name="connsiteX336" fmla="*/ 267744 w 409575"/>
                <a:gd name="connsiteY336" fmla="*/ 267842 h 638175"/>
                <a:gd name="connsiteX337" fmla="*/ 271433 w 409575"/>
                <a:gd name="connsiteY337" fmla="*/ 267842 h 638175"/>
                <a:gd name="connsiteX338" fmla="*/ 275122 w 409575"/>
                <a:gd name="connsiteY338" fmla="*/ 264151 h 638175"/>
                <a:gd name="connsiteX339" fmla="*/ 278811 w 409575"/>
                <a:gd name="connsiteY339" fmla="*/ 264151 h 638175"/>
                <a:gd name="connsiteX340" fmla="*/ 282500 w 409575"/>
                <a:gd name="connsiteY340" fmla="*/ 264151 h 638175"/>
                <a:gd name="connsiteX341" fmla="*/ 282500 w 409575"/>
                <a:gd name="connsiteY341" fmla="*/ 267842 h 638175"/>
                <a:gd name="connsiteX342" fmla="*/ 286190 w 409575"/>
                <a:gd name="connsiteY342" fmla="*/ 271532 h 638175"/>
                <a:gd name="connsiteX343" fmla="*/ 286190 w 409575"/>
                <a:gd name="connsiteY343" fmla="*/ 267842 h 638175"/>
                <a:gd name="connsiteX344" fmla="*/ 289879 w 409575"/>
                <a:gd name="connsiteY344" fmla="*/ 264151 h 638175"/>
                <a:gd name="connsiteX345" fmla="*/ 293568 w 409575"/>
                <a:gd name="connsiteY345" fmla="*/ 264151 h 638175"/>
                <a:gd name="connsiteX346" fmla="*/ 297258 w 409575"/>
                <a:gd name="connsiteY346" fmla="*/ 264151 h 638175"/>
                <a:gd name="connsiteX347" fmla="*/ 300947 w 409575"/>
                <a:gd name="connsiteY347" fmla="*/ 264151 h 638175"/>
                <a:gd name="connsiteX348" fmla="*/ 304636 w 409575"/>
                <a:gd name="connsiteY348" fmla="*/ 267842 h 638175"/>
                <a:gd name="connsiteX349" fmla="*/ 308326 w 409575"/>
                <a:gd name="connsiteY349" fmla="*/ 271532 h 638175"/>
                <a:gd name="connsiteX350" fmla="*/ 312015 w 409575"/>
                <a:gd name="connsiteY350" fmla="*/ 271532 h 638175"/>
                <a:gd name="connsiteX351" fmla="*/ 315704 w 409575"/>
                <a:gd name="connsiteY351" fmla="*/ 275223 h 638175"/>
                <a:gd name="connsiteX352" fmla="*/ 315704 w 409575"/>
                <a:gd name="connsiteY352" fmla="*/ 278914 h 638175"/>
                <a:gd name="connsiteX353" fmla="*/ 323082 w 409575"/>
                <a:gd name="connsiteY353" fmla="*/ 278914 h 638175"/>
                <a:gd name="connsiteX354" fmla="*/ 326771 w 409575"/>
                <a:gd name="connsiteY354" fmla="*/ 278914 h 638175"/>
                <a:gd name="connsiteX355" fmla="*/ 330460 w 409575"/>
                <a:gd name="connsiteY355" fmla="*/ 278914 h 638175"/>
                <a:gd name="connsiteX356" fmla="*/ 334150 w 409575"/>
                <a:gd name="connsiteY356" fmla="*/ 275223 h 638175"/>
                <a:gd name="connsiteX357" fmla="*/ 341528 w 409575"/>
                <a:gd name="connsiteY357" fmla="*/ 267842 h 638175"/>
                <a:gd name="connsiteX358" fmla="*/ 345217 w 409575"/>
                <a:gd name="connsiteY358" fmla="*/ 267842 h 638175"/>
                <a:gd name="connsiteX359" fmla="*/ 352595 w 409575"/>
                <a:gd name="connsiteY359" fmla="*/ 267842 h 638175"/>
                <a:gd name="connsiteX360" fmla="*/ 352595 w 409575"/>
                <a:gd name="connsiteY360" fmla="*/ 264151 h 638175"/>
                <a:gd name="connsiteX361" fmla="*/ 356285 w 409575"/>
                <a:gd name="connsiteY361" fmla="*/ 260461 h 638175"/>
                <a:gd name="connsiteX362" fmla="*/ 359974 w 409575"/>
                <a:gd name="connsiteY362" fmla="*/ 260461 h 638175"/>
                <a:gd name="connsiteX363" fmla="*/ 359974 w 409575"/>
                <a:gd name="connsiteY363" fmla="*/ 256771 h 638175"/>
                <a:gd name="connsiteX364" fmla="*/ 367352 w 409575"/>
                <a:gd name="connsiteY364" fmla="*/ 253080 h 638175"/>
                <a:gd name="connsiteX365" fmla="*/ 367352 w 409575"/>
                <a:gd name="connsiteY365" fmla="*/ 249390 h 638175"/>
                <a:gd name="connsiteX366" fmla="*/ 371041 w 409575"/>
                <a:gd name="connsiteY366" fmla="*/ 245699 h 638175"/>
                <a:gd name="connsiteX367" fmla="*/ 371041 w 409575"/>
                <a:gd name="connsiteY367" fmla="*/ 238318 h 638175"/>
                <a:gd name="connsiteX368" fmla="*/ 371041 w 409575"/>
                <a:gd name="connsiteY368" fmla="*/ 234627 h 638175"/>
                <a:gd name="connsiteX369" fmla="*/ 374730 w 409575"/>
                <a:gd name="connsiteY369" fmla="*/ 227246 h 638175"/>
                <a:gd name="connsiteX370" fmla="*/ 378420 w 409575"/>
                <a:gd name="connsiteY370" fmla="*/ 227246 h 638175"/>
                <a:gd name="connsiteX371" fmla="*/ 382106 w 409575"/>
                <a:gd name="connsiteY371" fmla="*/ 227246 h 638175"/>
                <a:gd name="connsiteX372" fmla="*/ 385802 w 409575"/>
                <a:gd name="connsiteY372" fmla="*/ 227246 h 638175"/>
                <a:gd name="connsiteX373" fmla="*/ 389488 w 409575"/>
                <a:gd name="connsiteY373" fmla="*/ 223555 h 638175"/>
                <a:gd name="connsiteX374" fmla="*/ 393174 w 409575"/>
                <a:gd name="connsiteY374" fmla="*/ 223555 h 638175"/>
                <a:gd name="connsiteX375" fmla="*/ 389488 w 409575"/>
                <a:gd name="connsiteY375" fmla="*/ 219865 h 638175"/>
                <a:gd name="connsiteX376" fmla="*/ 393174 w 409575"/>
                <a:gd name="connsiteY376" fmla="*/ 219865 h 638175"/>
                <a:gd name="connsiteX377" fmla="*/ 396870 w 409575"/>
                <a:gd name="connsiteY377" fmla="*/ 216174 h 638175"/>
                <a:gd name="connsiteX378" fmla="*/ 400556 w 409575"/>
                <a:gd name="connsiteY378" fmla="*/ 212484 h 638175"/>
                <a:gd name="connsiteX379" fmla="*/ 396870 w 409575"/>
                <a:gd name="connsiteY379" fmla="*/ 208793 h 638175"/>
                <a:gd name="connsiteX380" fmla="*/ 393174 w 409575"/>
                <a:gd name="connsiteY380" fmla="*/ 205102 h 638175"/>
                <a:gd name="connsiteX381" fmla="*/ 393174 w 409575"/>
                <a:gd name="connsiteY381" fmla="*/ 201412 h 638175"/>
                <a:gd name="connsiteX382" fmla="*/ 393174 w 409575"/>
                <a:gd name="connsiteY382" fmla="*/ 197721 h 638175"/>
                <a:gd name="connsiteX383" fmla="*/ 393174 w 409575"/>
                <a:gd name="connsiteY383" fmla="*/ 194031 h 638175"/>
                <a:gd name="connsiteX384" fmla="*/ 393174 w 409575"/>
                <a:gd name="connsiteY384" fmla="*/ 190340 h 638175"/>
                <a:gd name="connsiteX385" fmla="*/ 393174 w 409575"/>
                <a:gd name="connsiteY385" fmla="*/ 186649 h 638175"/>
                <a:gd name="connsiteX386" fmla="*/ 393174 w 409575"/>
                <a:gd name="connsiteY386" fmla="*/ 182959 h 638175"/>
                <a:gd name="connsiteX387" fmla="*/ 389488 w 409575"/>
                <a:gd name="connsiteY387" fmla="*/ 182959 h 638175"/>
                <a:gd name="connsiteX388" fmla="*/ 385802 w 409575"/>
                <a:gd name="connsiteY388" fmla="*/ 179268 h 638175"/>
                <a:gd name="connsiteX389" fmla="*/ 378420 w 409575"/>
                <a:gd name="connsiteY389" fmla="*/ 175578 h 638175"/>
                <a:gd name="connsiteX390" fmla="*/ 367352 w 409575"/>
                <a:gd name="connsiteY390" fmla="*/ 175578 h 638175"/>
                <a:gd name="connsiteX391" fmla="*/ 363663 w 409575"/>
                <a:gd name="connsiteY391" fmla="*/ 175578 h 638175"/>
                <a:gd name="connsiteX392" fmla="*/ 359974 w 409575"/>
                <a:gd name="connsiteY392" fmla="*/ 171888 h 638175"/>
                <a:gd name="connsiteX393" fmla="*/ 352595 w 409575"/>
                <a:gd name="connsiteY393" fmla="*/ 171888 h 638175"/>
                <a:gd name="connsiteX394" fmla="*/ 348906 w 409575"/>
                <a:gd name="connsiteY394" fmla="*/ 171888 h 638175"/>
                <a:gd name="connsiteX395" fmla="*/ 345217 w 409575"/>
                <a:gd name="connsiteY395" fmla="*/ 179268 h 638175"/>
                <a:gd name="connsiteX396" fmla="*/ 341528 w 409575"/>
                <a:gd name="connsiteY396" fmla="*/ 182959 h 638175"/>
                <a:gd name="connsiteX397" fmla="*/ 341528 w 409575"/>
                <a:gd name="connsiteY397" fmla="*/ 186649 h 638175"/>
                <a:gd name="connsiteX398" fmla="*/ 337839 w 409575"/>
                <a:gd name="connsiteY398" fmla="*/ 182959 h 638175"/>
                <a:gd name="connsiteX399" fmla="*/ 334150 w 409575"/>
                <a:gd name="connsiteY399" fmla="*/ 182959 h 638175"/>
                <a:gd name="connsiteX400" fmla="*/ 330460 w 409575"/>
                <a:gd name="connsiteY400" fmla="*/ 182959 h 638175"/>
                <a:gd name="connsiteX401" fmla="*/ 326771 w 409575"/>
                <a:gd name="connsiteY401" fmla="*/ 182959 h 638175"/>
                <a:gd name="connsiteX402" fmla="*/ 319393 w 409575"/>
                <a:gd name="connsiteY402" fmla="*/ 175578 h 638175"/>
                <a:gd name="connsiteX403" fmla="*/ 315704 w 409575"/>
                <a:gd name="connsiteY403" fmla="*/ 171888 h 638175"/>
                <a:gd name="connsiteX404" fmla="*/ 312015 w 409575"/>
                <a:gd name="connsiteY404" fmla="*/ 168197 h 638175"/>
                <a:gd name="connsiteX405" fmla="*/ 315704 w 409575"/>
                <a:gd name="connsiteY405" fmla="*/ 160816 h 638175"/>
                <a:gd name="connsiteX406" fmla="*/ 312015 w 409575"/>
                <a:gd name="connsiteY406" fmla="*/ 160816 h 638175"/>
                <a:gd name="connsiteX407" fmla="*/ 308326 w 409575"/>
                <a:gd name="connsiteY407" fmla="*/ 157126 h 638175"/>
                <a:gd name="connsiteX408" fmla="*/ 304636 w 409575"/>
                <a:gd name="connsiteY408" fmla="*/ 157126 h 638175"/>
                <a:gd name="connsiteX409" fmla="*/ 312015 w 409575"/>
                <a:gd name="connsiteY409" fmla="*/ 101766 h 638175"/>
                <a:gd name="connsiteX410" fmla="*/ 304636 w 409575"/>
                <a:gd name="connsiteY410" fmla="*/ 90695 h 638175"/>
                <a:gd name="connsiteX411" fmla="*/ 293568 w 409575"/>
                <a:gd name="connsiteY411" fmla="*/ 68552 h 638175"/>
                <a:gd name="connsiteX412" fmla="*/ 293568 w 409575"/>
                <a:gd name="connsiteY412" fmla="*/ 64861 h 638175"/>
                <a:gd name="connsiteX413" fmla="*/ 289879 w 409575"/>
                <a:gd name="connsiteY413" fmla="*/ 61171 h 638175"/>
                <a:gd name="connsiteX414" fmla="*/ 278811 w 409575"/>
                <a:gd name="connsiteY414" fmla="*/ 39027 h 638175"/>
                <a:gd name="connsiteX415" fmla="*/ 275122 w 409575"/>
                <a:gd name="connsiteY415" fmla="*/ 39027 h 638175"/>
                <a:gd name="connsiteX416" fmla="*/ 275122 w 409575"/>
                <a:gd name="connsiteY416" fmla="*/ 31646 h 638175"/>
                <a:gd name="connsiteX417" fmla="*/ 271433 w 409575"/>
                <a:gd name="connsiteY417" fmla="*/ 27955 h 638175"/>
                <a:gd name="connsiteX418" fmla="*/ 267744 w 409575"/>
                <a:gd name="connsiteY418" fmla="*/ 27955 h 638175"/>
                <a:gd name="connsiteX419" fmla="*/ 264055 w 409575"/>
                <a:gd name="connsiteY419" fmla="*/ 31646 h 638175"/>
                <a:gd name="connsiteX420" fmla="*/ 260365 w 409575"/>
                <a:gd name="connsiteY420" fmla="*/ 31646 h 638175"/>
                <a:gd name="connsiteX421" fmla="*/ 256676 w 409575"/>
                <a:gd name="connsiteY421" fmla="*/ 27955 h 638175"/>
                <a:gd name="connsiteX422" fmla="*/ 252987 w 409575"/>
                <a:gd name="connsiteY422" fmla="*/ 27955 h 638175"/>
                <a:gd name="connsiteX423" fmla="*/ 249298 w 409575"/>
                <a:gd name="connsiteY423" fmla="*/ 31646 h 638175"/>
                <a:gd name="connsiteX424" fmla="*/ 241920 w 409575"/>
                <a:gd name="connsiteY424" fmla="*/ 31646 h 638175"/>
                <a:gd name="connsiteX425" fmla="*/ 234541 w 409575"/>
                <a:gd name="connsiteY425" fmla="*/ 39027 h 638175"/>
                <a:gd name="connsiteX426" fmla="*/ 234541 w 409575"/>
                <a:gd name="connsiteY426" fmla="*/ 42718 h 638175"/>
                <a:gd name="connsiteX427" fmla="*/ 227163 w 409575"/>
                <a:gd name="connsiteY427" fmla="*/ 53789 h 638175"/>
                <a:gd name="connsiteX428" fmla="*/ 223474 w 409575"/>
                <a:gd name="connsiteY428" fmla="*/ 53789 h 638175"/>
                <a:gd name="connsiteX429" fmla="*/ 216096 w 409575"/>
                <a:gd name="connsiteY429" fmla="*/ 57480 h 638175"/>
                <a:gd name="connsiteX430" fmla="*/ 212406 w 409575"/>
                <a:gd name="connsiteY430" fmla="*/ 61171 h 638175"/>
                <a:gd name="connsiteX431" fmla="*/ 197650 w 409575"/>
                <a:gd name="connsiteY431" fmla="*/ 68552 h 638175"/>
                <a:gd name="connsiteX432" fmla="*/ 193961 w 409575"/>
                <a:gd name="connsiteY432" fmla="*/ 64861 h 638175"/>
                <a:gd name="connsiteX433" fmla="*/ 182893 w 409575"/>
                <a:gd name="connsiteY433" fmla="*/ 57480 h 638175"/>
                <a:gd name="connsiteX434" fmla="*/ 179204 w 409575"/>
                <a:gd name="connsiteY434" fmla="*/ 57480 h 638175"/>
                <a:gd name="connsiteX435" fmla="*/ 168136 w 409575"/>
                <a:gd name="connsiteY435" fmla="*/ 50099 h 638175"/>
                <a:gd name="connsiteX436" fmla="*/ 164447 w 409575"/>
                <a:gd name="connsiteY436" fmla="*/ 46408 h 638175"/>
                <a:gd name="connsiteX437" fmla="*/ 160758 w 409575"/>
                <a:gd name="connsiteY437" fmla="*/ 42718 h 638175"/>
                <a:gd name="connsiteX438" fmla="*/ 157069 w 409575"/>
                <a:gd name="connsiteY438" fmla="*/ 35336 h 638175"/>
                <a:gd name="connsiteX439" fmla="*/ 157069 w 409575"/>
                <a:gd name="connsiteY439" fmla="*/ 27955 h 638175"/>
                <a:gd name="connsiteX440" fmla="*/ 157069 w 409575"/>
                <a:gd name="connsiteY440" fmla="*/ 20574 h 638175"/>
                <a:gd name="connsiteX441" fmla="*/ 160758 w 409575"/>
                <a:gd name="connsiteY441" fmla="*/ 13193 h 638175"/>
                <a:gd name="connsiteX442" fmla="*/ 160758 w 409575"/>
                <a:gd name="connsiteY442" fmla="*/ 9502 h 638175"/>
                <a:gd name="connsiteX443" fmla="*/ 157069 w 409575"/>
                <a:gd name="connsiteY443" fmla="*/ 9502 h 638175"/>
                <a:gd name="connsiteX444" fmla="*/ 157069 w 409575"/>
                <a:gd name="connsiteY444" fmla="*/ 13193 h 638175"/>
                <a:gd name="connsiteX445" fmla="*/ 153380 w 409575"/>
                <a:gd name="connsiteY445" fmla="*/ 13193 h 638175"/>
                <a:gd name="connsiteX446" fmla="*/ 149690 w 409575"/>
                <a:gd name="connsiteY446" fmla="*/ 13193 h 638175"/>
                <a:gd name="connsiteX447" fmla="*/ 149690 w 409575"/>
                <a:gd name="connsiteY447" fmla="*/ 9502 h 638175"/>
                <a:gd name="connsiteX448" fmla="*/ 149690 w 409575"/>
                <a:gd name="connsiteY448" fmla="*/ 5812 h 638175"/>
                <a:gd name="connsiteX449" fmla="*/ 142312 w 409575"/>
                <a:gd name="connsiteY449" fmla="*/ 5812 h 638175"/>
                <a:gd name="connsiteX450" fmla="*/ 134933 w 409575"/>
                <a:gd name="connsiteY450" fmla="*/ 5812 h 638175"/>
                <a:gd name="connsiteX451" fmla="*/ 131244 w 409575"/>
                <a:gd name="connsiteY451" fmla="*/ 5812 h 638175"/>
                <a:gd name="connsiteX452" fmla="*/ 127555 w 409575"/>
                <a:gd name="connsiteY452" fmla="*/ 5812 h 638175"/>
                <a:gd name="connsiteX453" fmla="*/ 160758 w 409575"/>
                <a:gd name="connsiteY453" fmla="*/ 9502 h 638175"/>
                <a:gd name="connsiteX454" fmla="*/ 160758 w 409575"/>
                <a:gd name="connsiteY454" fmla="*/ 5812 h 638175"/>
                <a:gd name="connsiteX455" fmla="*/ 157069 w 409575"/>
                <a:gd name="connsiteY455" fmla="*/ 5812 h 638175"/>
                <a:gd name="connsiteX456" fmla="*/ 160758 w 409575"/>
                <a:gd name="connsiteY456" fmla="*/ 9502 h 638175"/>
                <a:gd name="connsiteX457" fmla="*/ 275122 w 409575"/>
                <a:gd name="connsiteY457" fmla="*/ 31646 h 638175"/>
                <a:gd name="connsiteX458" fmla="*/ 278811 w 409575"/>
                <a:gd name="connsiteY458" fmla="*/ 35336 h 638175"/>
                <a:gd name="connsiteX459" fmla="*/ 278811 w 409575"/>
                <a:gd name="connsiteY459" fmla="*/ 27955 h 638175"/>
                <a:gd name="connsiteX460" fmla="*/ 275122 w 409575"/>
                <a:gd name="connsiteY460" fmla="*/ 27955 h 638175"/>
                <a:gd name="connsiteX461" fmla="*/ 275122 w 409575"/>
                <a:gd name="connsiteY461" fmla="*/ 31646 h 638175"/>
                <a:gd name="connsiteX462" fmla="*/ 241920 w 409575"/>
                <a:gd name="connsiteY462" fmla="*/ 481898 h 638175"/>
                <a:gd name="connsiteX463" fmla="*/ 241920 w 409575"/>
                <a:gd name="connsiteY463" fmla="*/ 485584 h 638175"/>
                <a:gd name="connsiteX464" fmla="*/ 245609 w 409575"/>
                <a:gd name="connsiteY464" fmla="*/ 485584 h 638175"/>
                <a:gd name="connsiteX465" fmla="*/ 241920 w 409575"/>
                <a:gd name="connsiteY465" fmla="*/ 481898 h 638175"/>
                <a:gd name="connsiteX466" fmla="*/ 304636 w 409575"/>
                <a:gd name="connsiteY466" fmla="*/ 400703 h 638175"/>
                <a:gd name="connsiteX467" fmla="*/ 304636 w 409575"/>
                <a:gd name="connsiteY467" fmla="*/ 404394 h 638175"/>
                <a:gd name="connsiteX468" fmla="*/ 304636 w 409575"/>
                <a:gd name="connsiteY468" fmla="*/ 408084 h 638175"/>
                <a:gd name="connsiteX469" fmla="*/ 300947 w 409575"/>
                <a:gd name="connsiteY469" fmla="*/ 415465 h 638175"/>
                <a:gd name="connsiteX470" fmla="*/ 304636 w 409575"/>
                <a:gd name="connsiteY470" fmla="*/ 415465 h 638175"/>
                <a:gd name="connsiteX471" fmla="*/ 308326 w 409575"/>
                <a:gd name="connsiteY471" fmla="*/ 411775 h 638175"/>
                <a:gd name="connsiteX472" fmla="*/ 312015 w 409575"/>
                <a:gd name="connsiteY472" fmla="*/ 411775 h 638175"/>
                <a:gd name="connsiteX473" fmla="*/ 315704 w 409575"/>
                <a:gd name="connsiteY473" fmla="*/ 408084 h 638175"/>
                <a:gd name="connsiteX474" fmla="*/ 319393 w 409575"/>
                <a:gd name="connsiteY474" fmla="*/ 408084 h 638175"/>
                <a:gd name="connsiteX475" fmla="*/ 319393 w 409575"/>
                <a:gd name="connsiteY475" fmla="*/ 404394 h 638175"/>
                <a:gd name="connsiteX476" fmla="*/ 312015 w 409575"/>
                <a:gd name="connsiteY476" fmla="*/ 408084 h 638175"/>
                <a:gd name="connsiteX477" fmla="*/ 308326 w 409575"/>
                <a:gd name="connsiteY477" fmla="*/ 404394 h 638175"/>
                <a:gd name="connsiteX478" fmla="*/ 304636 w 409575"/>
                <a:gd name="connsiteY478" fmla="*/ 400703 h 638175"/>
                <a:gd name="connsiteX479" fmla="*/ 404242 w 409575"/>
                <a:gd name="connsiteY479" fmla="*/ 529875 h 638175"/>
                <a:gd name="connsiteX480" fmla="*/ 404242 w 409575"/>
                <a:gd name="connsiteY480" fmla="*/ 533561 h 638175"/>
                <a:gd name="connsiteX481" fmla="*/ 407929 w 409575"/>
                <a:gd name="connsiteY481" fmla="*/ 533561 h 638175"/>
                <a:gd name="connsiteX482" fmla="*/ 404242 w 409575"/>
                <a:gd name="connsiteY482" fmla="*/ 529875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Lst>
              <a:rect l="l" t="t" r="r" b="b"/>
              <a:pathLst>
                <a:path w="409575" h="638175">
                  <a:moveTo>
                    <a:pt x="127555" y="5812"/>
                  </a:moveTo>
                  <a:lnTo>
                    <a:pt x="120176" y="16883"/>
                  </a:lnTo>
                  <a:lnTo>
                    <a:pt x="120176" y="20574"/>
                  </a:lnTo>
                  <a:lnTo>
                    <a:pt x="120176" y="24264"/>
                  </a:lnTo>
                  <a:lnTo>
                    <a:pt x="120176" y="31646"/>
                  </a:lnTo>
                  <a:lnTo>
                    <a:pt x="116487" y="42718"/>
                  </a:lnTo>
                  <a:lnTo>
                    <a:pt x="116487" y="53789"/>
                  </a:lnTo>
                  <a:lnTo>
                    <a:pt x="116487" y="68552"/>
                  </a:lnTo>
                  <a:lnTo>
                    <a:pt x="109109" y="90695"/>
                  </a:lnTo>
                  <a:lnTo>
                    <a:pt x="105420" y="112838"/>
                  </a:lnTo>
                  <a:lnTo>
                    <a:pt x="98041" y="134982"/>
                  </a:lnTo>
                  <a:lnTo>
                    <a:pt x="98041" y="142363"/>
                  </a:lnTo>
                  <a:lnTo>
                    <a:pt x="94352" y="142363"/>
                  </a:lnTo>
                  <a:lnTo>
                    <a:pt x="94352" y="149744"/>
                  </a:lnTo>
                  <a:lnTo>
                    <a:pt x="86974" y="164507"/>
                  </a:lnTo>
                  <a:lnTo>
                    <a:pt x="86974" y="171888"/>
                  </a:lnTo>
                  <a:lnTo>
                    <a:pt x="79596" y="194031"/>
                  </a:lnTo>
                  <a:lnTo>
                    <a:pt x="79596" y="197721"/>
                  </a:lnTo>
                  <a:lnTo>
                    <a:pt x="79596" y="201412"/>
                  </a:lnTo>
                  <a:lnTo>
                    <a:pt x="79596" y="205102"/>
                  </a:lnTo>
                  <a:lnTo>
                    <a:pt x="79596" y="208793"/>
                  </a:lnTo>
                  <a:lnTo>
                    <a:pt x="79596" y="219865"/>
                  </a:lnTo>
                  <a:lnTo>
                    <a:pt x="75906" y="234627"/>
                  </a:lnTo>
                  <a:lnTo>
                    <a:pt x="75906" y="242009"/>
                  </a:lnTo>
                  <a:lnTo>
                    <a:pt x="75906" y="249390"/>
                  </a:lnTo>
                  <a:lnTo>
                    <a:pt x="72217" y="264151"/>
                  </a:lnTo>
                  <a:lnTo>
                    <a:pt x="72217" y="271532"/>
                  </a:lnTo>
                  <a:lnTo>
                    <a:pt x="72217" y="275223"/>
                  </a:lnTo>
                  <a:lnTo>
                    <a:pt x="72217" y="282604"/>
                  </a:lnTo>
                  <a:lnTo>
                    <a:pt x="68528" y="286295"/>
                  </a:lnTo>
                  <a:lnTo>
                    <a:pt x="68528" y="289986"/>
                  </a:lnTo>
                  <a:lnTo>
                    <a:pt x="64839" y="315820"/>
                  </a:lnTo>
                  <a:lnTo>
                    <a:pt x="61150" y="349034"/>
                  </a:lnTo>
                  <a:lnTo>
                    <a:pt x="57461" y="367487"/>
                  </a:lnTo>
                  <a:lnTo>
                    <a:pt x="53772" y="374869"/>
                  </a:lnTo>
                  <a:lnTo>
                    <a:pt x="50082" y="382250"/>
                  </a:lnTo>
                  <a:lnTo>
                    <a:pt x="46393" y="389631"/>
                  </a:lnTo>
                  <a:lnTo>
                    <a:pt x="42704" y="400703"/>
                  </a:lnTo>
                  <a:lnTo>
                    <a:pt x="50082" y="397012"/>
                  </a:lnTo>
                  <a:lnTo>
                    <a:pt x="53772" y="397012"/>
                  </a:lnTo>
                  <a:lnTo>
                    <a:pt x="61150" y="393322"/>
                  </a:lnTo>
                  <a:lnTo>
                    <a:pt x="64839" y="397012"/>
                  </a:lnTo>
                  <a:lnTo>
                    <a:pt x="61150" y="397012"/>
                  </a:lnTo>
                  <a:lnTo>
                    <a:pt x="61150" y="400703"/>
                  </a:lnTo>
                  <a:lnTo>
                    <a:pt x="53772" y="400703"/>
                  </a:lnTo>
                  <a:lnTo>
                    <a:pt x="50082" y="404394"/>
                  </a:lnTo>
                  <a:lnTo>
                    <a:pt x="57461" y="404394"/>
                  </a:lnTo>
                  <a:lnTo>
                    <a:pt x="57461" y="408084"/>
                  </a:lnTo>
                  <a:lnTo>
                    <a:pt x="50082" y="404394"/>
                  </a:lnTo>
                  <a:lnTo>
                    <a:pt x="46393" y="404394"/>
                  </a:lnTo>
                  <a:lnTo>
                    <a:pt x="46393" y="408084"/>
                  </a:lnTo>
                  <a:lnTo>
                    <a:pt x="39015" y="404394"/>
                  </a:lnTo>
                  <a:lnTo>
                    <a:pt x="39015" y="411775"/>
                  </a:lnTo>
                  <a:lnTo>
                    <a:pt x="42704" y="419156"/>
                  </a:lnTo>
                  <a:lnTo>
                    <a:pt x="39015" y="422847"/>
                  </a:lnTo>
                  <a:lnTo>
                    <a:pt x="39015" y="430227"/>
                  </a:lnTo>
                  <a:lnTo>
                    <a:pt x="35326" y="437608"/>
                  </a:lnTo>
                  <a:lnTo>
                    <a:pt x="31637" y="452370"/>
                  </a:lnTo>
                  <a:lnTo>
                    <a:pt x="27947" y="463442"/>
                  </a:lnTo>
                  <a:lnTo>
                    <a:pt x="20569" y="481898"/>
                  </a:lnTo>
                  <a:lnTo>
                    <a:pt x="5812" y="511416"/>
                  </a:lnTo>
                  <a:lnTo>
                    <a:pt x="31637" y="522493"/>
                  </a:lnTo>
                  <a:lnTo>
                    <a:pt x="42704" y="526179"/>
                  </a:lnTo>
                  <a:lnTo>
                    <a:pt x="42704" y="518798"/>
                  </a:lnTo>
                  <a:lnTo>
                    <a:pt x="46393" y="522493"/>
                  </a:lnTo>
                  <a:lnTo>
                    <a:pt x="50082" y="518798"/>
                  </a:lnTo>
                  <a:lnTo>
                    <a:pt x="53772" y="518798"/>
                  </a:lnTo>
                  <a:lnTo>
                    <a:pt x="57461" y="518798"/>
                  </a:lnTo>
                  <a:lnTo>
                    <a:pt x="64839" y="522493"/>
                  </a:lnTo>
                  <a:lnTo>
                    <a:pt x="61150" y="529875"/>
                  </a:lnTo>
                  <a:lnTo>
                    <a:pt x="57461" y="533561"/>
                  </a:lnTo>
                  <a:lnTo>
                    <a:pt x="57461" y="540943"/>
                  </a:lnTo>
                  <a:lnTo>
                    <a:pt x="53772" y="540943"/>
                  </a:lnTo>
                  <a:lnTo>
                    <a:pt x="53772" y="544639"/>
                  </a:lnTo>
                  <a:lnTo>
                    <a:pt x="53772" y="548325"/>
                  </a:lnTo>
                  <a:lnTo>
                    <a:pt x="50082" y="552011"/>
                  </a:lnTo>
                  <a:lnTo>
                    <a:pt x="46393" y="555707"/>
                  </a:lnTo>
                  <a:lnTo>
                    <a:pt x="42704" y="559393"/>
                  </a:lnTo>
                  <a:lnTo>
                    <a:pt x="42704" y="563089"/>
                  </a:lnTo>
                  <a:lnTo>
                    <a:pt x="42704" y="566775"/>
                  </a:lnTo>
                  <a:lnTo>
                    <a:pt x="42704" y="570471"/>
                  </a:lnTo>
                  <a:lnTo>
                    <a:pt x="42704" y="577853"/>
                  </a:lnTo>
                  <a:lnTo>
                    <a:pt x="39015" y="581539"/>
                  </a:lnTo>
                  <a:lnTo>
                    <a:pt x="39015" y="585234"/>
                  </a:lnTo>
                  <a:lnTo>
                    <a:pt x="35326" y="585234"/>
                  </a:lnTo>
                  <a:lnTo>
                    <a:pt x="35326" y="588921"/>
                  </a:lnTo>
                  <a:lnTo>
                    <a:pt x="35326" y="592616"/>
                  </a:lnTo>
                  <a:lnTo>
                    <a:pt x="35326" y="596303"/>
                  </a:lnTo>
                  <a:lnTo>
                    <a:pt x="39015" y="596303"/>
                  </a:lnTo>
                  <a:lnTo>
                    <a:pt x="42704" y="599989"/>
                  </a:lnTo>
                  <a:lnTo>
                    <a:pt x="46393" y="599989"/>
                  </a:lnTo>
                  <a:lnTo>
                    <a:pt x="50082" y="596303"/>
                  </a:lnTo>
                  <a:lnTo>
                    <a:pt x="57461" y="599989"/>
                  </a:lnTo>
                  <a:lnTo>
                    <a:pt x="68528" y="599989"/>
                  </a:lnTo>
                  <a:lnTo>
                    <a:pt x="72217" y="599989"/>
                  </a:lnTo>
                  <a:lnTo>
                    <a:pt x="75906" y="599989"/>
                  </a:lnTo>
                  <a:lnTo>
                    <a:pt x="79596" y="596303"/>
                  </a:lnTo>
                  <a:lnTo>
                    <a:pt x="86974" y="592616"/>
                  </a:lnTo>
                  <a:lnTo>
                    <a:pt x="90663" y="592616"/>
                  </a:lnTo>
                  <a:lnTo>
                    <a:pt x="90663" y="588921"/>
                  </a:lnTo>
                  <a:lnTo>
                    <a:pt x="94352" y="592616"/>
                  </a:lnTo>
                  <a:lnTo>
                    <a:pt x="98041" y="592616"/>
                  </a:lnTo>
                  <a:lnTo>
                    <a:pt x="101731" y="592616"/>
                  </a:lnTo>
                  <a:lnTo>
                    <a:pt x="105420" y="588921"/>
                  </a:lnTo>
                  <a:lnTo>
                    <a:pt x="109109" y="585234"/>
                  </a:lnTo>
                  <a:lnTo>
                    <a:pt x="120176" y="588921"/>
                  </a:lnTo>
                  <a:lnTo>
                    <a:pt x="116487" y="599989"/>
                  </a:lnTo>
                  <a:lnTo>
                    <a:pt x="120176" y="603684"/>
                  </a:lnTo>
                  <a:lnTo>
                    <a:pt x="123866" y="607371"/>
                  </a:lnTo>
                  <a:lnTo>
                    <a:pt x="127555" y="599989"/>
                  </a:lnTo>
                  <a:lnTo>
                    <a:pt x="131244" y="599989"/>
                  </a:lnTo>
                  <a:lnTo>
                    <a:pt x="138622" y="599989"/>
                  </a:lnTo>
                  <a:lnTo>
                    <a:pt x="142312" y="596303"/>
                  </a:lnTo>
                  <a:lnTo>
                    <a:pt x="142312" y="592616"/>
                  </a:lnTo>
                  <a:lnTo>
                    <a:pt x="146001" y="592616"/>
                  </a:lnTo>
                  <a:lnTo>
                    <a:pt x="149690" y="592616"/>
                  </a:lnTo>
                  <a:lnTo>
                    <a:pt x="153380" y="592616"/>
                  </a:lnTo>
                  <a:lnTo>
                    <a:pt x="157069" y="592616"/>
                  </a:lnTo>
                  <a:lnTo>
                    <a:pt x="160758" y="592616"/>
                  </a:lnTo>
                  <a:lnTo>
                    <a:pt x="164447" y="592616"/>
                  </a:lnTo>
                  <a:lnTo>
                    <a:pt x="168136" y="588921"/>
                  </a:lnTo>
                  <a:lnTo>
                    <a:pt x="171826" y="588921"/>
                  </a:lnTo>
                  <a:lnTo>
                    <a:pt x="171826" y="585234"/>
                  </a:lnTo>
                  <a:lnTo>
                    <a:pt x="175515" y="585234"/>
                  </a:lnTo>
                  <a:lnTo>
                    <a:pt x="179204" y="581539"/>
                  </a:lnTo>
                  <a:lnTo>
                    <a:pt x="182893" y="581539"/>
                  </a:lnTo>
                  <a:lnTo>
                    <a:pt x="182893" y="577853"/>
                  </a:lnTo>
                  <a:lnTo>
                    <a:pt x="190272" y="574157"/>
                  </a:lnTo>
                  <a:lnTo>
                    <a:pt x="193961" y="570471"/>
                  </a:lnTo>
                  <a:lnTo>
                    <a:pt x="197650" y="570471"/>
                  </a:lnTo>
                  <a:lnTo>
                    <a:pt x="201339" y="570471"/>
                  </a:lnTo>
                  <a:lnTo>
                    <a:pt x="205028" y="574157"/>
                  </a:lnTo>
                  <a:lnTo>
                    <a:pt x="205028" y="570471"/>
                  </a:lnTo>
                  <a:lnTo>
                    <a:pt x="208717" y="570471"/>
                  </a:lnTo>
                  <a:lnTo>
                    <a:pt x="212406" y="570471"/>
                  </a:lnTo>
                  <a:lnTo>
                    <a:pt x="212406" y="566775"/>
                  </a:lnTo>
                  <a:lnTo>
                    <a:pt x="216096" y="563089"/>
                  </a:lnTo>
                  <a:lnTo>
                    <a:pt x="219785" y="559393"/>
                  </a:lnTo>
                  <a:lnTo>
                    <a:pt x="216096" y="555707"/>
                  </a:lnTo>
                  <a:lnTo>
                    <a:pt x="216096" y="552011"/>
                  </a:lnTo>
                  <a:lnTo>
                    <a:pt x="219785" y="548325"/>
                  </a:lnTo>
                  <a:lnTo>
                    <a:pt x="227163" y="552011"/>
                  </a:lnTo>
                  <a:lnTo>
                    <a:pt x="230852" y="552011"/>
                  </a:lnTo>
                  <a:lnTo>
                    <a:pt x="234541" y="552011"/>
                  </a:lnTo>
                  <a:lnTo>
                    <a:pt x="238230" y="552011"/>
                  </a:lnTo>
                  <a:lnTo>
                    <a:pt x="238230" y="548325"/>
                  </a:lnTo>
                  <a:lnTo>
                    <a:pt x="245609" y="544639"/>
                  </a:lnTo>
                  <a:lnTo>
                    <a:pt x="245609" y="540943"/>
                  </a:lnTo>
                  <a:lnTo>
                    <a:pt x="252987" y="544639"/>
                  </a:lnTo>
                  <a:lnTo>
                    <a:pt x="252987" y="540943"/>
                  </a:lnTo>
                  <a:lnTo>
                    <a:pt x="252987" y="537257"/>
                  </a:lnTo>
                  <a:lnTo>
                    <a:pt x="256676" y="537257"/>
                  </a:lnTo>
                  <a:lnTo>
                    <a:pt x="256676" y="533561"/>
                  </a:lnTo>
                  <a:lnTo>
                    <a:pt x="260365" y="533561"/>
                  </a:lnTo>
                  <a:lnTo>
                    <a:pt x="264055" y="533561"/>
                  </a:lnTo>
                  <a:lnTo>
                    <a:pt x="264055" y="548325"/>
                  </a:lnTo>
                  <a:lnTo>
                    <a:pt x="267744" y="544639"/>
                  </a:lnTo>
                  <a:lnTo>
                    <a:pt x="271433" y="548325"/>
                  </a:lnTo>
                  <a:lnTo>
                    <a:pt x="275122" y="548325"/>
                  </a:lnTo>
                  <a:lnTo>
                    <a:pt x="278811" y="544639"/>
                  </a:lnTo>
                  <a:lnTo>
                    <a:pt x="282500" y="544639"/>
                  </a:lnTo>
                  <a:lnTo>
                    <a:pt x="286190" y="548325"/>
                  </a:lnTo>
                  <a:lnTo>
                    <a:pt x="282500" y="548325"/>
                  </a:lnTo>
                  <a:lnTo>
                    <a:pt x="278811" y="548325"/>
                  </a:lnTo>
                  <a:lnTo>
                    <a:pt x="278811" y="552011"/>
                  </a:lnTo>
                  <a:lnTo>
                    <a:pt x="275122" y="552011"/>
                  </a:lnTo>
                  <a:lnTo>
                    <a:pt x="271433" y="552011"/>
                  </a:lnTo>
                  <a:lnTo>
                    <a:pt x="271433" y="555707"/>
                  </a:lnTo>
                  <a:lnTo>
                    <a:pt x="267744" y="555707"/>
                  </a:lnTo>
                  <a:lnTo>
                    <a:pt x="264055" y="555707"/>
                  </a:lnTo>
                  <a:lnTo>
                    <a:pt x="264055" y="559393"/>
                  </a:lnTo>
                  <a:lnTo>
                    <a:pt x="267744" y="570471"/>
                  </a:lnTo>
                  <a:lnTo>
                    <a:pt x="271433" y="574157"/>
                  </a:lnTo>
                  <a:lnTo>
                    <a:pt x="271433" y="570471"/>
                  </a:lnTo>
                  <a:lnTo>
                    <a:pt x="275122" y="570471"/>
                  </a:lnTo>
                  <a:lnTo>
                    <a:pt x="275122" y="574157"/>
                  </a:lnTo>
                  <a:lnTo>
                    <a:pt x="275122" y="581539"/>
                  </a:lnTo>
                  <a:lnTo>
                    <a:pt x="282500" y="585234"/>
                  </a:lnTo>
                  <a:lnTo>
                    <a:pt x="275122" y="588921"/>
                  </a:lnTo>
                  <a:lnTo>
                    <a:pt x="271433" y="588921"/>
                  </a:lnTo>
                  <a:lnTo>
                    <a:pt x="271433" y="596303"/>
                  </a:lnTo>
                  <a:lnTo>
                    <a:pt x="271433" y="603684"/>
                  </a:lnTo>
                  <a:lnTo>
                    <a:pt x="271433" y="607371"/>
                  </a:lnTo>
                  <a:lnTo>
                    <a:pt x="271433" y="611066"/>
                  </a:lnTo>
                  <a:lnTo>
                    <a:pt x="264055" y="611066"/>
                  </a:lnTo>
                  <a:lnTo>
                    <a:pt x="267744" y="614752"/>
                  </a:lnTo>
                  <a:lnTo>
                    <a:pt x="271433" y="614752"/>
                  </a:lnTo>
                  <a:lnTo>
                    <a:pt x="271433" y="618448"/>
                  </a:lnTo>
                  <a:lnTo>
                    <a:pt x="271433" y="625830"/>
                  </a:lnTo>
                  <a:lnTo>
                    <a:pt x="275122" y="625830"/>
                  </a:lnTo>
                  <a:lnTo>
                    <a:pt x="275122" y="640594"/>
                  </a:lnTo>
                  <a:lnTo>
                    <a:pt x="289879" y="636898"/>
                  </a:lnTo>
                  <a:lnTo>
                    <a:pt x="308326" y="629516"/>
                  </a:lnTo>
                  <a:lnTo>
                    <a:pt x="312015" y="629516"/>
                  </a:lnTo>
                  <a:lnTo>
                    <a:pt x="334150" y="633212"/>
                  </a:lnTo>
                  <a:lnTo>
                    <a:pt x="337839" y="633212"/>
                  </a:lnTo>
                  <a:lnTo>
                    <a:pt x="341528" y="633212"/>
                  </a:lnTo>
                  <a:lnTo>
                    <a:pt x="348906" y="633212"/>
                  </a:lnTo>
                  <a:lnTo>
                    <a:pt x="359974" y="611066"/>
                  </a:lnTo>
                  <a:lnTo>
                    <a:pt x="359974" y="603684"/>
                  </a:lnTo>
                  <a:lnTo>
                    <a:pt x="363663" y="596303"/>
                  </a:lnTo>
                  <a:lnTo>
                    <a:pt x="367352" y="585234"/>
                  </a:lnTo>
                  <a:lnTo>
                    <a:pt x="371041" y="577853"/>
                  </a:lnTo>
                  <a:lnTo>
                    <a:pt x="371041" y="574157"/>
                  </a:lnTo>
                  <a:lnTo>
                    <a:pt x="371041" y="570471"/>
                  </a:lnTo>
                  <a:lnTo>
                    <a:pt x="382106" y="548325"/>
                  </a:lnTo>
                  <a:lnTo>
                    <a:pt x="389488" y="552011"/>
                  </a:lnTo>
                  <a:lnTo>
                    <a:pt x="404242" y="552011"/>
                  </a:lnTo>
                  <a:lnTo>
                    <a:pt x="396870" y="544639"/>
                  </a:lnTo>
                  <a:lnTo>
                    <a:pt x="396870" y="540943"/>
                  </a:lnTo>
                  <a:lnTo>
                    <a:pt x="400556" y="537257"/>
                  </a:lnTo>
                  <a:lnTo>
                    <a:pt x="396870" y="537257"/>
                  </a:lnTo>
                  <a:lnTo>
                    <a:pt x="393174" y="537257"/>
                  </a:lnTo>
                  <a:lnTo>
                    <a:pt x="389488" y="533561"/>
                  </a:lnTo>
                  <a:lnTo>
                    <a:pt x="385802" y="533561"/>
                  </a:lnTo>
                  <a:lnTo>
                    <a:pt x="382106" y="529875"/>
                  </a:lnTo>
                  <a:lnTo>
                    <a:pt x="378420" y="529875"/>
                  </a:lnTo>
                  <a:lnTo>
                    <a:pt x="378420" y="526179"/>
                  </a:lnTo>
                  <a:lnTo>
                    <a:pt x="374730" y="522493"/>
                  </a:lnTo>
                  <a:lnTo>
                    <a:pt x="371041" y="526179"/>
                  </a:lnTo>
                  <a:lnTo>
                    <a:pt x="367352" y="526179"/>
                  </a:lnTo>
                  <a:lnTo>
                    <a:pt x="363663" y="526179"/>
                  </a:lnTo>
                  <a:lnTo>
                    <a:pt x="348906" y="526179"/>
                  </a:lnTo>
                  <a:lnTo>
                    <a:pt x="345217" y="529875"/>
                  </a:lnTo>
                  <a:lnTo>
                    <a:pt x="341528" y="529875"/>
                  </a:lnTo>
                  <a:lnTo>
                    <a:pt x="337839" y="533561"/>
                  </a:lnTo>
                  <a:lnTo>
                    <a:pt x="334150" y="533561"/>
                  </a:lnTo>
                  <a:lnTo>
                    <a:pt x="334150" y="529875"/>
                  </a:lnTo>
                  <a:lnTo>
                    <a:pt x="330460" y="529875"/>
                  </a:lnTo>
                  <a:lnTo>
                    <a:pt x="326771" y="526179"/>
                  </a:lnTo>
                  <a:lnTo>
                    <a:pt x="323082" y="522493"/>
                  </a:lnTo>
                  <a:lnTo>
                    <a:pt x="319393" y="515111"/>
                  </a:lnTo>
                  <a:lnTo>
                    <a:pt x="315704" y="515111"/>
                  </a:lnTo>
                  <a:lnTo>
                    <a:pt x="315704" y="511416"/>
                  </a:lnTo>
                  <a:lnTo>
                    <a:pt x="308326" y="511416"/>
                  </a:lnTo>
                  <a:lnTo>
                    <a:pt x="304636" y="511416"/>
                  </a:lnTo>
                  <a:lnTo>
                    <a:pt x="300947" y="504043"/>
                  </a:lnTo>
                  <a:lnTo>
                    <a:pt x="289879" y="504043"/>
                  </a:lnTo>
                  <a:lnTo>
                    <a:pt x="286190" y="504043"/>
                  </a:lnTo>
                  <a:lnTo>
                    <a:pt x="282500" y="504043"/>
                  </a:lnTo>
                  <a:lnTo>
                    <a:pt x="275122" y="507730"/>
                  </a:lnTo>
                  <a:lnTo>
                    <a:pt x="271433" y="504043"/>
                  </a:lnTo>
                  <a:lnTo>
                    <a:pt x="271433" y="507730"/>
                  </a:lnTo>
                  <a:lnTo>
                    <a:pt x="267744" y="507730"/>
                  </a:lnTo>
                  <a:lnTo>
                    <a:pt x="267744" y="504043"/>
                  </a:lnTo>
                  <a:lnTo>
                    <a:pt x="271433" y="504043"/>
                  </a:lnTo>
                  <a:lnTo>
                    <a:pt x="271433" y="500348"/>
                  </a:lnTo>
                  <a:lnTo>
                    <a:pt x="267744" y="496662"/>
                  </a:lnTo>
                  <a:lnTo>
                    <a:pt x="264055" y="496662"/>
                  </a:lnTo>
                  <a:lnTo>
                    <a:pt x="260365" y="500348"/>
                  </a:lnTo>
                  <a:lnTo>
                    <a:pt x="256676" y="500348"/>
                  </a:lnTo>
                  <a:lnTo>
                    <a:pt x="252987" y="500348"/>
                  </a:lnTo>
                  <a:lnTo>
                    <a:pt x="252987" y="496662"/>
                  </a:lnTo>
                  <a:lnTo>
                    <a:pt x="256676" y="496662"/>
                  </a:lnTo>
                  <a:lnTo>
                    <a:pt x="256676" y="492966"/>
                  </a:lnTo>
                  <a:lnTo>
                    <a:pt x="256676" y="489280"/>
                  </a:lnTo>
                  <a:lnTo>
                    <a:pt x="249298" y="485584"/>
                  </a:lnTo>
                  <a:lnTo>
                    <a:pt x="245609" y="485584"/>
                  </a:lnTo>
                  <a:lnTo>
                    <a:pt x="245609" y="489280"/>
                  </a:lnTo>
                  <a:lnTo>
                    <a:pt x="241920" y="489280"/>
                  </a:lnTo>
                  <a:lnTo>
                    <a:pt x="238230" y="485584"/>
                  </a:lnTo>
                  <a:lnTo>
                    <a:pt x="234541" y="485584"/>
                  </a:lnTo>
                  <a:lnTo>
                    <a:pt x="234541" y="481898"/>
                  </a:lnTo>
                  <a:lnTo>
                    <a:pt x="238230" y="481898"/>
                  </a:lnTo>
                  <a:lnTo>
                    <a:pt x="241920" y="481898"/>
                  </a:lnTo>
                  <a:lnTo>
                    <a:pt x="245609" y="478202"/>
                  </a:lnTo>
                  <a:lnTo>
                    <a:pt x="234541" y="470823"/>
                  </a:lnTo>
                  <a:lnTo>
                    <a:pt x="234541" y="467133"/>
                  </a:lnTo>
                  <a:lnTo>
                    <a:pt x="241920" y="470823"/>
                  </a:lnTo>
                  <a:lnTo>
                    <a:pt x="245609" y="474514"/>
                  </a:lnTo>
                  <a:lnTo>
                    <a:pt x="249298" y="474514"/>
                  </a:lnTo>
                  <a:lnTo>
                    <a:pt x="252987" y="470823"/>
                  </a:lnTo>
                  <a:lnTo>
                    <a:pt x="252987" y="474514"/>
                  </a:lnTo>
                  <a:lnTo>
                    <a:pt x="256676" y="478202"/>
                  </a:lnTo>
                  <a:lnTo>
                    <a:pt x="260365" y="474514"/>
                  </a:lnTo>
                  <a:lnTo>
                    <a:pt x="260365" y="470823"/>
                  </a:lnTo>
                  <a:lnTo>
                    <a:pt x="260365" y="467133"/>
                  </a:lnTo>
                  <a:lnTo>
                    <a:pt x="264055" y="467133"/>
                  </a:lnTo>
                  <a:lnTo>
                    <a:pt x="267744" y="463442"/>
                  </a:lnTo>
                  <a:lnTo>
                    <a:pt x="267744" y="456061"/>
                  </a:lnTo>
                  <a:lnTo>
                    <a:pt x="271433" y="452370"/>
                  </a:lnTo>
                  <a:lnTo>
                    <a:pt x="275122" y="448680"/>
                  </a:lnTo>
                  <a:lnTo>
                    <a:pt x="278811" y="444989"/>
                  </a:lnTo>
                  <a:lnTo>
                    <a:pt x="282500" y="444989"/>
                  </a:lnTo>
                  <a:lnTo>
                    <a:pt x="286190" y="444989"/>
                  </a:lnTo>
                  <a:lnTo>
                    <a:pt x="286190" y="441299"/>
                  </a:lnTo>
                  <a:lnTo>
                    <a:pt x="289879" y="437608"/>
                  </a:lnTo>
                  <a:lnTo>
                    <a:pt x="289879" y="433917"/>
                  </a:lnTo>
                  <a:lnTo>
                    <a:pt x="297258" y="426537"/>
                  </a:lnTo>
                  <a:lnTo>
                    <a:pt x="293568" y="426537"/>
                  </a:lnTo>
                  <a:lnTo>
                    <a:pt x="289879" y="426537"/>
                  </a:lnTo>
                  <a:lnTo>
                    <a:pt x="286190" y="422847"/>
                  </a:lnTo>
                  <a:lnTo>
                    <a:pt x="286190" y="426537"/>
                  </a:lnTo>
                  <a:lnTo>
                    <a:pt x="278811" y="422847"/>
                  </a:lnTo>
                  <a:lnTo>
                    <a:pt x="278811" y="419156"/>
                  </a:lnTo>
                  <a:lnTo>
                    <a:pt x="278811" y="415465"/>
                  </a:lnTo>
                  <a:lnTo>
                    <a:pt x="278811" y="411775"/>
                  </a:lnTo>
                  <a:lnTo>
                    <a:pt x="282500" y="408084"/>
                  </a:lnTo>
                  <a:lnTo>
                    <a:pt x="282500" y="404394"/>
                  </a:lnTo>
                  <a:lnTo>
                    <a:pt x="278811" y="404394"/>
                  </a:lnTo>
                  <a:lnTo>
                    <a:pt x="275122" y="408084"/>
                  </a:lnTo>
                  <a:lnTo>
                    <a:pt x="271433" y="404394"/>
                  </a:lnTo>
                  <a:lnTo>
                    <a:pt x="278811" y="400703"/>
                  </a:lnTo>
                  <a:lnTo>
                    <a:pt x="286190" y="400703"/>
                  </a:lnTo>
                  <a:lnTo>
                    <a:pt x="286190" y="397012"/>
                  </a:lnTo>
                  <a:lnTo>
                    <a:pt x="282500" y="393322"/>
                  </a:lnTo>
                  <a:lnTo>
                    <a:pt x="282500" y="389631"/>
                  </a:lnTo>
                  <a:lnTo>
                    <a:pt x="282500" y="385940"/>
                  </a:lnTo>
                  <a:lnTo>
                    <a:pt x="286190" y="382250"/>
                  </a:lnTo>
                  <a:lnTo>
                    <a:pt x="289879" y="385940"/>
                  </a:lnTo>
                  <a:lnTo>
                    <a:pt x="289879" y="382250"/>
                  </a:lnTo>
                  <a:lnTo>
                    <a:pt x="293568" y="378559"/>
                  </a:lnTo>
                  <a:lnTo>
                    <a:pt x="297258" y="371178"/>
                  </a:lnTo>
                  <a:lnTo>
                    <a:pt x="293568" y="371178"/>
                  </a:lnTo>
                  <a:lnTo>
                    <a:pt x="293568" y="363797"/>
                  </a:lnTo>
                  <a:lnTo>
                    <a:pt x="289879" y="363797"/>
                  </a:lnTo>
                  <a:lnTo>
                    <a:pt x="289879" y="360106"/>
                  </a:lnTo>
                  <a:lnTo>
                    <a:pt x="286190" y="356416"/>
                  </a:lnTo>
                  <a:lnTo>
                    <a:pt x="286190" y="352725"/>
                  </a:lnTo>
                  <a:lnTo>
                    <a:pt x="282500" y="345344"/>
                  </a:lnTo>
                  <a:lnTo>
                    <a:pt x="282500" y="341654"/>
                  </a:lnTo>
                  <a:lnTo>
                    <a:pt x="275122" y="330582"/>
                  </a:lnTo>
                  <a:lnTo>
                    <a:pt x="275122" y="326892"/>
                  </a:lnTo>
                  <a:lnTo>
                    <a:pt x="271433" y="323201"/>
                  </a:lnTo>
                  <a:lnTo>
                    <a:pt x="271433" y="315820"/>
                  </a:lnTo>
                  <a:lnTo>
                    <a:pt x="267744" y="308439"/>
                  </a:lnTo>
                  <a:lnTo>
                    <a:pt x="267744" y="304748"/>
                  </a:lnTo>
                  <a:lnTo>
                    <a:pt x="264055" y="301057"/>
                  </a:lnTo>
                  <a:lnTo>
                    <a:pt x="267744" y="297367"/>
                  </a:lnTo>
                  <a:lnTo>
                    <a:pt x="264055" y="293676"/>
                  </a:lnTo>
                  <a:lnTo>
                    <a:pt x="264055" y="289986"/>
                  </a:lnTo>
                  <a:lnTo>
                    <a:pt x="264055" y="286295"/>
                  </a:lnTo>
                  <a:lnTo>
                    <a:pt x="264055" y="282604"/>
                  </a:lnTo>
                  <a:lnTo>
                    <a:pt x="264055" y="275223"/>
                  </a:lnTo>
                  <a:lnTo>
                    <a:pt x="264055" y="271532"/>
                  </a:lnTo>
                  <a:lnTo>
                    <a:pt x="267744" y="271532"/>
                  </a:lnTo>
                  <a:lnTo>
                    <a:pt x="267744" y="267842"/>
                  </a:lnTo>
                  <a:lnTo>
                    <a:pt x="271433" y="267842"/>
                  </a:lnTo>
                  <a:lnTo>
                    <a:pt x="275122" y="264151"/>
                  </a:lnTo>
                  <a:lnTo>
                    <a:pt x="278811" y="264151"/>
                  </a:lnTo>
                  <a:lnTo>
                    <a:pt x="282500" y="264151"/>
                  </a:lnTo>
                  <a:lnTo>
                    <a:pt x="282500" y="267842"/>
                  </a:lnTo>
                  <a:lnTo>
                    <a:pt x="286190" y="271532"/>
                  </a:lnTo>
                  <a:lnTo>
                    <a:pt x="286190" y="267842"/>
                  </a:lnTo>
                  <a:lnTo>
                    <a:pt x="289879" y="264151"/>
                  </a:lnTo>
                  <a:lnTo>
                    <a:pt x="293568" y="264151"/>
                  </a:lnTo>
                  <a:lnTo>
                    <a:pt x="297258" y="264151"/>
                  </a:lnTo>
                  <a:lnTo>
                    <a:pt x="300947" y="264151"/>
                  </a:lnTo>
                  <a:lnTo>
                    <a:pt x="304636" y="267842"/>
                  </a:lnTo>
                  <a:lnTo>
                    <a:pt x="308326" y="271532"/>
                  </a:lnTo>
                  <a:lnTo>
                    <a:pt x="312015" y="271532"/>
                  </a:lnTo>
                  <a:lnTo>
                    <a:pt x="315704" y="275223"/>
                  </a:lnTo>
                  <a:lnTo>
                    <a:pt x="315704" y="278914"/>
                  </a:lnTo>
                  <a:lnTo>
                    <a:pt x="323082" y="278914"/>
                  </a:lnTo>
                  <a:lnTo>
                    <a:pt x="326771" y="278914"/>
                  </a:lnTo>
                  <a:lnTo>
                    <a:pt x="330460" y="278914"/>
                  </a:lnTo>
                  <a:lnTo>
                    <a:pt x="334150" y="275223"/>
                  </a:lnTo>
                  <a:lnTo>
                    <a:pt x="341528" y="267842"/>
                  </a:lnTo>
                  <a:lnTo>
                    <a:pt x="345217" y="267842"/>
                  </a:lnTo>
                  <a:lnTo>
                    <a:pt x="352595" y="267842"/>
                  </a:lnTo>
                  <a:lnTo>
                    <a:pt x="352595" y="264151"/>
                  </a:lnTo>
                  <a:lnTo>
                    <a:pt x="356285" y="260461"/>
                  </a:lnTo>
                  <a:lnTo>
                    <a:pt x="359974" y="260461"/>
                  </a:lnTo>
                  <a:lnTo>
                    <a:pt x="359974" y="256771"/>
                  </a:lnTo>
                  <a:lnTo>
                    <a:pt x="367352" y="253080"/>
                  </a:lnTo>
                  <a:lnTo>
                    <a:pt x="367352" y="249390"/>
                  </a:lnTo>
                  <a:lnTo>
                    <a:pt x="371041" y="245699"/>
                  </a:lnTo>
                  <a:lnTo>
                    <a:pt x="371041" y="238318"/>
                  </a:lnTo>
                  <a:lnTo>
                    <a:pt x="371041" y="234627"/>
                  </a:lnTo>
                  <a:lnTo>
                    <a:pt x="374730" y="227246"/>
                  </a:lnTo>
                  <a:lnTo>
                    <a:pt x="378420" y="227246"/>
                  </a:lnTo>
                  <a:lnTo>
                    <a:pt x="382106" y="227246"/>
                  </a:lnTo>
                  <a:lnTo>
                    <a:pt x="385802" y="227246"/>
                  </a:lnTo>
                  <a:lnTo>
                    <a:pt x="389488" y="223555"/>
                  </a:lnTo>
                  <a:lnTo>
                    <a:pt x="393174" y="223555"/>
                  </a:lnTo>
                  <a:lnTo>
                    <a:pt x="389488" y="219865"/>
                  </a:lnTo>
                  <a:lnTo>
                    <a:pt x="393174" y="219865"/>
                  </a:lnTo>
                  <a:lnTo>
                    <a:pt x="396870" y="216174"/>
                  </a:lnTo>
                  <a:lnTo>
                    <a:pt x="400556" y="212484"/>
                  </a:lnTo>
                  <a:lnTo>
                    <a:pt x="396870" y="208793"/>
                  </a:lnTo>
                  <a:lnTo>
                    <a:pt x="393174" y="205102"/>
                  </a:lnTo>
                  <a:lnTo>
                    <a:pt x="393174" y="201412"/>
                  </a:lnTo>
                  <a:lnTo>
                    <a:pt x="393174" y="197721"/>
                  </a:lnTo>
                  <a:lnTo>
                    <a:pt x="393174" y="194031"/>
                  </a:lnTo>
                  <a:lnTo>
                    <a:pt x="393174" y="190340"/>
                  </a:lnTo>
                  <a:lnTo>
                    <a:pt x="393174" y="186649"/>
                  </a:lnTo>
                  <a:lnTo>
                    <a:pt x="393174" y="182959"/>
                  </a:lnTo>
                  <a:lnTo>
                    <a:pt x="389488" y="182959"/>
                  </a:lnTo>
                  <a:lnTo>
                    <a:pt x="385802" y="179268"/>
                  </a:lnTo>
                  <a:lnTo>
                    <a:pt x="378420" y="175578"/>
                  </a:lnTo>
                  <a:lnTo>
                    <a:pt x="367352" y="175578"/>
                  </a:lnTo>
                  <a:lnTo>
                    <a:pt x="363663" y="175578"/>
                  </a:lnTo>
                  <a:lnTo>
                    <a:pt x="359974" y="171888"/>
                  </a:lnTo>
                  <a:lnTo>
                    <a:pt x="352595" y="171888"/>
                  </a:lnTo>
                  <a:lnTo>
                    <a:pt x="348906" y="171888"/>
                  </a:lnTo>
                  <a:lnTo>
                    <a:pt x="345217" y="179268"/>
                  </a:lnTo>
                  <a:lnTo>
                    <a:pt x="341528" y="182959"/>
                  </a:lnTo>
                  <a:lnTo>
                    <a:pt x="341528" y="186649"/>
                  </a:lnTo>
                  <a:lnTo>
                    <a:pt x="337839" y="182959"/>
                  </a:lnTo>
                  <a:lnTo>
                    <a:pt x="334150" y="182959"/>
                  </a:lnTo>
                  <a:lnTo>
                    <a:pt x="330460" y="182959"/>
                  </a:lnTo>
                  <a:lnTo>
                    <a:pt x="326771" y="182959"/>
                  </a:lnTo>
                  <a:lnTo>
                    <a:pt x="319393" y="175578"/>
                  </a:lnTo>
                  <a:lnTo>
                    <a:pt x="315704" y="171888"/>
                  </a:lnTo>
                  <a:lnTo>
                    <a:pt x="312015" y="168197"/>
                  </a:lnTo>
                  <a:lnTo>
                    <a:pt x="315704" y="160816"/>
                  </a:lnTo>
                  <a:lnTo>
                    <a:pt x="312015" y="160816"/>
                  </a:lnTo>
                  <a:lnTo>
                    <a:pt x="308326" y="157126"/>
                  </a:lnTo>
                  <a:lnTo>
                    <a:pt x="304636" y="157126"/>
                  </a:lnTo>
                  <a:lnTo>
                    <a:pt x="312015" y="101766"/>
                  </a:lnTo>
                  <a:lnTo>
                    <a:pt x="304636" y="90695"/>
                  </a:lnTo>
                  <a:lnTo>
                    <a:pt x="293568" y="68552"/>
                  </a:lnTo>
                  <a:lnTo>
                    <a:pt x="293568" y="64861"/>
                  </a:lnTo>
                  <a:lnTo>
                    <a:pt x="289879" y="61171"/>
                  </a:lnTo>
                  <a:lnTo>
                    <a:pt x="278811" y="39027"/>
                  </a:lnTo>
                  <a:lnTo>
                    <a:pt x="275122" y="39027"/>
                  </a:lnTo>
                  <a:lnTo>
                    <a:pt x="275122" y="31646"/>
                  </a:lnTo>
                  <a:lnTo>
                    <a:pt x="271433" y="27955"/>
                  </a:lnTo>
                  <a:lnTo>
                    <a:pt x="267744" y="27955"/>
                  </a:lnTo>
                  <a:lnTo>
                    <a:pt x="264055" y="31646"/>
                  </a:lnTo>
                  <a:lnTo>
                    <a:pt x="260365" y="31646"/>
                  </a:lnTo>
                  <a:lnTo>
                    <a:pt x="256676" y="27955"/>
                  </a:lnTo>
                  <a:lnTo>
                    <a:pt x="252987" y="27955"/>
                  </a:lnTo>
                  <a:lnTo>
                    <a:pt x="249298" y="31646"/>
                  </a:lnTo>
                  <a:lnTo>
                    <a:pt x="241920" y="31646"/>
                  </a:lnTo>
                  <a:lnTo>
                    <a:pt x="234541" y="39027"/>
                  </a:lnTo>
                  <a:lnTo>
                    <a:pt x="234541" y="42718"/>
                  </a:lnTo>
                  <a:lnTo>
                    <a:pt x="227163" y="53789"/>
                  </a:lnTo>
                  <a:lnTo>
                    <a:pt x="223474" y="53789"/>
                  </a:lnTo>
                  <a:lnTo>
                    <a:pt x="216096" y="57480"/>
                  </a:lnTo>
                  <a:lnTo>
                    <a:pt x="212406" y="61171"/>
                  </a:lnTo>
                  <a:lnTo>
                    <a:pt x="197650" y="68552"/>
                  </a:lnTo>
                  <a:lnTo>
                    <a:pt x="193961" y="64861"/>
                  </a:lnTo>
                  <a:lnTo>
                    <a:pt x="182893" y="57480"/>
                  </a:lnTo>
                  <a:lnTo>
                    <a:pt x="179204" y="57480"/>
                  </a:lnTo>
                  <a:lnTo>
                    <a:pt x="168136" y="50099"/>
                  </a:lnTo>
                  <a:lnTo>
                    <a:pt x="164447" y="46408"/>
                  </a:lnTo>
                  <a:lnTo>
                    <a:pt x="160758" y="42718"/>
                  </a:lnTo>
                  <a:lnTo>
                    <a:pt x="157069" y="35336"/>
                  </a:lnTo>
                  <a:lnTo>
                    <a:pt x="157069" y="27955"/>
                  </a:lnTo>
                  <a:lnTo>
                    <a:pt x="157069" y="20574"/>
                  </a:lnTo>
                  <a:lnTo>
                    <a:pt x="160758" y="13193"/>
                  </a:lnTo>
                  <a:lnTo>
                    <a:pt x="160758" y="9502"/>
                  </a:lnTo>
                  <a:lnTo>
                    <a:pt x="157069" y="9502"/>
                  </a:lnTo>
                  <a:lnTo>
                    <a:pt x="157069" y="13193"/>
                  </a:lnTo>
                  <a:lnTo>
                    <a:pt x="153380" y="13193"/>
                  </a:lnTo>
                  <a:lnTo>
                    <a:pt x="149690" y="13193"/>
                  </a:lnTo>
                  <a:lnTo>
                    <a:pt x="149690" y="9502"/>
                  </a:lnTo>
                  <a:lnTo>
                    <a:pt x="149690" y="5812"/>
                  </a:lnTo>
                  <a:lnTo>
                    <a:pt x="142312" y="5812"/>
                  </a:lnTo>
                  <a:lnTo>
                    <a:pt x="134933" y="5812"/>
                  </a:lnTo>
                  <a:lnTo>
                    <a:pt x="131244" y="5812"/>
                  </a:lnTo>
                  <a:lnTo>
                    <a:pt x="127555" y="5812"/>
                  </a:lnTo>
                  <a:close/>
                  <a:moveTo>
                    <a:pt x="160758" y="9502"/>
                  </a:moveTo>
                  <a:lnTo>
                    <a:pt x="160758" y="5812"/>
                  </a:lnTo>
                  <a:lnTo>
                    <a:pt x="157069" y="5812"/>
                  </a:lnTo>
                  <a:lnTo>
                    <a:pt x="160758" y="9502"/>
                  </a:lnTo>
                  <a:close/>
                  <a:moveTo>
                    <a:pt x="275122" y="31646"/>
                  </a:moveTo>
                  <a:lnTo>
                    <a:pt x="278811" y="35336"/>
                  </a:lnTo>
                  <a:lnTo>
                    <a:pt x="278811" y="27955"/>
                  </a:lnTo>
                  <a:lnTo>
                    <a:pt x="275122" y="27955"/>
                  </a:lnTo>
                  <a:lnTo>
                    <a:pt x="275122" y="31646"/>
                  </a:lnTo>
                  <a:close/>
                  <a:moveTo>
                    <a:pt x="241920" y="481898"/>
                  </a:moveTo>
                  <a:lnTo>
                    <a:pt x="241920" y="485584"/>
                  </a:lnTo>
                  <a:lnTo>
                    <a:pt x="245609" y="485584"/>
                  </a:lnTo>
                  <a:lnTo>
                    <a:pt x="241920" y="481898"/>
                  </a:lnTo>
                  <a:close/>
                  <a:moveTo>
                    <a:pt x="304636" y="400703"/>
                  </a:moveTo>
                  <a:lnTo>
                    <a:pt x="304636" y="404394"/>
                  </a:lnTo>
                  <a:lnTo>
                    <a:pt x="304636" y="408084"/>
                  </a:lnTo>
                  <a:lnTo>
                    <a:pt x="300947" y="415465"/>
                  </a:lnTo>
                  <a:lnTo>
                    <a:pt x="304636" y="415465"/>
                  </a:lnTo>
                  <a:lnTo>
                    <a:pt x="308326" y="411775"/>
                  </a:lnTo>
                  <a:lnTo>
                    <a:pt x="312015" y="411775"/>
                  </a:lnTo>
                  <a:lnTo>
                    <a:pt x="315704" y="408084"/>
                  </a:lnTo>
                  <a:lnTo>
                    <a:pt x="319393" y="408084"/>
                  </a:lnTo>
                  <a:lnTo>
                    <a:pt x="319393" y="404394"/>
                  </a:lnTo>
                  <a:lnTo>
                    <a:pt x="312015" y="408084"/>
                  </a:lnTo>
                  <a:lnTo>
                    <a:pt x="308326" y="404394"/>
                  </a:lnTo>
                  <a:lnTo>
                    <a:pt x="304636" y="400703"/>
                  </a:lnTo>
                  <a:close/>
                  <a:moveTo>
                    <a:pt x="404242" y="529875"/>
                  </a:moveTo>
                  <a:lnTo>
                    <a:pt x="404242" y="533561"/>
                  </a:lnTo>
                  <a:lnTo>
                    <a:pt x="407929" y="533561"/>
                  </a:lnTo>
                  <a:lnTo>
                    <a:pt x="404242" y="529875"/>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02" name="Freeform: Shape 101">
              <a:extLst>
                <a:ext uri="{FF2B5EF4-FFF2-40B4-BE49-F238E27FC236}">
                  <a16:creationId xmlns:a16="http://schemas.microsoft.com/office/drawing/2014/main" id="{F491F0E9-94F1-430C-911F-6EBBB1706894}"/>
                </a:ext>
              </a:extLst>
            </p:cNvPr>
            <p:cNvSpPr/>
            <p:nvPr/>
          </p:nvSpPr>
          <p:spPr>
            <a:xfrm>
              <a:off x="5104876" y="1864859"/>
              <a:ext cx="234089" cy="361775"/>
            </a:xfrm>
            <a:custGeom>
              <a:avLst/>
              <a:gdLst>
                <a:gd name="connsiteX0" fmla="*/ 79596 w 104775"/>
                <a:gd name="connsiteY0" fmla="*/ 116528 h 161925"/>
                <a:gd name="connsiteX1" fmla="*/ 72217 w 104775"/>
                <a:gd name="connsiteY1" fmla="*/ 123909 h 161925"/>
                <a:gd name="connsiteX2" fmla="*/ 68528 w 104775"/>
                <a:gd name="connsiteY2" fmla="*/ 127600 h 161925"/>
                <a:gd name="connsiteX3" fmla="*/ 64839 w 104775"/>
                <a:gd name="connsiteY3" fmla="*/ 127600 h 161925"/>
                <a:gd name="connsiteX4" fmla="*/ 61150 w 104775"/>
                <a:gd name="connsiteY4" fmla="*/ 127600 h 161925"/>
                <a:gd name="connsiteX5" fmla="*/ 57460 w 104775"/>
                <a:gd name="connsiteY5" fmla="*/ 127600 h 161925"/>
                <a:gd name="connsiteX6" fmla="*/ 46393 w 104775"/>
                <a:gd name="connsiteY6" fmla="*/ 142362 h 161925"/>
                <a:gd name="connsiteX7" fmla="*/ 46393 w 104775"/>
                <a:gd name="connsiteY7" fmla="*/ 146053 h 161925"/>
                <a:gd name="connsiteX8" fmla="*/ 46393 w 104775"/>
                <a:gd name="connsiteY8" fmla="*/ 146053 h 161925"/>
                <a:gd name="connsiteX9" fmla="*/ 46393 w 104775"/>
                <a:gd name="connsiteY9" fmla="*/ 149743 h 161925"/>
                <a:gd name="connsiteX10" fmla="*/ 42704 w 104775"/>
                <a:gd name="connsiteY10" fmla="*/ 149743 h 161925"/>
                <a:gd name="connsiteX11" fmla="*/ 39015 w 104775"/>
                <a:gd name="connsiteY11" fmla="*/ 149743 h 161925"/>
                <a:gd name="connsiteX12" fmla="*/ 35325 w 104775"/>
                <a:gd name="connsiteY12" fmla="*/ 146053 h 161925"/>
                <a:gd name="connsiteX13" fmla="*/ 27947 w 104775"/>
                <a:gd name="connsiteY13" fmla="*/ 142362 h 161925"/>
                <a:gd name="connsiteX14" fmla="*/ 24258 w 104775"/>
                <a:gd name="connsiteY14" fmla="*/ 142362 h 161925"/>
                <a:gd name="connsiteX15" fmla="*/ 27947 w 104775"/>
                <a:gd name="connsiteY15" fmla="*/ 146053 h 161925"/>
                <a:gd name="connsiteX16" fmla="*/ 31636 w 104775"/>
                <a:gd name="connsiteY16" fmla="*/ 149743 h 161925"/>
                <a:gd name="connsiteX17" fmla="*/ 31636 w 104775"/>
                <a:gd name="connsiteY17" fmla="*/ 149743 h 161925"/>
                <a:gd name="connsiteX18" fmla="*/ 35325 w 104775"/>
                <a:gd name="connsiteY18" fmla="*/ 153434 h 161925"/>
                <a:gd name="connsiteX19" fmla="*/ 39015 w 104775"/>
                <a:gd name="connsiteY19" fmla="*/ 153434 h 161925"/>
                <a:gd name="connsiteX20" fmla="*/ 31636 w 104775"/>
                <a:gd name="connsiteY20" fmla="*/ 153434 h 161925"/>
                <a:gd name="connsiteX21" fmla="*/ 31636 w 104775"/>
                <a:gd name="connsiteY21" fmla="*/ 153434 h 161925"/>
                <a:gd name="connsiteX22" fmla="*/ 31636 w 104775"/>
                <a:gd name="connsiteY22" fmla="*/ 157125 h 161925"/>
                <a:gd name="connsiteX23" fmla="*/ 31636 w 104775"/>
                <a:gd name="connsiteY23" fmla="*/ 157125 h 161925"/>
                <a:gd name="connsiteX24" fmla="*/ 31636 w 104775"/>
                <a:gd name="connsiteY24" fmla="*/ 157125 h 161925"/>
                <a:gd name="connsiteX25" fmla="*/ 24258 w 104775"/>
                <a:gd name="connsiteY25" fmla="*/ 157125 h 161925"/>
                <a:gd name="connsiteX26" fmla="*/ 20569 w 104775"/>
                <a:gd name="connsiteY26" fmla="*/ 157125 h 161925"/>
                <a:gd name="connsiteX27" fmla="*/ 24258 w 104775"/>
                <a:gd name="connsiteY27" fmla="*/ 157125 h 161925"/>
                <a:gd name="connsiteX28" fmla="*/ 20569 w 104775"/>
                <a:gd name="connsiteY28" fmla="*/ 160815 h 161925"/>
                <a:gd name="connsiteX29" fmla="*/ 16880 w 104775"/>
                <a:gd name="connsiteY29" fmla="*/ 160815 h 161925"/>
                <a:gd name="connsiteX30" fmla="*/ 13191 w 104775"/>
                <a:gd name="connsiteY30" fmla="*/ 164506 h 161925"/>
                <a:gd name="connsiteX31" fmla="*/ 9501 w 104775"/>
                <a:gd name="connsiteY31" fmla="*/ 164506 h 161925"/>
                <a:gd name="connsiteX32" fmla="*/ 9501 w 104775"/>
                <a:gd name="connsiteY32" fmla="*/ 160815 h 161925"/>
                <a:gd name="connsiteX33" fmla="*/ 9501 w 104775"/>
                <a:gd name="connsiteY33" fmla="*/ 153434 h 161925"/>
                <a:gd name="connsiteX34" fmla="*/ 5812 w 104775"/>
                <a:gd name="connsiteY34" fmla="*/ 138672 h 161925"/>
                <a:gd name="connsiteX35" fmla="*/ 5812 w 104775"/>
                <a:gd name="connsiteY35" fmla="*/ 131290 h 161925"/>
                <a:gd name="connsiteX36" fmla="*/ 5812 w 104775"/>
                <a:gd name="connsiteY36" fmla="*/ 127600 h 161925"/>
                <a:gd name="connsiteX37" fmla="*/ 9501 w 104775"/>
                <a:gd name="connsiteY37" fmla="*/ 116528 h 161925"/>
                <a:gd name="connsiteX38" fmla="*/ 9501 w 104775"/>
                <a:gd name="connsiteY38" fmla="*/ 112837 h 161925"/>
                <a:gd name="connsiteX39" fmla="*/ 9501 w 104775"/>
                <a:gd name="connsiteY39" fmla="*/ 112837 h 161925"/>
                <a:gd name="connsiteX40" fmla="*/ 13191 w 104775"/>
                <a:gd name="connsiteY40" fmla="*/ 101766 h 161925"/>
                <a:gd name="connsiteX41" fmla="*/ 16880 w 104775"/>
                <a:gd name="connsiteY41" fmla="*/ 90695 h 161925"/>
                <a:gd name="connsiteX42" fmla="*/ 20569 w 104775"/>
                <a:gd name="connsiteY42" fmla="*/ 79623 h 161925"/>
                <a:gd name="connsiteX43" fmla="*/ 24258 w 104775"/>
                <a:gd name="connsiteY43" fmla="*/ 75932 h 161925"/>
                <a:gd name="connsiteX44" fmla="*/ 31636 w 104775"/>
                <a:gd name="connsiteY44" fmla="*/ 64860 h 161925"/>
                <a:gd name="connsiteX45" fmla="*/ 39015 w 104775"/>
                <a:gd name="connsiteY45" fmla="*/ 50098 h 161925"/>
                <a:gd name="connsiteX46" fmla="*/ 50082 w 104775"/>
                <a:gd name="connsiteY46" fmla="*/ 39026 h 161925"/>
                <a:gd name="connsiteX47" fmla="*/ 50082 w 104775"/>
                <a:gd name="connsiteY47" fmla="*/ 39026 h 161925"/>
                <a:gd name="connsiteX48" fmla="*/ 50082 w 104775"/>
                <a:gd name="connsiteY48" fmla="*/ 39026 h 161925"/>
                <a:gd name="connsiteX49" fmla="*/ 50082 w 104775"/>
                <a:gd name="connsiteY49" fmla="*/ 42717 h 161925"/>
                <a:gd name="connsiteX50" fmla="*/ 50082 w 104775"/>
                <a:gd name="connsiteY50" fmla="*/ 46407 h 161925"/>
                <a:gd name="connsiteX51" fmla="*/ 53771 w 104775"/>
                <a:gd name="connsiteY51" fmla="*/ 42717 h 161925"/>
                <a:gd name="connsiteX52" fmla="*/ 53771 w 104775"/>
                <a:gd name="connsiteY52" fmla="*/ 42717 h 161925"/>
                <a:gd name="connsiteX53" fmla="*/ 53771 w 104775"/>
                <a:gd name="connsiteY53" fmla="*/ 42717 h 161925"/>
                <a:gd name="connsiteX54" fmla="*/ 57460 w 104775"/>
                <a:gd name="connsiteY54" fmla="*/ 39026 h 161925"/>
                <a:gd name="connsiteX55" fmla="*/ 57460 w 104775"/>
                <a:gd name="connsiteY55" fmla="*/ 39026 h 161925"/>
                <a:gd name="connsiteX56" fmla="*/ 61150 w 104775"/>
                <a:gd name="connsiteY56" fmla="*/ 35336 h 161925"/>
                <a:gd name="connsiteX57" fmla="*/ 64839 w 104775"/>
                <a:gd name="connsiteY57" fmla="*/ 35336 h 161925"/>
                <a:gd name="connsiteX58" fmla="*/ 64839 w 104775"/>
                <a:gd name="connsiteY58" fmla="*/ 39026 h 161925"/>
                <a:gd name="connsiteX59" fmla="*/ 64839 w 104775"/>
                <a:gd name="connsiteY59" fmla="*/ 35336 h 161925"/>
                <a:gd name="connsiteX60" fmla="*/ 64839 w 104775"/>
                <a:gd name="connsiteY60" fmla="*/ 35336 h 161925"/>
                <a:gd name="connsiteX61" fmla="*/ 61150 w 104775"/>
                <a:gd name="connsiteY61" fmla="*/ 35336 h 161925"/>
                <a:gd name="connsiteX62" fmla="*/ 61150 w 104775"/>
                <a:gd name="connsiteY62" fmla="*/ 31645 h 161925"/>
                <a:gd name="connsiteX63" fmla="*/ 57460 w 104775"/>
                <a:gd name="connsiteY63" fmla="*/ 35336 h 161925"/>
                <a:gd name="connsiteX64" fmla="*/ 57460 w 104775"/>
                <a:gd name="connsiteY64" fmla="*/ 35336 h 161925"/>
                <a:gd name="connsiteX65" fmla="*/ 50082 w 104775"/>
                <a:gd name="connsiteY65" fmla="*/ 39026 h 161925"/>
                <a:gd name="connsiteX66" fmla="*/ 50082 w 104775"/>
                <a:gd name="connsiteY66" fmla="*/ 39026 h 161925"/>
                <a:gd name="connsiteX67" fmla="*/ 61150 w 104775"/>
                <a:gd name="connsiteY67" fmla="*/ 16882 h 161925"/>
                <a:gd name="connsiteX68" fmla="*/ 64839 w 104775"/>
                <a:gd name="connsiteY68" fmla="*/ 13193 h 161925"/>
                <a:gd name="connsiteX69" fmla="*/ 72217 w 104775"/>
                <a:gd name="connsiteY69" fmla="*/ 9502 h 161925"/>
                <a:gd name="connsiteX70" fmla="*/ 72217 w 104775"/>
                <a:gd name="connsiteY70" fmla="*/ 5812 h 161925"/>
                <a:gd name="connsiteX71" fmla="*/ 75906 w 104775"/>
                <a:gd name="connsiteY71" fmla="*/ 5812 h 161925"/>
                <a:gd name="connsiteX72" fmla="*/ 79596 w 104775"/>
                <a:gd name="connsiteY72" fmla="*/ 5812 h 161925"/>
                <a:gd name="connsiteX73" fmla="*/ 79596 w 104775"/>
                <a:gd name="connsiteY73" fmla="*/ 5812 h 161925"/>
                <a:gd name="connsiteX74" fmla="*/ 83285 w 104775"/>
                <a:gd name="connsiteY74" fmla="*/ 9502 h 161925"/>
                <a:gd name="connsiteX75" fmla="*/ 86974 w 104775"/>
                <a:gd name="connsiteY75" fmla="*/ 13193 h 161925"/>
                <a:gd name="connsiteX76" fmla="*/ 86974 w 104775"/>
                <a:gd name="connsiteY76" fmla="*/ 16882 h 161925"/>
                <a:gd name="connsiteX77" fmla="*/ 86974 w 104775"/>
                <a:gd name="connsiteY77" fmla="*/ 20573 h 161925"/>
                <a:gd name="connsiteX78" fmla="*/ 90663 w 104775"/>
                <a:gd name="connsiteY78" fmla="*/ 20573 h 161925"/>
                <a:gd name="connsiteX79" fmla="*/ 86974 w 104775"/>
                <a:gd name="connsiteY79" fmla="*/ 20573 h 161925"/>
                <a:gd name="connsiteX80" fmla="*/ 86974 w 104775"/>
                <a:gd name="connsiteY80" fmla="*/ 20573 h 161925"/>
                <a:gd name="connsiteX81" fmla="*/ 86974 w 104775"/>
                <a:gd name="connsiteY81" fmla="*/ 24264 h 161925"/>
                <a:gd name="connsiteX82" fmla="*/ 90663 w 104775"/>
                <a:gd name="connsiteY82" fmla="*/ 27954 h 161925"/>
                <a:gd name="connsiteX83" fmla="*/ 90663 w 104775"/>
                <a:gd name="connsiteY83" fmla="*/ 27954 h 161925"/>
                <a:gd name="connsiteX84" fmla="*/ 94352 w 104775"/>
                <a:gd name="connsiteY84" fmla="*/ 31645 h 161925"/>
                <a:gd name="connsiteX85" fmla="*/ 101730 w 104775"/>
                <a:gd name="connsiteY85" fmla="*/ 42717 h 161925"/>
                <a:gd name="connsiteX86" fmla="*/ 101730 w 104775"/>
                <a:gd name="connsiteY86" fmla="*/ 46407 h 161925"/>
                <a:gd name="connsiteX87" fmla="*/ 101730 w 104775"/>
                <a:gd name="connsiteY87" fmla="*/ 46407 h 161925"/>
                <a:gd name="connsiteX88" fmla="*/ 101730 w 104775"/>
                <a:gd name="connsiteY88" fmla="*/ 46407 h 161925"/>
                <a:gd name="connsiteX89" fmla="*/ 101730 w 104775"/>
                <a:gd name="connsiteY89" fmla="*/ 46407 h 161925"/>
                <a:gd name="connsiteX90" fmla="*/ 98041 w 104775"/>
                <a:gd name="connsiteY90" fmla="*/ 50098 h 161925"/>
                <a:gd name="connsiteX91" fmla="*/ 98041 w 104775"/>
                <a:gd name="connsiteY91" fmla="*/ 72242 h 161925"/>
                <a:gd name="connsiteX92" fmla="*/ 98041 w 104775"/>
                <a:gd name="connsiteY92" fmla="*/ 83313 h 161925"/>
                <a:gd name="connsiteX93" fmla="*/ 98041 w 104775"/>
                <a:gd name="connsiteY93" fmla="*/ 87004 h 161925"/>
                <a:gd name="connsiteX94" fmla="*/ 94352 w 104775"/>
                <a:gd name="connsiteY94" fmla="*/ 94385 h 161925"/>
                <a:gd name="connsiteX95" fmla="*/ 90663 w 104775"/>
                <a:gd name="connsiteY95" fmla="*/ 94385 h 161925"/>
                <a:gd name="connsiteX96" fmla="*/ 86974 w 104775"/>
                <a:gd name="connsiteY96" fmla="*/ 98075 h 161925"/>
                <a:gd name="connsiteX97" fmla="*/ 86974 w 104775"/>
                <a:gd name="connsiteY97" fmla="*/ 98075 h 161925"/>
                <a:gd name="connsiteX98" fmla="*/ 86974 w 104775"/>
                <a:gd name="connsiteY98" fmla="*/ 98075 h 161925"/>
                <a:gd name="connsiteX99" fmla="*/ 86974 w 104775"/>
                <a:gd name="connsiteY99" fmla="*/ 105456 h 161925"/>
                <a:gd name="connsiteX100" fmla="*/ 79596 w 104775"/>
                <a:gd name="connsiteY100" fmla="*/ 112837 h 161925"/>
                <a:gd name="connsiteX101" fmla="*/ 79596 w 104775"/>
                <a:gd name="connsiteY101" fmla="*/ 116528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04775" h="161925">
                  <a:moveTo>
                    <a:pt x="79596" y="116528"/>
                  </a:moveTo>
                  <a:lnTo>
                    <a:pt x="72217" y="123909"/>
                  </a:lnTo>
                  <a:lnTo>
                    <a:pt x="68528" y="127600"/>
                  </a:lnTo>
                  <a:lnTo>
                    <a:pt x="64839" y="127600"/>
                  </a:lnTo>
                  <a:lnTo>
                    <a:pt x="61150" y="127600"/>
                  </a:lnTo>
                  <a:lnTo>
                    <a:pt x="57460" y="127600"/>
                  </a:lnTo>
                  <a:lnTo>
                    <a:pt x="46393" y="142362"/>
                  </a:lnTo>
                  <a:lnTo>
                    <a:pt x="46393" y="146053"/>
                  </a:lnTo>
                  <a:lnTo>
                    <a:pt x="46393" y="146053"/>
                  </a:lnTo>
                  <a:lnTo>
                    <a:pt x="46393" y="149743"/>
                  </a:lnTo>
                  <a:lnTo>
                    <a:pt x="42704" y="149743"/>
                  </a:lnTo>
                  <a:lnTo>
                    <a:pt x="39015" y="149743"/>
                  </a:lnTo>
                  <a:lnTo>
                    <a:pt x="35325" y="146053"/>
                  </a:lnTo>
                  <a:lnTo>
                    <a:pt x="27947" y="142362"/>
                  </a:lnTo>
                  <a:lnTo>
                    <a:pt x="24258" y="142362"/>
                  </a:lnTo>
                  <a:lnTo>
                    <a:pt x="27947" y="146053"/>
                  </a:lnTo>
                  <a:lnTo>
                    <a:pt x="31636" y="149743"/>
                  </a:lnTo>
                  <a:lnTo>
                    <a:pt x="31636" y="149743"/>
                  </a:lnTo>
                  <a:lnTo>
                    <a:pt x="35325" y="153434"/>
                  </a:lnTo>
                  <a:lnTo>
                    <a:pt x="39015" y="153434"/>
                  </a:lnTo>
                  <a:lnTo>
                    <a:pt x="31636" y="153434"/>
                  </a:lnTo>
                  <a:lnTo>
                    <a:pt x="31636" y="153434"/>
                  </a:lnTo>
                  <a:lnTo>
                    <a:pt x="31636" y="157125"/>
                  </a:lnTo>
                  <a:lnTo>
                    <a:pt x="31636" y="157125"/>
                  </a:lnTo>
                  <a:lnTo>
                    <a:pt x="31636" y="157125"/>
                  </a:lnTo>
                  <a:lnTo>
                    <a:pt x="24258" y="157125"/>
                  </a:lnTo>
                  <a:lnTo>
                    <a:pt x="20569" y="157125"/>
                  </a:lnTo>
                  <a:lnTo>
                    <a:pt x="24258" y="157125"/>
                  </a:lnTo>
                  <a:lnTo>
                    <a:pt x="20569" y="160815"/>
                  </a:lnTo>
                  <a:lnTo>
                    <a:pt x="16880" y="160815"/>
                  </a:lnTo>
                  <a:lnTo>
                    <a:pt x="13191" y="164506"/>
                  </a:lnTo>
                  <a:lnTo>
                    <a:pt x="9501" y="164506"/>
                  </a:lnTo>
                  <a:lnTo>
                    <a:pt x="9501" y="160815"/>
                  </a:lnTo>
                  <a:lnTo>
                    <a:pt x="9501" y="153434"/>
                  </a:lnTo>
                  <a:lnTo>
                    <a:pt x="5812" y="138672"/>
                  </a:lnTo>
                  <a:lnTo>
                    <a:pt x="5812" y="131290"/>
                  </a:lnTo>
                  <a:lnTo>
                    <a:pt x="5812" y="127600"/>
                  </a:lnTo>
                  <a:lnTo>
                    <a:pt x="9501" y="116528"/>
                  </a:lnTo>
                  <a:lnTo>
                    <a:pt x="9501" y="112837"/>
                  </a:lnTo>
                  <a:lnTo>
                    <a:pt x="9501" y="112837"/>
                  </a:lnTo>
                  <a:lnTo>
                    <a:pt x="13191" y="101766"/>
                  </a:lnTo>
                  <a:lnTo>
                    <a:pt x="16880" y="90695"/>
                  </a:lnTo>
                  <a:lnTo>
                    <a:pt x="20569" y="79623"/>
                  </a:lnTo>
                  <a:lnTo>
                    <a:pt x="24258" y="75932"/>
                  </a:lnTo>
                  <a:lnTo>
                    <a:pt x="31636" y="64860"/>
                  </a:lnTo>
                  <a:lnTo>
                    <a:pt x="39015" y="50098"/>
                  </a:lnTo>
                  <a:lnTo>
                    <a:pt x="50082" y="39026"/>
                  </a:lnTo>
                  <a:lnTo>
                    <a:pt x="50082" y="39026"/>
                  </a:lnTo>
                  <a:lnTo>
                    <a:pt x="50082" y="39026"/>
                  </a:lnTo>
                  <a:lnTo>
                    <a:pt x="50082" y="42717"/>
                  </a:lnTo>
                  <a:lnTo>
                    <a:pt x="50082" y="46407"/>
                  </a:lnTo>
                  <a:lnTo>
                    <a:pt x="53771" y="42717"/>
                  </a:lnTo>
                  <a:lnTo>
                    <a:pt x="53771" y="42717"/>
                  </a:lnTo>
                  <a:lnTo>
                    <a:pt x="53771" y="42717"/>
                  </a:lnTo>
                  <a:lnTo>
                    <a:pt x="57460" y="39026"/>
                  </a:lnTo>
                  <a:lnTo>
                    <a:pt x="57460" y="39026"/>
                  </a:lnTo>
                  <a:lnTo>
                    <a:pt x="61150" y="35336"/>
                  </a:lnTo>
                  <a:lnTo>
                    <a:pt x="64839" y="35336"/>
                  </a:lnTo>
                  <a:lnTo>
                    <a:pt x="64839" y="39026"/>
                  </a:lnTo>
                  <a:lnTo>
                    <a:pt x="64839" y="35336"/>
                  </a:lnTo>
                  <a:lnTo>
                    <a:pt x="64839" y="35336"/>
                  </a:lnTo>
                  <a:lnTo>
                    <a:pt x="61150" y="35336"/>
                  </a:lnTo>
                  <a:lnTo>
                    <a:pt x="61150" y="31645"/>
                  </a:lnTo>
                  <a:lnTo>
                    <a:pt x="57460" y="35336"/>
                  </a:lnTo>
                  <a:lnTo>
                    <a:pt x="57460" y="35336"/>
                  </a:lnTo>
                  <a:lnTo>
                    <a:pt x="50082" y="39026"/>
                  </a:lnTo>
                  <a:lnTo>
                    <a:pt x="50082" y="39026"/>
                  </a:lnTo>
                  <a:lnTo>
                    <a:pt x="61150" y="16882"/>
                  </a:lnTo>
                  <a:lnTo>
                    <a:pt x="64839" y="13193"/>
                  </a:lnTo>
                  <a:lnTo>
                    <a:pt x="72217" y="9502"/>
                  </a:lnTo>
                  <a:lnTo>
                    <a:pt x="72217" y="5812"/>
                  </a:lnTo>
                  <a:lnTo>
                    <a:pt x="75906" y="5812"/>
                  </a:lnTo>
                  <a:lnTo>
                    <a:pt x="79596" y="5812"/>
                  </a:lnTo>
                  <a:lnTo>
                    <a:pt x="79596" y="5812"/>
                  </a:lnTo>
                  <a:lnTo>
                    <a:pt x="83285" y="9502"/>
                  </a:lnTo>
                  <a:lnTo>
                    <a:pt x="86974" y="13193"/>
                  </a:lnTo>
                  <a:lnTo>
                    <a:pt x="86974" y="16882"/>
                  </a:lnTo>
                  <a:lnTo>
                    <a:pt x="86974" y="20573"/>
                  </a:lnTo>
                  <a:lnTo>
                    <a:pt x="90663" y="20573"/>
                  </a:lnTo>
                  <a:lnTo>
                    <a:pt x="86974" y="20573"/>
                  </a:lnTo>
                  <a:lnTo>
                    <a:pt x="86974" y="20573"/>
                  </a:lnTo>
                  <a:lnTo>
                    <a:pt x="86974" y="24264"/>
                  </a:lnTo>
                  <a:lnTo>
                    <a:pt x="90663" y="27954"/>
                  </a:lnTo>
                  <a:lnTo>
                    <a:pt x="90663" y="27954"/>
                  </a:lnTo>
                  <a:lnTo>
                    <a:pt x="94352" y="31645"/>
                  </a:lnTo>
                  <a:lnTo>
                    <a:pt x="101730" y="42717"/>
                  </a:lnTo>
                  <a:lnTo>
                    <a:pt x="101730" y="46407"/>
                  </a:lnTo>
                  <a:lnTo>
                    <a:pt x="101730" y="46407"/>
                  </a:lnTo>
                  <a:lnTo>
                    <a:pt x="101730" y="46407"/>
                  </a:lnTo>
                  <a:lnTo>
                    <a:pt x="101730" y="46407"/>
                  </a:lnTo>
                  <a:lnTo>
                    <a:pt x="98041" y="50098"/>
                  </a:lnTo>
                  <a:lnTo>
                    <a:pt x="98041" y="72242"/>
                  </a:lnTo>
                  <a:lnTo>
                    <a:pt x="98041" y="83313"/>
                  </a:lnTo>
                  <a:lnTo>
                    <a:pt x="98041" y="87004"/>
                  </a:lnTo>
                  <a:lnTo>
                    <a:pt x="94352" y="94385"/>
                  </a:lnTo>
                  <a:lnTo>
                    <a:pt x="90663" y="94385"/>
                  </a:lnTo>
                  <a:lnTo>
                    <a:pt x="86974" y="98075"/>
                  </a:lnTo>
                  <a:lnTo>
                    <a:pt x="86974" y="98075"/>
                  </a:lnTo>
                  <a:lnTo>
                    <a:pt x="86974" y="98075"/>
                  </a:lnTo>
                  <a:lnTo>
                    <a:pt x="86974" y="105456"/>
                  </a:lnTo>
                  <a:lnTo>
                    <a:pt x="79596" y="112837"/>
                  </a:lnTo>
                  <a:lnTo>
                    <a:pt x="79596" y="116528"/>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03" name="Freeform: Shape 102">
              <a:extLst>
                <a:ext uri="{FF2B5EF4-FFF2-40B4-BE49-F238E27FC236}">
                  <a16:creationId xmlns:a16="http://schemas.microsoft.com/office/drawing/2014/main" id="{EE7D8D9C-25B9-4325-97B8-DD8D4ED1D073}"/>
                </a:ext>
              </a:extLst>
            </p:cNvPr>
            <p:cNvSpPr/>
            <p:nvPr/>
          </p:nvSpPr>
          <p:spPr>
            <a:xfrm>
              <a:off x="5467542" y="2194679"/>
              <a:ext cx="148966" cy="127685"/>
            </a:xfrm>
            <a:custGeom>
              <a:avLst/>
              <a:gdLst>
                <a:gd name="connsiteX0" fmla="*/ 64839 w 66675"/>
                <a:gd name="connsiteY0" fmla="*/ 5812 h 57150"/>
                <a:gd name="connsiteX1" fmla="*/ 64839 w 66675"/>
                <a:gd name="connsiteY1" fmla="*/ 5812 h 57150"/>
                <a:gd name="connsiteX2" fmla="*/ 13191 w 66675"/>
                <a:gd name="connsiteY2" fmla="*/ 50098 h 57150"/>
                <a:gd name="connsiteX3" fmla="*/ 9501 w 66675"/>
                <a:gd name="connsiteY3" fmla="*/ 53789 h 57150"/>
                <a:gd name="connsiteX4" fmla="*/ 5812 w 66675"/>
                <a:gd name="connsiteY4" fmla="*/ 53789 h 57150"/>
                <a:gd name="connsiteX5" fmla="*/ 5812 w 66675"/>
                <a:gd name="connsiteY5" fmla="*/ 50098 h 57150"/>
                <a:gd name="connsiteX6" fmla="*/ 13191 w 66675"/>
                <a:gd name="connsiteY6" fmla="*/ 50098 h 57150"/>
                <a:gd name="connsiteX7" fmla="*/ 64839 w 66675"/>
                <a:gd name="connsiteY7" fmla="*/ 581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57150">
                  <a:moveTo>
                    <a:pt x="64839" y="5812"/>
                  </a:moveTo>
                  <a:lnTo>
                    <a:pt x="64839" y="5812"/>
                  </a:lnTo>
                  <a:lnTo>
                    <a:pt x="13191" y="50098"/>
                  </a:lnTo>
                  <a:lnTo>
                    <a:pt x="9501" y="53789"/>
                  </a:lnTo>
                  <a:lnTo>
                    <a:pt x="5812" y="53789"/>
                  </a:lnTo>
                  <a:lnTo>
                    <a:pt x="5812" y="50098"/>
                  </a:lnTo>
                  <a:lnTo>
                    <a:pt x="13191" y="50098"/>
                  </a:lnTo>
                  <a:lnTo>
                    <a:pt x="64839" y="5812"/>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04" name="Freeform: Shape 103">
              <a:extLst>
                <a:ext uri="{FF2B5EF4-FFF2-40B4-BE49-F238E27FC236}">
                  <a16:creationId xmlns:a16="http://schemas.microsoft.com/office/drawing/2014/main" id="{8536217A-8EE7-46E9-AB80-C207CE1B07F7}"/>
                </a:ext>
              </a:extLst>
            </p:cNvPr>
            <p:cNvSpPr/>
            <p:nvPr/>
          </p:nvSpPr>
          <p:spPr>
            <a:xfrm>
              <a:off x="6036262" y="4363234"/>
              <a:ext cx="744828" cy="1830151"/>
            </a:xfrm>
            <a:custGeom>
              <a:avLst/>
              <a:gdLst>
                <a:gd name="connsiteX0" fmla="*/ 153382 w 333375"/>
                <a:gd name="connsiteY0" fmla="*/ 5812 h 819150"/>
                <a:gd name="connsiteX1" fmla="*/ 149696 w 333375"/>
                <a:gd name="connsiteY1" fmla="*/ 9507 h 819150"/>
                <a:gd name="connsiteX2" fmla="*/ 153382 w 333375"/>
                <a:gd name="connsiteY2" fmla="*/ 13193 h 819150"/>
                <a:gd name="connsiteX3" fmla="*/ 153382 w 333375"/>
                <a:gd name="connsiteY3" fmla="*/ 16889 h 819150"/>
                <a:gd name="connsiteX4" fmla="*/ 153382 w 333375"/>
                <a:gd name="connsiteY4" fmla="*/ 20575 h 819150"/>
                <a:gd name="connsiteX5" fmla="*/ 149696 w 333375"/>
                <a:gd name="connsiteY5" fmla="*/ 20575 h 819150"/>
                <a:gd name="connsiteX6" fmla="*/ 153382 w 333375"/>
                <a:gd name="connsiteY6" fmla="*/ 24271 h 819150"/>
                <a:gd name="connsiteX7" fmla="*/ 157069 w 333375"/>
                <a:gd name="connsiteY7" fmla="*/ 24271 h 819150"/>
                <a:gd name="connsiteX8" fmla="*/ 157069 w 333375"/>
                <a:gd name="connsiteY8" fmla="*/ 27957 h 819150"/>
                <a:gd name="connsiteX9" fmla="*/ 157069 w 333375"/>
                <a:gd name="connsiteY9" fmla="*/ 31653 h 819150"/>
                <a:gd name="connsiteX10" fmla="*/ 160755 w 333375"/>
                <a:gd name="connsiteY10" fmla="*/ 39025 h 819150"/>
                <a:gd name="connsiteX11" fmla="*/ 160755 w 333375"/>
                <a:gd name="connsiteY11" fmla="*/ 46407 h 819150"/>
                <a:gd name="connsiteX12" fmla="*/ 164450 w 333375"/>
                <a:gd name="connsiteY12" fmla="*/ 50103 h 819150"/>
                <a:gd name="connsiteX13" fmla="*/ 171823 w 333375"/>
                <a:gd name="connsiteY13" fmla="*/ 50103 h 819150"/>
                <a:gd name="connsiteX14" fmla="*/ 179205 w 333375"/>
                <a:gd name="connsiteY14" fmla="*/ 53789 h 819150"/>
                <a:gd name="connsiteX15" fmla="*/ 186587 w 333375"/>
                <a:gd name="connsiteY15" fmla="*/ 53789 h 819150"/>
                <a:gd name="connsiteX16" fmla="*/ 190273 w 333375"/>
                <a:gd name="connsiteY16" fmla="*/ 57485 h 819150"/>
                <a:gd name="connsiteX17" fmla="*/ 193959 w 333375"/>
                <a:gd name="connsiteY17" fmla="*/ 57485 h 819150"/>
                <a:gd name="connsiteX18" fmla="*/ 197655 w 333375"/>
                <a:gd name="connsiteY18" fmla="*/ 68553 h 819150"/>
                <a:gd name="connsiteX19" fmla="*/ 197655 w 333375"/>
                <a:gd name="connsiteY19" fmla="*/ 75935 h 819150"/>
                <a:gd name="connsiteX20" fmla="*/ 197655 w 333375"/>
                <a:gd name="connsiteY20" fmla="*/ 79630 h 819150"/>
                <a:gd name="connsiteX21" fmla="*/ 201341 w 333375"/>
                <a:gd name="connsiteY21" fmla="*/ 79630 h 819150"/>
                <a:gd name="connsiteX22" fmla="*/ 201341 w 333375"/>
                <a:gd name="connsiteY22" fmla="*/ 87003 h 819150"/>
                <a:gd name="connsiteX23" fmla="*/ 201341 w 333375"/>
                <a:gd name="connsiteY23" fmla="*/ 90698 h 819150"/>
                <a:gd name="connsiteX24" fmla="*/ 201341 w 333375"/>
                <a:gd name="connsiteY24" fmla="*/ 94384 h 819150"/>
                <a:gd name="connsiteX25" fmla="*/ 201341 w 333375"/>
                <a:gd name="connsiteY25" fmla="*/ 105462 h 819150"/>
                <a:gd name="connsiteX26" fmla="*/ 205027 w 333375"/>
                <a:gd name="connsiteY26" fmla="*/ 109148 h 819150"/>
                <a:gd name="connsiteX27" fmla="*/ 205027 w 333375"/>
                <a:gd name="connsiteY27" fmla="*/ 112844 h 819150"/>
                <a:gd name="connsiteX28" fmla="*/ 216095 w 333375"/>
                <a:gd name="connsiteY28" fmla="*/ 116530 h 819150"/>
                <a:gd name="connsiteX29" fmla="*/ 219791 w 333375"/>
                <a:gd name="connsiteY29" fmla="*/ 120226 h 819150"/>
                <a:gd name="connsiteX30" fmla="*/ 223477 w 333375"/>
                <a:gd name="connsiteY30" fmla="*/ 123912 h 819150"/>
                <a:gd name="connsiteX31" fmla="*/ 227163 w 333375"/>
                <a:gd name="connsiteY31" fmla="*/ 127608 h 819150"/>
                <a:gd name="connsiteX32" fmla="*/ 227163 w 333375"/>
                <a:gd name="connsiteY32" fmla="*/ 131294 h 819150"/>
                <a:gd name="connsiteX33" fmla="*/ 230859 w 333375"/>
                <a:gd name="connsiteY33" fmla="*/ 134980 h 819150"/>
                <a:gd name="connsiteX34" fmla="*/ 230859 w 333375"/>
                <a:gd name="connsiteY34" fmla="*/ 146058 h 819150"/>
                <a:gd name="connsiteX35" fmla="*/ 230859 w 333375"/>
                <a:gd name="connsiteY35" fmla="*/ 149744 h 819150"/>
                <a:gd name="connsiteX36" fmla="*/ 234545 w 333375"/>
                <a:gd name="connsiteY36" fmla="*/ 153439 h 819150"/>
                <a:gd name="connsiteX37" fmla="*/ 238231 w 333375"/>
                <a:gd name="connsiteY37" fmla="*/ 160821 h 819150"/>
                <a:gd name="connsiteX38" fmla="*/ 238231 w 333375"/>
                <a:gd name="connsiteY38" fmla="*/ 164508 h 819150"/>
                <a:gd name="connsiteX39" fmla="*/ 238231 w 333375"/>
                <a:gd name="connsiteY39" fmla="*/ 168203 h 819150"/>
                <a:gd name="connsiteX40" fmla="*/ 238231 w 333375"/>
                <a:gd name="connsiteY40" fmla="*/ 171890 h 819150"/>
                <a:gd name="connsiteX41" fmla="*/ 238231 w 333375"/>
                <a:gd name="connsiteY41" fmla="*/ 175585 h 819150"/>
                <a:gd name="connsiteX42" fmla="*/ 241917 w 333375"/>
                <a:gd name="connsiteY42" fmla="*/ 179271 h 819150"/>
                <a:gd name="connsiteX43" fmla="*/ 238231 w 333375"/>
                <a:gd name="connsiteY43" fmla="*/ 179271 h 819150"/>
                <a:gd name="connsiteX44" fmla="*/ 234545 w 333375"/>
                <a:gd name="connsiteY44" fmla="*/ 179271 h 819150"/>
                <a:gd name="connsiteX45" fmla="*/ 234545 w 333375"/>
                <a:gd name="connsiteY45" fmla="*/ 182957 h 819150"/>
                <a:gd name="connsiteX46" fmla="*/ 227163 w 333375"/>
                <a:gd name="connsiteY46" fmla="*/ 175585 h 819150"/>
                <a:gd name="connsiteX47" fmla="*/ 223477 w 333375"/>
                <a:gd name="connsiteY47" fmla="*/ 171890 h 819150"/>
                <a:gd name="connsiteX48" fmla="*/ 219791 w 333375"/>
                <a:gd name="connsiteY48" fmla="*/ 171890 h 819150"/>
                <a:gd name="connsiteX49" fmla="*/ 219791 w 333375"/>
                <a:gd name="connsiteY49" fmla="*/ 168203 h 819150"/>
                <a:gd name="connsiteX50" fmla="*/ 212409 w 333375"/>
                <a:gd name="connsiteY50" fmla="*/ 171890 h 819150"/>
                <a:gd name="connsiteX51" fmla="*/ 205027 w 333375"/>
                <a:gd name="connsiteY51" fmla="*/ 175585 h 819150"/>
                <a:gd name="connsiteX52" fmla="*/ 193959 w 333375"/>
                <a:gd name="connsiteY52" fmla="*/ 179271 h 819150"/>
                <a:gd name="connsiteX53" fmla="*/ 186587 w 333375"/>
                <a:gd name="connsiteY53" fmla="*/ 182957 h 819150"/>
                <a:gd name="connsiteX54" fmla="*/ 179205 w 333375"/>
                <a:gd name="connsiteY54" fmla="*/ 182957 h 819150"/>
                <a:gd name="connsiteX55" fmla="*/ 171823 w 333375"/>
                <a:gd name="connsiteY55" fmla="*/ 182957 h 819150"/>
                <a:gd name="connsiteX56" fmla="*/ 164450 w 333375"/>
                <a:gd name="connsiteY56" fmla="*/ 179271 h 819150"/>
                <a:gd name="connsiteX57" fmla="*/ 153382 w 333375"/>
                <a:gd name="connsiteY57" fmla="*/ 175585 h 819150"/>
                <a:gd name="connsiteX58" fmla="*/ 138628 w 333375"/>
                <a:gd name="connsiteY58" fmla="*/ 171890 h 819150"/>
                <a:gd name="connsiteX59" fmla="*/ 142314 w 333375"/>
                <a:gd name="connsiteY59" fmla="*/ 205103 h 819150"/>
                <a:gd name="connsiteX60" fmla="*/ 146000 w 333375"/>
                <a:gd name="connsiteY60" fmla="*/ 216181 h 819150"/>
                <a:gd name="connsiteX61" fmla="*/ 146000 w 333375"/>
                <a:gd name="connsiteY61" fmla="*/ 223563 h 819150"/>
                <a:gd name="connsiteX62" fmla="*/ 149696 w 333375"/>
                <a:gd name="connsiteY62" fmla="*/ 230935 h 819150"/>
                <a:gd name="connsiteX63" fmla="*/ 157069 w 333375"/>
                <a:gd name="connsiteY63" fmla="*/ 264158 h 819150"/>
                <a:gd name="connsiteX64" fmla="*/ 157069 w 333375"/>
                <a:gd name="connsiteY64" fmla="*/ 267844 h 819150"/>
                <a:gd name="connsiteX65" fmla="*/ 171823 w 333375"/>
                <a:gd name="connsiteY65" fmla="*/ 293676 h 819150"/>
                <a:gd name="connsiteX66" fmla="*/ 179205 w 333375"/>
                <a:gd name="connsiteY66" fmla="*/ 308440 h 819150"/>
                <a:gd name="connsiteX67" fmla="*/ 186587 w 333375"/>
                <a:gd name="connsiteY67" fmla="*/ 319517 h 819150"/>
                <a:gd name="connsiteX68" fmla="*/ 179205 w 333375"/>
                <a:gd name="connsiteY68" fmla="*/ 323204 h 819150"/>
                <a:gd name="connsiteX69" fmla="*/ 168137 w 333375"/>
                <a:gd name="connsiteY69" fmla="*/ 334272 h 819150"/>
                <a:gd name="connsiteX70" fmla="*/ 160755 w 333375"/>
                <a:gd name="connsiteY70" fmla="*/ 341654 h 819150"/>
                <a:gd name="connsiteX71" fmla="*/ 157069 w 333375"/>
                <a:gd name="connsiteY71" fmla="*/ 341654 h 819150"/>
                <a:gd name="connsiteX72" fmla="*/ 153382 w 333375"/>
                <a:gd name="connsiteY72" fmla="*/ 345349 h 819150"/>
                <a:gd name="connsiteX73" fmla="*/ 149696 w 333375"/>
                <a:gd name="connsiteY73" fmla="*/ 345349 h 819150"/>
                <a:gd name="connsiteX74" fmla="*/ 138628 w 333375"/>
                <a:gd name="connsiteY74" fmla="*/ 349035 h 819150"/>
                <a:gd name="connsiteX75" fmla="*/ 109110 w 333375"/>
                <a:gd name="connsiteY75" fmla="*/ 356417 h 819150"/>
                <a:gd name="connsiteX76" fmla="*/ 105424 w 333375"/>
                <a:gd name="connsiteY76" fmla="*/ 360113 h 819150"/>
                <a:gd name="connsiteX77" fmla="*/ 101728 w 333375"/>
                <a:gd name="connsiteY77" fmla="*/ 360113 h 819150"/>
                <a:gd name="connsiteX78" fmla="*/ 94356 w 333375"/>
                <a:gd name="connsiteY78" fmla="*/ 363799 h 819150"/>
                <a:gd name="connsiteX79" fmla="*/ 75906 w 333375"/>
                <a:gd name="connsiteY79" fmla="*/ 367495 h 819150"/>
                <a:gd name="connsiteX80" fmla="*/ 72220 w 333375"/>
                <a:gd name="connsiteY80" fmla="*/ 367495 h 819150"/>
                <a:gd name="connsiteX81" fmla="*/ 57466 w 333375"/>
                <a:gd name="connsiteY81" fmla="*/ 374867 h 819150"/>
                <a:gd name="connsiteX82" fmla="*/ 46398 w 333375"/>
                <a:gd name="connsiteY82" fmla="*/ 385945 h 819150"/>
                <a:gd name="connsiteX83" fmla="*/ 42702 w 333375"/>
                <a:gd name="connsiteY83" fmla="*/ 393327 h 819150"/>
                <a:gd name="connsiteX84" fmla="*/ 35330 w 333375"/>
                <a:gd name="connsiteY84" fmla="*/ 408090 h 819150"/>
                <a:gd name="connsiteX85" fmla="*/ 31634 w 333375"/>
                <a:gd name="connsiteY85" fmla="*/ 426540 h 819150"/>
                <a:gd name="connsiteX86" fmla="*/ 31634 w 333375"/>
                <a:gd name="connsiteY86" fmla="*/ 441304 h 819150"/>
                <a:gd name="connsiteX87" fmla="*/ 20566 w 333375"/>
                <a:gd name="connsiteY87" fmla="*/ 444990 h 819150"/>
                <a:gd name="connsiteX88" fmla="*/ 16880 w 333375"/>
                <a:gd name="connsiteY88" fmla="*/ 444990 h 819150"/>
                <a:gd name="connsiteX89" fmla="*/ 5812 w 333375"/>
                <a:gd name="connsiteY89" fmla="*/ 448686 h 819150"/>
                <a:gd name="connsiteX90" fmla="*/ 13193 w 333375"/>
                <a:gd name="connsiteY90" fmla="*/ 452372 h 819150"/>
                <a:gd name="connsiteX91" fmla="*/ 42702 w 333375"/>
                <a:gd name="connsiteY91" fmla="*/ 463450 h 819150"/>
                <a:gd name="connsiteX92" fmla="*/ 46398 w 333375"/>
                <a:gd name="connsiteY92" fmla="*/ 467136 h 819150"/>
                <a:gd name="connsiteX93" fmla="*/ 46398 w 333375"/>
                <a:gd name="connsiteY93" fmla="*/ 470822 h 819150"/>
                <a:gd name="connsiteX94" fmla="*/ 50084 w 333375"/>
                <a:gd name="connsiteY94" fmla="*/ 478204 h 819150"/>
                <a:gd name="connsiteX95" fmla="*/ 53770 w 333375"/>
                <a:gd name="connsiteY95" fmla="*/ 474518 h 819150"/>
                <a:gd name="connsiteX96" fmla="*/ 57466 w 333375"/>
                <a:gd name="connsiteY96" fmla="*/ 478204 h 819150"/>
                <a:gd name="connsiteX97" fmla="*/ 61152 w 333375"/>
                <a:gd name="connsiteY97" fmla="*/ 478204 h 819150"/>
                <a:gd name="connsiteX98" fmla="*/ 64838 w 333375"/>
                <a:gd name="connsiteY98" fmla="*/ 478204 h 819150"/>
                <a:gd name="connsiteX99" fmla="*/ 72220 w 333375"/>
                <a:gd name="connsiteY99" fmla="*/ 478204 h 819150"/>
                <a:gd name="connsiteX100" fmla="*/ 75906 w 333375"/>
                <a:gd name="connsiteY100" fmla="*/ 478204 h 819150"/>
                <a:gd name="connsiteX101" fmla="*/ 79602 w 333375"/>
                <a:gd name="connsiteY101" fmla="*/ 478204 h 819150"/>
                <a:gd name="connsiteX102" fmla="*/ 86974 w 333375"/>
                <a:gd name="connsiteY102" fmla="*/ 478204 h 819150"/>
                <a:gd name="connsiteX103" fmla="*/ 90660 w 333375"/>
                <a:gd name="connsiteY103" fmla="*/ 474518 h 819150"/>
                <a:gd name="connsiteX104" fmla="*/ 94356 w 333375"/>
                <a:gd name="connsiteY104" fmla="*/ 474518 h 819150"/>
                <a:gd name="connsiteX105" fmla="*/ 98042 w 333375"/>
                <a:gd name="connsiteY105" fmla="*/ 478204 h 819150"/>
                <a:gd name="connsiteX106" fmla="*/ 105424 w 333375"/>
                <a:gd name="connsiteY106" fmla="*/ 478204 h 819150"/>
                <a:gd name="connsiteX107" fmla="*/ 109110 w 333375"/>
                <a:gd name="connsiteY107" fmla="*/ 481900 h 819150"/>
                <a:gd name="connsiteX108" fmla="*/ 109110 w 333375"/>
                <a:gd name="connsiteY108" fmla="*/ 485586 h 819150"/>
                <a:gd name="connsiteX109" fmla="*/ 112796 w 333375"/>
                <a:gd name="connsiteY109" fmla="*/ 485586 h 819150"/>
                <a:gd name="connsiteX110" fmla="*/ 109110 w 333375"/>
                <a:gd name="connsiteY110" fmla="*/ 489281 h 819150"/>
                <a:gd name="connsiteX111" fmla="*/ 105424 w 333375"/>
                <a:gd name="connsiteY111" fmla="*/ 489281 h 819150"/>
                <a:gd name="connsiteX112" fmla="*/ 105424 w 333375"/>
                <a:gd name="connsiteY112" fmla="*/ 492968 h 819150"/>
                <a:gd name="connsiteX113" fmla="*/ 109110 w 333375"/>
                <a:gd name="connsiteY113" fmla="*/ 492968 h 819150"/>
                <a:gd name="connsiteX114" fmla="*/ 109110 w 333375"/>
                <a:gd name="connsiteY114" fmla="*/ 496663 h 819150"/>
                <a:gd name="connsiteX115" fmla="*/ 109110 w 333375"/>
                <a:gd name="connsiteY115" fmla="*/ 500350 h 819150"/>
                <a:gd name="connsiteX116" fmla="*/ 109110 w 333375"/>
                <a:gd name="connsiteY116" fmla="*/ 504045 h 819150"/>
                <a:gd name="connsiteX117" fmla="*/ 112796 w 333375"/>
                <a:gd name="connsiteY117" fmla="*/ 504045 h 819150"/>
                <a:gd name="connsiteX118" fmla="*/ 112796 w 333375"/>
                <a:gd name="connsiteY118" fmla="*/ 500350 h 819150"/>
                <a:gd name="connsiteX119" fmla="*/ 116492 w 333375"/>
                <a:gd name="connsiteY119" fmla="*/ 500350 h 819150"/>
                <a:gd name="connsiteX120" fmla="*/ 120178 w 333375"/>
                <a:gd name="connsiteY120" fmla="*/ 500350 h 819150"/>
                <a:gd name="connsiteX121" fmla="*/ 120178 w 333375"/>
                <a:gd name="connsiteY121" fmla="*/ 496663 h 819150"/>
                <a:gd name="connsiteX122" fmla="*/ 123864 w 333375"/>
                <a:gd name="connsiteY122" fmla="*/ 496663 h 819150"/>
                <a:gd name="connsiteX123" fmla="*/ 127560 w 333375"/>
                <a:gd name="connsiteY123" fmla="*/ 496663 h 819150"/>
                <a:gd name="connsiteX124" fmla="*/ 127560 w 333375"/>
                <a:gd name="connsiteY124" fmla="*/ 492968 h 819150"/>
                <a:gd name="connsiteX125" fmla="*/ 134933 w 333375"/>
                <a:gd name="connsiteY125" fmla="*/ 489281 h 819150"/>
                <a:gd name="connsiteX126" fmla="*/ 134933 w 333375"/>
                <a:gd name="connsiteY126" fmla="*/ 492968 h 819150"/>
                <a:gd name="connsiteX127" fmla="*/ 138628 w 333375"/>
                <a:gd name="connsiteY127" fmla="*/ 492968 h 819150"/>
                <a:gd name="connsiteX128" fmla="*/ 138628 w 333375"/>
                <a:gd name="connsiteY128" fmla="*/ 500350 h 819150"/>
                <a:gd name="connsiteX129" fmla="*/ 149696 w 333375"/>
                <a:gd name="connsiteY129" fmla="*/ 507731 h 819150"/>
                <a:gd name="connsiteX130" fmla="*/ 146000 w 333375"/>
                <a:gd name="connsiteY130" fmla="*/ 511427 h 819150"/>
                <a:gd name="connsiteX131" fmla="*/ 142314 w 333375"/>
                <a:gd name="connsiteY131" fmla="*/ 515113 h 819150"/>
                <a:gd name="connsiteX132" fmla="*/ 142314 w 333375"/>
                <a:gd name="connsiteY132" fmla="*/ 518799 h 819150"/>
                <a:gd name="connsiteX133" fmla="*/ 134933 w 333375"/>
                <a:gd name="connsiteY133" fmla="*/ 522495 h 819150"/>
                <a:gd name="connsiteX134" fmla="*/ 131246 w 333375"/>
                <a:gd name="connsiteY134" fmla="*/ 522495 h 819150"/>
                <a:gd name="connsiteX135" fmla="*/ 131246 w 333375"/>
                <a:gd name="connsiteY135" fmla="*/ 526181 h 819150"/>
                <a:gd name="connsiteX136" fmla="*/ 127560 w 333375"/>
                <a:gd name="connsiteY136" fmla="*/ 529877 h 819150"/>
                <a:gd name="connsiteX137" fmla="*/ 123864 w 333375"/>
                <a:gd name="connsiteY137" fmla="*/ 533563 h 819150"/>
                <a:gd name="connsiteX138" fmla="*/ 127560 w 333375"/>
                <a:gd name="connsiteY138" fmla="*/ 537259 h 819150"/>
                <a:gd name="connsiteX139" fmla="*/ 134933 w 333375"/>
                <a:gd name="connsiteY139" fmla="*/ 537259 h 819150"/>
                <a:gd name="connsiteX140" fmla="*/ 138628 w 333375"/>
                <a:gd name="connsiteY140" fmla="*/ 540945 h 819150"/>
                <a:gd name="connsiteX141" fmla="*/ 138628 w 333375"/>
                <a:gd name="connsiteY141" fmla="*/ 544641 h 819150"/>
                <a:gd name="connsiteX142" fmla="*/ 134933 w 333375"/>
                <a:gd name="connsiteY142" fmla="*/ 548327 h 819150"/>
                <a:gd name="connsiteX143" fmla="*/ 134933 w 333375"/>
                <a:gd name="connsiteY143" fmla="*/ 552023 h 819150"/>
                <a:gd name="connsiteX144" fmla="*/ 131246 w 333375"/>
                <a:gd name="connsiteY144" fmla="*/ 552023 h 819150"/>
                <a:gd name="connsiteX145" fmla="*/ 127560 w 333375"/>
                <a:gd name="connsiteY145" fmla="*/ 548327 h 819150"/>
                <a:gd name="connsiteX146" fmla="*/ 123864 w 333375"/>
                <a:gd name="connsiteY146" fmla="*/ 548327 h 819150"/>
                <a:gd name="connsiteX147" fmla="*/ 120178 w 333375"/>
                <a:gd name="connsiteY147" fmla="*/ 548327 h 819150"/>
                <a:gd name="connsiteX148" fmla="*/ 120178 w 333375"/>
                <a:gd name="connsiteY148" fmla="*/ 552023 h 819150"/>
                <a:gd name="connsiteX149" fmla="*/ 120178 w 333375"/>
                <a:gd name="connsiteY149" fmla="*/ 555709 h 819150"/>
                <a:gd name="connsiteX150" fmla="*/ 123864 w 333375"/>
                <a:gd name="connsiteY150" fmla="*/ 559395 h 819150"/>
                <a:gd name="connsiteX151" fmla="*/ 123864 w 333375"/>
                <a:gd name="connsiteY151" fmla="*/ 563091 h 819150"/>
                <a:gd name="connsiteX152" fmla="*/ 120178 w 333375"/>
                <a:gd name="connsiteY152" fmla="*/ 563091 h 819150"/>
                <a:gd name="connsiteX153" fmla="*/ 120178 w 333375"/>
                <a:gd name="connsiteY153" fmla="*/ 566777 h 819150"/>
                <a:gd name="connsiteX154" fmla="*/ 123864 w 333375"/>
                <a:gd name="connsiteY154" fmla="*/ 574159 h 819150"/>
                <a:gd name="connsiteX155" fmla="*/ 120178 w 333375"/>
                <a:gd name="connsiteY155" fmla="*/ 574159 h 819150"/>
                <a:gd name="connsiteX156" fmla="*/ 120178 w 333375"/>
                <a:gd name="connsiteY156" fmla="*/ 577854 h 819150"/>
                <a:gd name="connsiteX157" fmla="*/ 116492 w 333375"/>
                <a:gd name="connsiteY157" fmla="*/ 577854 h 819150"/>
                <a:gd name="connsiteX158" fmla="*/ 109110 w 333375"/>
                <a:gd name="connsiteY158" fmla="*/ 574159 h 819150"/>
                <a:gd name="connsiteX159" fmla="*/ 105424 w 333375"/>
                <a:gd name="connsiteY159" fmla="*/ 585236 h 819150"/>
                <a:gd name="connsiteX160" fmla="*/ 105424 w 333375"/>
                <a:gd name="connsiteY160" fmla="*/ 592618 h 819150"/>
                <a:gd name="connsiteX161" fmla="*/ 101728 w 333375"/>
                <a:gd name="connsiteY161" fmla="*/ 596304 h 819150"/>
                <a:gd name="connsiteX162" fmla="*/ 101728 w 333375"/>
                <a:gd name="connsiteY162" fmla="*/ 600000 h 819150"/>
                <a:gd name="connsiteX163" fmla="*/ 105424 w 333375"/>
                <a:gd name="connsiteY163" fmla="*/ 600000 h 819150"/>
                <a:gd name="connsiteX164" fmla="*/ 109110 w 333375"/>
                <a:gd name="connsiteY164" fmla="*/ 603686 h 819150"/>
                <a:gd name="connsiteX165" fmla="*/ 109110 w 333375"/>
                <a:gd name="connsiteY165" fmla="*/ 607373 h 819150"/>
                <a:gd name="connsiteX166" fmla="*/ 105424 w 333375"/>
                <a:gd name="connsiteY166" fmla="*/ 614754 h 819150"/>
                <a:gd name="connsiteX167" fmla="*/ 105424 w 333375"/>
                <a:gd name="connsiteY167" fmla="*/ 618450 h 819150"/>
                <a:gd name="connsiteX168" fmla="*/ 105424 w 333375"/>
                <a:gd name="connsiteY168" fmla="*/ 622136 h 819150"/>
                <a:gd name="connsiteX169" fmla="*/ 105424 w 333375"/>
                <a:gd name="connsiteY169" fmla="*/ 625832 h 819150"/>
                <a:gd name="connsiteX170" fmla="*/ 101728 w 333375"/>
                <a:gd name="connsiteY170" fmla="*/ 629518 h 819150"/>
                <a:gd name="connsiteX171" fmla="*/ 98042 w 333375"/>
                <a:gd name="connsiteY171" fmla="*/ 633214 h 819150"/>
                <a:gd name="connsiteX172" fmla="*/ 94356 w 333375"/>
                <a:gd name="connsiteY172" fmla="*/ 640596 h 819150"/>
                <a:gd name="connsiteX173" fmla="*/ 90660 w 333375"/>
                <a:gd name="connsiteY173" fmla="*/ 640596 h 819150"/>
                <a:gd name="connsiteX174" fmla="*/ 86974 w 333375"/>
                <a:gd name="connsiteY174" fmla="*/ 647977 h 819150"/>
                <a:gd name="connsiteX175" fmla="*/ 83288 w 333375"/>
                <a:gd name="connsiteY175" fmla="*/ 655350 h 819150"/>
                <a:gd name="connsiteX176" fmla="*/ 83288 w 333375"/>
                <a:gd name="connsiteY176" fmla="*/ 659046 h 819150"/>
                <a:gd name="connsiteX177" fmla="*/ 86974 w 333375"/>
                <a:gd name="connsiteY177" fmla="*/ 659046 h 819150"/>
                <a:gd name="connsiteX178" fmla="*/ 90660 w 333375"/>
                <a:gd name="connsiteY178" fmla="*/ 659046 h 819150"/>
                <a:gd name="connsiteX179" fmla="*/ 94356 w 333375"/>
                <a:gd name="connsiteY179" fmla="*/ 655350 h 819150"/>
                <a:gd name="connsiteX180" fmla="*/ 98042 w 333375"/>
                <a:gd name="connsiteY180" fmla="*/ 655350 h 819150"/>
                <a:gd name="connsiteX181" fmla="*/ 101728 w 333375"/>
                <a:gd name="connsiteY181" fmla="*/ 659046 h 819150"/>
                <a:gd name="connsiteX182" fmla="*/ 101728 w 333375"/>
                <a:gd name="connsiteY182" fmla="*/ 662732 h 819150"/>
                <a:gd name="connsiteX183" fmla="*/ 94356 w 333375"/>
                <a:gd name="connsiteY183" fmla="*/ 666428 h 819150"/>
                <a:gd name="connsiteX184" fmla="*/ 94356 w 333375"/>
                <a:gd name="connsiteY184" fmla="*/ 670114 h 819150"/>
                <a:gd name="connsiteX185" fmla="*/ 94356 w 333375"/>
                <a:gd name="connsiteY185" fmla="*/ 673809 h 819150"/>
                <a:gd name="connsiteX186" fmla="*/ 86974 w 333375"/>
                <a:gd name="connsiteY186" fmla="*/ 681191 h 819150"/>
                <a:gd name="connsiteX187" fmla="*/ 86974 w 333375"/>
                <a:gd name="connsiteY187" fmla="*/ 684877 h 819150"/>
                <a:gd name="connsiteX188" fmla="*/ 83288 w 333375"/>
                <a:gd name="connsiteY188" fmla="*/ 688573 h 819150"/>
                <a:gd name="connsiteX189" fmla="*/ 86974 w 333375"/>
                <a:gd name="connsiteY189" fmla="*/ 692259 h 819150"/>
                <a:gd name="connsiteX190" fmla="*/ 83288 w 333375"/>
                <a:gd name="connsiteY190" fmla="*/ 695955 h 819150"/>
                <a:gd name="connsiteX191" fmla="*/ 79602 w 333375"/>
                <a:gd name="connsiteY191" fmla="*/ 695955 h 819150"/>
                <a:gd name="connsiteX192" fmla="*/ 75906 w 333375"/>
                <a:gd name="connsiteY192" fmla="*/ 695955 h 819150"/>
                <a:gd name="connsiteX193" fmla="*/ 72220 w 333375"/>
                <a:gd name="connsiteY193" fmla="*/ 695955 h 819150"/>
                <a:gd name="connsiteX194" fmla="*/ 68534 w 333375"/>
                <a:gd name="connsiteY194" fmla="*/ 699641 h 819150"/>
                <a:gd name="connsiteX195" fmla="*/ 68534 w 333375"/>
                <a:gd name="connsiteY195" fmla="*/ 703327 h 819150"/>
                <a:gd name="connsiteX196" fmla="*/ 68534 w 333375"/>
                <a:gd name="connsiteY196" fmla="*/ 707023 h 819150"/>
                <a:gd name="connsiteX197" fmla="*/ 61152 w 333375"/>
                <a:gd name="connsiteY197" fmla="*/ 714405 h 819150"/>
                <a:gd name="connsiteX198" fmla="*/ 61152 w 333375"/>
                <a:gd name="connsiteY198" fmla="*/ 718091 h 819150"/>
                <a:gd name="connsiteX199" fmla="*/ 57466 w 333375"/>
                <a:gd name="connsiteY199" fmla="*/ 718091 h 819150"/>
                <a:gd name="connsiteX200" fmla="*/ 53770 w 333375"/>
                <a:gd name="connsiteY200" fmla="*/ 721787 h 819150"/>
                <a:gd name="connsiteX201" fmla="*/ 50084 w 333375"/>
                <a:gd name="connsiteY201" fmla="*/ 721787 h 819150"/>
                <a:gd name="connsiteX202" fmla="*/ 50084 w 333375"/>
                <a:gd name="connsiteY202" fmla="*/ 725473 h 819150"/>
                <a:gd name="connsiteX203" fmla="*/ 46398 w 333375"/>
                <a:gd name="connsiteY203" fmla="*/ 725473 h 819150"/>
                <a:gd name="connsiteX204" fmla="*/ 42702 w 333375"/>
                <a:gd name="connsiteY204" fmla="*/ 725473 h 819150"/>
                <a:gd name="connsiteX205" fmla="*/ 46398 w 333375"/>
                <a:gd name="connsiteY205" fmla="*/ 729169 h 819150"/>
                <a:gd name="connsiteX206" fmla="*/ 42702 w 333375"/>
                <a:gd name="connsiteY206" fmla="*/ 732855 h 819150"/>
                <a:gd name="connsiteX207" fmla="*/ 42702 w 333375"/>
                <a:gd name="connsiteY207" fmla="*/ 736551 h 819150"/>
                <a:gd name="connsiteX208" fmla="*/ 42702 w 333375"/>
                <a:gd name="connsiteY208" fmla="*/ 740237 h 819150"/>
                <a:gd name="connsiteX209" fmla="*/ 42702 w 333375"/>
                <a:gd name="connsiteY209" fmla="*/ 743932 h 819150"/>
                <a:gd name="connsiteX210" fmla="*/ 42702 w 333375"/>
                <a:gd name="connsiteY210" fmla="*/ 747619 h 819150"/>
                <a:gd name="connsiteX211" fmla="*/ 42702 w 333375"/>
                <a:gd name="connsiteY211" fmla="*/ 751305 h 819150"/>
                <a:gd name="connsiteX212" fmla="*/ 42702 w 333375"/>
                <a:gd name="connsiteY212" fmla="*/ 755000 h 819150"/>
                <a:gd name="connsiteX213" fmla="*/ 46398 w 333375"/>
                <a:gd name="connsiteY213" fmla="*/ 755000 h 819150"/>
                <a:gd name="connsiteX214" fmla="*/ 46398 w 333375"/>
                <a:gd name="connsiteY214" fmla="*/ 758687 h 819150"/>
                <a:gd name="connsiteX215" fmla="*/ 46398 w 333375"/>
                <a:gd name="connsiteY215" fmla="*/ 762382 h 819150"/>
                <a:gd name="connsiteX216" fmla="*/ 50084 w 333375"/>
                <a:gd name="connsiteY216" fmla="*/ 762382 h 819150"/>
                <a:gd name="connsiteX217" fmla="*/ 50084 w 333375"/>
                <a:gd name="connsiteY217" fmla="*/ 766069 h 819150"/>
                <a:gd name="connsiteX218" fmla="*/ 53770 w 333375"/>
                <a:gd name="connsiteY218" fmla="*/ 769764 h 819150"/>
                <a:gd name="connsiteX219" fmla="*/ 57466 w 333375"/>
                <a:gd name="connsiteY219" fmla="*/ 769764 h 819150"/>
                <a:gd name="connsiteX220" fmla="*/ 61152 w 333375"/>
                <a:gd name="connsiteY220" fmla="*/ 769764 h 819150"/>
                <a:gd name="connsiteX221" fmla="*/ 61152 w 333375"/>
                <a:gd name="connsiteY221" fmla="*/ 773450 h 819150"/>
                <a:gd name="connsiteX222" fmla="*/ 68534 w 333375"/>
                <a:gd name="connsiteY222" fmla="*/ 773450 h 819150"/>
                <a:gd name="connsiteX223" fmla="*/ 72220 w 333375"/>
                <a:gd name="connsiteY223" fmla="*/ 777146 h 819150"/>
                <a:gd name="connsiteX224" fmla="*/ 72220 w 333375"/>
                <a:gd name="connsiteY224" fmla="*/ 780832 h 819150"/>
                <a:gd name="connsiteX225" fmla="*/ 68534 w 333375"/>
                <a:gd name="connsiteY225" fmla="*/ 784528 h 819150"/>
                <a:gd name="connsiteX226" fmla="*/ 72220 w 333375"/>
                <a:gd name="connsiteY226" fmla="*/ 795596 h 819150"/>
                <a:gd name="connsiteX227" fmla="*/ 72220 w 333375"/>
                <a:gd name="connsiteY227" fmla="*/ 802978 h 819150"/>
                <a:gd name="connsiteX228" fmla="*/ 64838 w 333375"/>
                <a:gd name="connsiteY228" fmla="*/ 814046 h 819150"/>
                <a:gd name="connsiteX229" fmla="*/ 64838 w 333375"/>
                <a:gd name="connsiteY229" fmla="*/ 817742 h 819150"/>
                <a:gd name="connsiteX230" fmla="*/ 68534 w 333375"/>
                <a:gd name="connsiteY230" fmla="*/ 817742 h 819150"/>
                <a:gd name="connsiteX231" fmla="*/ 72220 w 333375"/>
                <a:gd name="connsiteY231" fmla="*/ 817742 h 819150"/>
                <a:gd name="connsiteX232" fmla="*/ 75906 w 333375"/>
                <a:gd name="connsiteY232" fmla="*/ 814046 h 819150"/>
                <a:gd name="connsiteX233" fmla="*/ 79602 w 333375"/>
                <a:gd name="connsiteY233" fmla="*/ 814046 h 819150"/>
                <a:gd name="connsiteX234" fmla="*/ 83288 w 333375"/>
                <a:gd name="connsiteY234" fmla="*/ 810360 h 819150"/>
                <a:gd name="connsiteX235" fmla="*/ 83288 w 333375"/>
                <a:gd name="connsiteY235" fmla="*/ 814046 h 819150"/>
                <a:gd name="connsiteX236" fmla="*/ 86974 w 333375"/>
                <a:gd name="connsiteY236" fmla="*/ 817742 h 819150"/>
                <a:gd name="connsiteX237" fmla="*/ 90660 w 333375"/>
                <a:gd name="connsiteY237" fmla="*/ 817742 h 819150"/>
                <a:gd name="connsiteX238" fmla="*/ 94356 w 333375"/>
                <a:gd name="connsiteY238" fmla="*/ 814046 h 819150"/>
                <a:gd name="connsiteX239" fmla="*/ 94356 w 333375"/>
                <a:gd name="connsiteY239" fmla="*/ 810360 h 819150"/>
                <a:gd name="connsiteX240" fmla="*/ 98042 w 333375"/>
                <a:gd name="connsiteY240" fmla="*/ 806664 h 819150"/>
                <a:gd name="connsiteX241" fmla="*/ 105424 w 333375"/>
                <a:gd name="connsiteY241" fmla="*/ 795596 h 819150"/>
                <a:gd name="connsiteX242" fmla="*/ 112796 w 333375"/>
                <a:gd name="connsiteY242" fmla="*/ 795596 h 819150"/>
                <a:gd name="connsiteX243" fmla="*/ 112796 w 333375"/>
                <a:gd name="connsiteY243" fmla="*/ 802978 h 819150"/>
                <a:gd name="connsiteX244" fmla="*/ 116492 w 333375"/>
                <a:gd name="connsiteY244" fmla="*/ 810360 h 819150"/>
                <a:gd name="connsiteX245" fmla="*/ 120178 w 333375"/>
                <a:gd name="connsiteY245" fmla="*/ 806664 h 819150"/>
                <a:gd name="connsiteX246" fmla="*/ 127560 w 333375"/>
                <a:gd name="connsiteY246" fmla="*/ 817742 h 819150"/>
                <a:gd name="connsiteX247" fmla="*/ 131246 w 333375"/>
                <a:gd name="connsiteY247" fmla="*/ 817742 h 819150"/>
                <a:gd name="connsiteX248" fmla="*/ 134933 w 333375"/>
                <a:gd name="connsiteY248" fmla="*/ 814046 h 819150"/>
                <a:gd name="connsiteX249" fmla="*/ 138628 w 333375"/>
                <a:gd name="connsiteY249" fmla="*/ 817742 h 819150"/>
                <a:gd name="connsiteX250" fmla="*/ 142314 w 333375"/>
                <a:gd name="connsiteY250" fmla="*/ 814046 h 819150"/>
                <a:gd name="connsiteX251" fmla="*/ 146000 w 333375"/>
                <a:gd name="connsiteY251" fmla="*/ 810360 h 819150"/>
                <a:gd name="connsiteX252" fmla="*/ 146000 w 333375"/>
                <a:gd name="connsiteY252" fmla="*/ 814046 h 819150"/>
                <a:gd name="connsiteX253" fmla="*/ 146000 w 333375"/>
                <a:gd name="connsiteY253" fmla="*/ 821428 h 819150"/>
                <a:gd name="connsiteX254" fmla="*/ 149696 w 333375"/>
                <a:gd name="connsiteY254" fmla="*/ 817742 h 819150"/>
                <a:gd name="connsiteX255" fmla="*/ 153382 w 333375"/>
                <a:gd name="connsiteY255" fmla="*/ 814046 h 819150"/>
                <a:gd name="connsiteX256" fmla="*/ 153382 w 333375"/>
                <a:gd name="connsiteY256" fmla="*/ 810360 h 819150"/>
                <a:gd name="connsiteX257" fmla="*/ 157069 w 333375"/>
                <a:gd name="connsiteY257" fmla="*/ 810360 h 819150"/>
                <a:gd name="connsiteX258" fmla="*/ 160755 w 333375"/>
                <a:gd name="connsiteY258" fmla="*/ 810360 h 819150"/>
                <a:gd name="connsiteX259" fmla="*/ 168137 w 333375"/>
                <a:gd name="connsiteY259" fmla="*/ 806664 h 819150"/>
                <a:gd name="connsiteX260" fmla="*/ 168137 w 333375"/>
                <a:gd name="connsiteY260" fmla="*/ 810360 h 819150"/>
                <a:gd name="connsiteX261" fmla="*/ 168137 w 333375"/>
                <a:gd name="connsiteY261" fmla="*/ 817742 h 819150"/>
                <a:gd name="connsiteX262" fmla="*/ 175518 w 333375"/>
                <a:gd name="connsiteY262" fmla="*/ 821428 h 819150"/>
                <a:gd name="connsiteX263" fmla="*/ 175518 w 333375"/>
                <a:gd name="connsiteY263" fmla="*/ 817742 h 819150"/>
                <a:gd name="connsiteX264" fmla="*/ 179205 w 333375"/>
                <a:gd name="connsiteY264" fmla="*/ 817742 h 819150"/>
                <a:gd name="connsiteX265" fmla="*/ 182891 w 333375"/>
                <a:gd name="connsiteY265" fmla="*/ 817742 h 819150"/>
                <a:gd name="connsiteX266" fmla="*/ 182891 w 333375"/>
                <a:gd name="connsiteY266" fmla="*/ 821428 h 819150"/>
                <a:gd name="connsiteX267" fmla="*/ 190273 w 333375"/>
                <a:gd name="connsiteY267" fmla="*/ 817742 h 819150"/>
                <a:gd name="connsiteX268" fmla="*/ 193959 w 333375"/>
                <a:gd name="connsiteY268" fmla="*/ 814046 h 819150"/>
                <a:gd name="connsiteX269" fmla="*/ 197655 w 333375"/>
                <a:gd name="connsiteY269" fmla="*/ 814046 h 819150"/>
                <a:gd name="connsiteX270" fmla="*/ 201341 w 333375"/>
                <a:gd name="connsiteY270" fmla="*/ 814046 h 819150"/>
                <a:gd name="connsiteX271" fmla="*/ 205027 w 333375"/>
                <a:gd name="connsiteY271" fmla="*/ 814046 h 819150"/>
                <a:gd name="connsiteX272" fmla="*/ 208723 w 333375"/>
                <a:gd name="connsiteY272" fmla="*/ 814046 h 819150"/>
                <a:gd name="connsiteX273" fmla="*/ 212409 w 333375"/>
                <a:gd name="connsiteY273" fmla="*/ 817742 h 819150"/>
                <a:gd name="connsiteX274" fmla="*/ 219791 w 333375"/>
                <a:gd name="connsiteY274" fmla="*/ 821428 h 819150"/>
                <a:gd name="connsiteX275" fmla="*/ 223477 w 333375"/>
                <a:gd name="connsiteY275" fmla="*/ 821428 h 819150"/>
                <a:gd name="connsiteX276" fmla="*/ 223477 w 333375"/>
                <a:gd name="connsiteY276" fmla="*/ 817742 h 819150"/>
                <a:gd name="connsiteX277" fmla="*/ 230859 w 333375"/>
                <a:gd name="connsiteY277" fmla="*/ 817742 h 819150"/>
                <a:gd name="connsiteX278" fmla="*/ 234545 w 333375"/>
                <a:gd name="connsiteY278" fmla="*/ 817742 h 819150"/>
                <a:gd name="connsiteX279" fmla="*/ 234545 w 333375"/>
                <a:gd name="connsiteY279" fmla="*/ 810360 h 819150"/>
                <a:gd name="connsiteX280" fmla="*/ 238231 w 333375"/>
                <a:gd name="connsiteY280" fmla="*/ 802978 h 819150"/>
                <a:gd name="connsiteX281" fmla="*/ 227163 w 333375"/>
                <a:gd name="connsiteY281" fmla="*/ 795596 h 819150"/>
                <a:gd name="connsiteX282" fmla="*/ 223477 w 333375"/>
                <a:gd name="connsiteY282" fmla="*/ 795596 h 819150"/>
                <a:gd name="connsiteX283" fmla="*/ 219791 w 333375"/>
                <a:gd name="connsiteY283" fmla="*/ 791910 h 819150"/>
                <a:gd name="connsiteX284" fmla="*/ 219791 w 333375"/>
                <a:gd name="connsiteY284" fmla="*/ 788214 h 819150"/>
                <a:gd name="connsiteX285" fmla="*/ 216095 w 333375"/>
                <a:gd name="connsiteY285" fmla="*/ 788214 h 819150"/>
                <a:gd name="connsiteX286" fmla="*/ 212409 w 333375"/>
                <a:gd name="connsiteY286" fmla="*/ 784528 h 819150"/>
                <a:gd name="connsiteX287" fmla="*/ 212409 w 333375"/>
                <a:gd name="connsiteY287" fmla="*/ 780832 h 819150"/>
                <a:gd name="connsiteX288" fmla="*/ 212409 w 333375"/>
                <a:gd name="connsiteY288" fmla="*/ 777146 h 819150"/>
                <a:gd name="connsiteX289" fmla="*/ 216095 w 333375"/>
                <a:gd name="connsiteY289" fmla="*/ 773450 h 819150"/>
                <a:gd name="connsiteX290" fmla="*/ 219791 w 333375"/>
                <a:gd name="connsiteY290" fmla="*/ 777146 h 819150"/>
                <a:gd name="connsiteX291" fmla="*/ 227163 w 333375"/>
                <a:gd name="connsiteY291" fmla="*/ 780832 h 819150"/>
                <a:gd name="connsiteX292" fmla="*/ 230859 w 333375"/>
                <a:gd name="connsiteY292" fmla="*/ 773450 h 819150"/>
                <a:gd name="connsiteX293" fmla="*/ 234545 w 333375"/>
                <a:gd name="connsiteY293" fmla="*/ 769764 h 819150"/>
                <a:gd name="connsiteX294" fmla="*/ 234545 w 333375"/>
                <a:gd name="connsiteY294" fmla="*/ 766069 h 819150"/>
                <a:gd name="connsiteX295" fmla="*/ 238231 w 333375"/>
                <a:gd name="connsiteY295" fmla="*/ 766069 h 819150"/>
                <a:gd name="connsiteX296" fmla="*/ 234545 w 333375"/>
                <a:gd name="connsiteY296" fmla="*/ 762382 h 819150"/>
                <a:gd name="connsiteX297" fmla="*/ 234545 w 333375"/>
                <a:gd name="connsiteY297" fmla="*/ 758687 h 819150"/>
                <a:gd name="connsiteX298" fmla="*/ 230859 w 333375"/>
                <a:gd name="connsiteY298" fmla="*/ 755000 h 819150"/>
                <a:gd name="connsiteX299" fmla="*/ 230859 w 333375"/>
                <a:gd name="connsiteY299" fmla="*/ 751305 h 819150"/>
                <a:gd name="connsiteX300" fmla="*/ 230859 w 333375"/>
                <a:gd name="connsiteY300" fmla="*/ 747619 h 819150"/>
                <a:gd name="connsiteX301" fmla="*/ 234545 w 333375"/>
                <a:gd name="connsiteY301" fmla="*/ 743932 h 819150"/>
                <a:gd name="connsiteX302" fmla="*/ 241917 w 333375"/>
                <a:gd name="connsiteY302" fmla="*/ 743932 h 819150"/>
                <a:gd name="connsiteX303" fmla="*/ 245613 w 333375"/>
                <a:gd name="connsiteY303" fmla="*/ 740237 h 819150"/>
                <a:gd name="connsiteX304" fmla="*/ 249299 w 333375"/>
                <a:gd name="connsiteY304" fmla="*/ 740237 h 819150"/>
                <a:gd name="connsiteX305" fmla="*/ 249299 w 333375"/>
                <a:gd name="connsiteY305" fmla="*/ 736551 h 819150"/>
                <a:gd name="connsiteX306" fmla="*/ 252985 w 333375"/>
                <a:gd name="connsiteY306" fmla="*/ 736551 h 819150"/>
                <a:gd name="connsiteX307" fmla="*/ 252985 w 333375"/>
                <a:gd name="connsiteY307" fmla="*/ 740237 h 819150"/>
                <a:gd name="connsiteX308" fmla="*/ 260367 w 333375"/>
                <a:gd name="connsiteY308" fmla="*/ 743932 h 819150"/>
                <a:gd name="connsiteX309" fmla="*/ 260367 w 333375"/>
                <a:gd name="connsiteY309" fmla="*/ 736551 h 819150"/>
                <a:gd name="connsiteX310" fmla="*/ 260367 w 333375"/>
                <a:gd name="connsiteY310" fmla="*/ 732855 h 819150"/>
                <a:gd name="connsiteX311" fmla="*/ 264053 w 333375"/>
                <a:gd name="connsiteY311" fmla="*/ 732855 h 819150"/>
                <a:gd name="connsiteX312" fmla="*/ 264053 w 333375"/>
                <a:gd name="connsiteY312" fmla="*/ 729169 h 819150"/>
                <a:gd name="connsiteX313" fmla="*/ 267749 w 333375"/>
                <a:gd name="connsiteY313" fmla="*/ 725473 h 819150"/>
                <a:gd name="connsiteX314" fmla="*/ 267749 w 333375"/>
                <a:gd name="connsiteY314" fmla="*/ 718091 h 819150"/>
                <a:gd name="connsiteX315" fmla="*/ 264053 w 333375"/>
                <a:gd name="connsiteY315" fmla="*/ 714405 h 819150"/>
                <a:gd name="connsiteX316" fmla="*/ 264053 w 333375"/>
                <a:gd name="connsiteY316" fmla="*/ 718091 h 819150"/>
                <a:gd name="connsiteX317" fmla="*/ 260367 w 333375"/>
                <a:gd name="connsiteY317" fmla="*/ 710709 h 819150"/>
                <a:gd name="connsiteX318" fmla="*/ 260367 w 333375"/>
                <a:gd name="connsiteY318" fmla="*/ 707023 h 819150"/>
                <a:gd name="connsiteX319" fmla="*/ 260367 w 333375"/>
                <a:gd name="connsiteY319" fmla="*/ 703327 h 819150"/>
                <a:gd name="connsiteX320" fmla="*/ 264053 w 333375"/>
                <a:gd name="connsiteY320" fmla="*/ 699641 h 819150"/>
                <a:gd name="connsiteX321" fmla="*/ 264053 w 333375"/>
                <a:gd name="connsiteY321" fmla="*/ 695955 h 819150"/>
                <a:gd name="connsiteX322" fmla="*/ 267749 w 333375"/>
                <a:gd name="connsiteY322" fmla="*/ 692259 h 819150"/>
                <a:gd name="connsiteX323" fmla="*/ 267749 w 333375"/>
                <a:gd name="connsiteY323" fmla="*/ 688573 h 819150"/>
                <a:gd name="connsiteX324" fmla="*/ 264053 w 333375"/>
                <a:gd name="connsiteY324" fmla="*/ 684877 h 819150"/>
                <a:gd name="connsiteX325" fmla="*/ 260367 w 333375"/>
                <a:gd name="connsiteY325" fmla="*/ 684877 h 819150"/>
                <a:gd name="connsiteX326" fmla="*/ 256681 w 333375"/>
                <a:gd name="connsiteY326" fmla="*/ 684877 h 819150"/>
                <a:gd name="connsiteX327" fmla="*/ 249299 w 333375"/>
                <a:gd name="connsiteY327" fmla="*/ 684877 h 819150"/>
                <a:gd name="connsiteX328" fmla="*/ 249299 w 333375"/>
                <a:gd name="connsiteY328" fmla="*/ 681191 h 819150"/>
                <a:gd name="connsiteX329" fmla="*/ 249299 w 333375"/>
                <a:gd name="connsiteY329" fmla="*/ 677496 h 819150"/>
                <a:gd name="connsiteX330" fmla="*/ 245613 w 333375"/>
                <a:gd name="connsiteY330" fmla="*/ 681191 h 819150"/>
                <a:gd name="connsiteX331" fmla="*/ 241917 w 333375"/>
                <a:gd name="connsiteY331" fmla="*/ 677496 h 819150"/>
                <a:gd name="connsiteX332" fmla="*/ 230859 w 333375"/>
                <a:gd name="connsiteY332" fmla="*/ 673809 h 819150"/>
                <a:gd name="connsiteX333" fmla="*/ 230859 w 333375"/>
                <a:gd name="connsiteY333" fmla="*/ 666428 h 819150"/>
                <a:gd name="connsiteX334" fmla="*/ 230859 w 333375"/>
                <a:gd name="connsiteY334" fmla="*/ 662732 h 819150"/>
                <a:gd name="connsiteX335" fmla="*/ 223477 w 333375"/>
                <a:gd name="connsiteY335" fmla="*/ 659046 h 819150"/>
                <a:gd name="connsiteX336" fmla="*/ 227163 w 333375"/>
                <a:gd name="connsiteY336" fmla="*/ 655350 h 819150"/>
                <a:gd name="connsiteX337" fmla="*/ 230859 w 333375"/>
                <a:gd name="connsiteY337" fmla="*/ 655350 h 819150"/>
                <a:gd name="connsiteX338" fmla="*/ 230859 w 333375"/>
                <a:gd name="connsiteY338" fmla="*/ 651664 h 819150"/>
                <a:gd name="connsiteX339" fmla="*/ 234545 w 333375"/>
                <a:gd name="connsiteY339" fmla="*/ 636900 h 819150"/>
                <a:gd name="connsiteX340" fmla="*/ 230859 w 333375"/>
                <a:gd name="connsiteY340" fmla="*/ 636900 h 819150"/>
                <a:gd name="connsiteX341" fmla="*/ 216095 w 333375"/>
                <a:gd name="connsiteY341" fmla="*/ 636900 h 819150"/>
                <a:gd name="connsiteX342" fmla="*/ 212409 w 333375"/>
                <a:gd name="connsiteY342" fmla="*/ 636900 h 819150"/>
                <a:gd name="connsiteX343" fmla="*/ 208723 w 333375"/>
                <a:gd name="connsiteY343" fmla="*/ 640596 h 819150"/>
                <a:gd name="connsiteX344" fmla="*/ 205027 w 333375"/>
                <a:gd name="connsiteY344" fmla="*/ 640596 h 819150"/>
                <a:gd name="connsiteX345" fmla="*/ 201341 w 333375"/>
                <a:gd name="connsiteY345" fmla="*/ 636900 h 819150"/>
                <a:gd name="connsiteX346" fmla="*/ 201341 w 333375"/>
                <a:gd name="connsiteY346" fmla="*/ 633214 h 819150"/>
                <a:gd name="connsiteX347" fmla="*/ 197655 w 333375"/>
                <a:gd name="connsiteY347" fmla="*/ 633214 h 819150"/>
                <a:gd name="connsiteX348" fmla="*/ 190273 w 333375"/>
                <a:gd name="connsiteY348" fmla="*/ 636900 h 819150"/>
                <a:gd name="connsiteX349" fmla="*/ 186587 w 333375"/>
                <a:gd name="connsiteY349" fmla="*/ 636900 h 819150"/>
                <a:gd name="connsiteX350" fmla="*/ 182891 w 333375"/>
                <a:gd name="connsiteY350" fmla="*/ 640596 h 819150"/>
                <a:gd name="connsiteX351" fmla="*/ 179205 w 333375"/>
                <a:gd name="connsiteY351" fmla="*/ 640596 h 819150"/>
                <a:gd name="connsiteX352" fmla="*/ 175518 w 333375"/>
                <a:gd name="connsiteY352" fmla="*/ 644282 h 819150"/>
                <a:gd name="connsiteX353" fmla="*/ 171823 w 333375"/>
                <a:gd name="connsiteY353" fmla="*/ 644282 h 819150"/>
                <a:gd name="connsiteX354" fmla="*/ 168137 w 333375"/>
                <a:gd name="connsiteY354" fmla="*/ 640596 h 819150"/>
                <a:gd name="connsiteX355" fmla="*/ 175518 w 333375"/>
                <a:gd name="connsiteY355" fmla="*/ 633214 h 819150"/>
                <a:gd name="connsiteX356" fmla="*/ 175518 w 333375"/>
                <a:gd name="connsiteY356" fmla="*/ 622136 h 819150"/>
                <a:gd name="connsiteX357" fmla="*/ 171823 w 333375"/>
                <a:gd name="connsiteY357" fmla="*/ 622136 h 819150"/>
                <a:gd name="connsiteX358" fmla="*/ 168137 w 333375"/>
                <a:gd name="connsiteY358" fmla="*/ 618450 h 819150"/>
                <a:gd name="connsiteX359" fmla="*/ 168137 w 333375"/>
                <a:gd name="connsiteY359" fmla="*/ 614754 h 819150"/>
                <a:gd name="connsiteX360" fmla="*/ 164450 w 333375"/>
                <a:gd name="connsiteY360" fmla="*/ 614754 h 819150"/>
                <a:gd name="connsiteX361" fmla="*/ 164450 w 333375"/>
                <a:gd name="connsiteY361" fmla="*/ 611068 h 819150"/>
                <a:gd name="connsiteX362" fmla="*/ 160755 w 333375"/>
                <a:gd name="connsiteY362" fmla="*/ 611068 h 819150"/>
                <a:gd name="connsiteX363" fmla="*/ 160755 w 333375"/>
                <a:gd name="connsiteY363" fmla="*/ 607373 h 819150"/>
                <a:gd name="connsiteX364" fmla="*/ 160755 w 333375"/>
                <a:gd name="connsiteY364" fmla="*/ 603686 h 819150"/>
                <a:gd name="connsiteX365" fmla="*/ 160755 w 333375"/>
                <a:gd name="connsiteY365" fmla="*/ 600000 h 819150"/>
                <a:gd name="connsiteX366" fmla="*/ 160755 w 333375"/>
                <a:gd name="connsiteY366" fmla="*/ 592618 h 819150"/>
                <a:gd name="connsiteX367" fmla="*/ 157069 w 333375"/>
                <a:gd name="connsiteY367" fmla="*/ 588923 h 819150"/>
                <a:gd name="connsiteX368" fmla="*/ 153382 w 333375"/>
                <a:gd name="connsiteY368" fmla="*/ 581541 h 819150"/>
                <a:gd name="connsiteX369" fmla="*/ 157069 w 333375"/>
                <a:gd name="connsiteY369" fmla="*/ 581541 h 819150"/>
                <a:gd name="connsiteX370" fmla="*/ 164450 w 333375"/>
                <a:gd name="connsiteY370" fmla="*/ 581541 h 819150"/>
                <a:gd name="connsiteX371" fmla="*/ 168137 w 333375"/>
                <a:gd name="connsiteY371" fmla="*/ 581541 h 819150"/>
                <a:gd name="connsiteX372" fmla="*/ 168137 w 333375"/>
                <a:gd name="connsiteY372" fmla="*/ 577854 h 819150"/>
                <a:gd name="connsiteX373" fmla="*/ 175518 w 333375"/>
                <a:gd name="connsiteY373" fmla="*/ 574159 h 819150"/>
                <a:gd name="connsiteX374" fmla="*/ 179205 w 333375"/>
                <a:gd name="connsiteY374" fmla="*/ 570473 h 819150"/>
                <a:gd name="connsiteX375" fmla="*/ 179205 w 333375"/>
                <a:gd name="connsiteY375" fmla="*/ 574159 h 819150"/>
                <a:gd name="connsiteX376" fmla="*/ 186587 w 333375"/>
                <a:gd name="connsiteY376" fmla="*/ 585236 h 819150"/>
                <a:gd name="connsiteX377" fmla="*/ 190273 w 333375"/>
                <a:gd name="connsiteY377" fmla="*/ 592618 h 819150"/>
                <a:gd name="connsiteX378" fmla="*/ 190273 w 333375"/>
                <a:gd name="connsiteY378" fmla="*/ 596304 h 819150"/>
                <a:gd name="connsiteX379" fmla="*/ 193959 w 333375"/>
                <a:gd name="connsiteY379" fmla="*/ 592618 h 819150"/>
                <a:gd name="connsiteX380" fmla="*/ 197655 w 333375"/>
                <a:gd name="connsiteY380" fmla="*/ 592618 h 819150"/>
                <a:gd name="connsiteX381" fmla="*/ 197655 w 333375"/>
                <a:gd name="connsiteY381" fmla="*/ 596304 h 819150"/>
                <a:gd name="connsiteX382" fmla="*/ 201341 w 333375"/>
                <a:gd name="connsiteY382" fmla="*/ 596304 h 819150"/>
                <a:gd name="connsiteX383" fmla="*/ 201341 w 333375"/>
                <a:gd name="connsiteY383" fmla="*/ 592618 h 819150"/>
                <a:gd name="connsiteX384" fmla="*/ 205027 w 333375"/>
                <a:gd name="connsiteY384" fmla="*/ 588923 h 819150"/>
                <a:gd name="connsiteX385" fmla="*/ 205027 w 333375"/>
                <a:gd name="connsiteY385" fmla="*/ 585236 h 819150"/>
                <a:gd name="connsiteX386" fmla="*/ 208723 w 333375"/>
                <a:gd name="connsiteY386" fmla="*/ 581541 h 819150"/>
                <a:gd name="connsiteX387" fmla="*/ 208723 w 333375"/>
                <a:gd name="connsiteY387" fmla="*/ 577854 h 819150"/>
                <a:gd name="connsiteX388" fmla="*/ 208723 w 333375"/>
                <a:gd name="connsiteY388" fmla="*/ 574159 h 819150"/>
                <a:gd name="connsiteX389" fmla="*/ 212409 w 333375"/>
                <a:gd name="connsiteY389" fmla="*/ 570473 h 819150"/>
                <a:gd name="connsiteX390" fmla="*/ 212409 w 333375"/>
                <a:gd name="connsiteY390" fmla="*/ 566777 h 819150"/>
                <a:gd name="connsiteX391" fmla="*/ 216095 w 333375"/>
                <a:gd name="connsiteY391" fmla="*/ 563091 h 819150"/>
                <a:gd name="connsiteX392" fmla="*/ 216095 w 333375"/>
                <a:gd name="connsiteY392" fmla="*/ 559395 h 819150"/>
                <a:gd name="connsiteX393" fmla="*/ 219791 w 333375"/>
                <a:gd name="connsiteY393" fmla="*/ 555709 h 819150"/>
                <a:gd name="connsiteX394" fmla="*/ 227163 w 333375"/>
                <a:gd name="connsiteY394" fmla="*/ 552023 h 819150"/>
                <a:gd name="connsiteX395" fmla="*/ 230859 w 333375"/>
                <a:gd name="connsiteY395" fmla="*/ 548327 h 819150"/>
                <a:gd name="connsiteX396" fmla="*/ 238231 w 333375"/>
                <a:gd name="connsiteY396" fmla="*/ 544641 h 819150"/>
                <a:gd name="connsiteX397" fmla="*/ 241917 w 333375"/>
                <a:gd name="connsiteY397" fmla="*/ 544641 h 819150"/>
                <a:gd name="connsiteX398" fmla="*/ 245613 w 333375"/>
                <a:gd name="connsiteY398" fmla="*/ 540945 h 819150"/>
                <a:gd name="connsiteX399" fmla="*/ 249299 w 333375"/>
                <a:gd name="connsiteY399" fmla="*/ 537259 h 819150"/>
                <a:gd name="connsiteX400" fmla="*/ 249299 w 333375"/>
                <a:gd name="connsiteY400" fmla="*/ 533563 h 819150"/>
                <a:gd name="connsiteX401" fmla="*/ 252985 w 333375"/>
                <a:gd name="connsiteY401" fmla="*/ 529877 h 819150"/>
                <a:gd name="connsiteX402" fmla="*/ 256681 w 333375"/>
                <a:gd name="connsiteY402" fmla="*/ 529877 h 819150"/>
                <a:gd name="connsiteX403" fmla="*/ 260367 w 333375"/>
                <a:gd name="connsiteY403" fmla="*/ 529877 h 819150"/>
                <a:gd name="connsiteX404" fmla="*/ 264053 w 333375"/>
                <a:gd name="connsiteY404" fmla="*/ 526181 h 819150"/>
                <a:gd name="connsiteX405" fmla="*/ 264053 w 333375"/>
                <a:gd name="connsiteY405" fmla="*/ 522495 h 819150"/>
                <a:gd name="connsiteX406" fmla="*/ 264053 w 333375"/>
                <a:gd name="connsiteY406" fmla="*/ 518799 h 819150"/>
                <a:gd name="connsiteX407" fmla="*/ 267749 w 333375"/>
                <a:gd name="connsiteY407" fmla="*/ 515113 h 819150"/>
                <a:gd name="connsiteX408" fmla="*/ 271435 w 333375"/>
                <a:gd name="connsiteY408" fmla="*/ 515113 h 819150"/>
                <a:gd name="connsiteX409" fmla="*/ 275121 w 333375"/>
                <a:gd name="connsiteY409" fmla="*/ 515113 h 819150"/>
                <a:gd name="connsiteX410" fmla="*/ 278817 w 333375"/>
                <a:gd name="connsiteY410" fmla="*/ 511427 h 819150"/>
                <a:gd name="connsiteX411" fmla="*/ 282503 w 333375"/>
                <a:gd name="connsiteY411" fmla="*/ 511427 h 819150"/>
                <a:gd name="connsiteX412" fmla="*/ 282503 w 333375"/>
                <a:gd name="connsiteY412" fmla="*/ 507731 h 819150"/>
                <a:gd name="connsiteX413" fmla="*/ 289885 w 333375"/>
                <a:gd name="connsiteY413" fmla="*/ 507731 h 819150"/>
                <a:gd name="connsiteX414" fmla="*/ 293571 w 333375"/>
                <a:gd name="connsiteY414" fmla="*/ 504045 h 819150"/>
                <a:gd name="connsiteX415" fmla="*/ 297258 w 333375"/>
                <a:gd name="connsiteY415" fmla="*/ 504045 h 819150"/>
                <a:gd name="connsiteX416" fmla="*/ 304639 w 333375"/>
                <a:gd name="connsiteY416" fmla="*/ 504045 h 819150"/>
                <a:gd name="connsiteX417" fmla="*/ 300944 w 333375"/>
                <a:gd name="connsiteY417" fmla="*/ 500350 h 819150"/>
                <a:gd name="connsiteX418" fmla="*/ 304639 w 333375"/>
                <a:gd name="connsiteY418" fmla="*/ 500350 h 819150"/>
                <a:gd name="connsiteX419" fmla="*/ 308326 w 333375"/>
                <a:gd name="connsiteY419" fmla="*/ 496663 h 819150"/>
                <a:gd name="connsiteX420" fmla="*/ 293571 w 333375"/>
                <a:gd name="connsiteY420" fmla="*/ 485586 h 819150"/>
                <a:gd name="connsiteX421" fmla="*/ 289885 w 333375"/>
                <a:gd name="connsiteY421" fmla="*/ 485586 h 819150"/>
                <a:gd name="connsiteX422" fmla="*/ 312012 w 333375"/>
                <a:gd name="connsiteY422" fmla="*/ 474518 h 819150"/>
                <a:gd name="connsiteX423" fmla="*/ 304639 w 333375"/>
                <a:gd name="connsiteY423" fmla="*/ 467136 h 819150"/>
                <a:gd name="connsiteX424" fmla="*/ 282503 w 333375"/>
                <a:gd name="connsiteY424" fmla="*/ 478204 h 819150"/>
                <a:gd name="connsiteX425" fmla="*/ 278817 w 333375"/>
                <a:gd name="connsiteY425" fmla="*/ 481900 h 819150"/>
                <a:gd name="connsiteX426" fmla="*/ 275121 w 333375"/>
                <a:gd name="connsiteY426" fmla="*/ 485586 h 819150"/>
                <a:gd name="connsiteX427" fmla="*/ 271435 w 333375"/>
                <a:gd name="connsiteY427" fmla="*/ 485586 h 819150"/>
                <a:gd name="connsiteX428" fmla="*/ 267749 w 333375"/>
                <a:gd name="connsiteY428" fmla="*/ 485586 h 819150"/>
                <a:gd name="connsiteX429" fmla="*/ 260367 w 333375"/>
                <a:gd name="connsiteY429" fmla="*/ 485586 h 819150"/>
                <a:gd name="connsiteX430" fmla="*/ 260367 w 333375"/>
                <a:gd name="connsiteY430" fmla="*/ 481900 h 819150"/>
                <a:gd name="connsiteX431" fmla="*/ 256681 w 333375"/>
                <a:gd name="connsiteY431" fmla="*/ 478204 h 819150"/>
                <a:gd name="connsiteX432" fmla="*/ 256681 w 333375"/>
                <a:gd name="connsiteY432" fmla="*/ 452372 h 819150"/>
                <a:gd name="connsiteX433" fmla="*/ 252985 w 333375"/>
                <a:gd name="connsiteY433" fmla="*/ 448686 h 819150"/>
                <a:gd name="connsiteX434" fmla="*/ 256681 w 333375"/>
                <a:gd name="connsiteY434" fmla="*/ 444990 h 819150"/>
                <a:gd name="connsiteX435" fmla="*/ 264053 w 333375"/>
                <a:gd name="connsiteY435" fmla="*/ 444990 h 819150"/>
                <a:gd name="connsiteX436" fmla="*/ 256681 w 333375"/>
                <a:gd name="connsiteY436" fmla="*/ 430227 h 819150"/>
                <a:gd name="connsiteX437" fmla="*/ 264053 w 333375"/>
                <a:gd name="connsiteY437" fmla="*/ 426540 h 819150"/>
                <a:gd name="connsiteX438" fmla="*/ 267749 w 333375"/>
                <a:gd name="connsiteY438" fmla="*/ 419158 h 819150"/>
                <a:gd name="connsiteX439" fmla="*/ 282503 w 333375"/>
                <a:gd name="connsiteY439" fmla="*/ 404395 h 819150"/>
                <a:gd name="connsiteX440" fmla="*/ 282503 w 333375"/>
                <a:gd name="connsiteY440" fmla="*/ 400709 h 819150"/>
                <a:gd name="connsiteX441" fmla="*/ 286189 w 333375"/>
                <a:gd name="connsiteY441" fmla="*/ 397013 h 819150"/>
                <a:gd name="connsiteX442" fmla="*/ 293571 w 333375"/>
                <a:gd name="connsiteY442" fmla="*/ 385945 h 819150"/>
                <a:gd name="connsiteX443" fmla="*/ 297258 w 333375"/>
                <a:gd name="connsiteY443" fmla="*/ 378563 h 819150"/>
                <a:gd name="connsiteX444" fmla="*/ 297258 w 333375"/>
                <a:gd name="connsiteY444" fmla="*/ 374867 h 819150"/>
                <a:gd name="connsiteX445" fmla="*/ 300944 w 333375"/>
                <a:gd name="connsiteY445" fmla="*/ 371181 h 819150"/>
                <a:gd name="connsiteX446" fmla="*/ 300944 w 333375"/>
                <a:gd name="connsiteY446" fmla="*/ 367495 h 819150"/>
                <a:gd name="connsiteX447" fmla="*/ 300944 w 333375"/>
                <a:gd name="connsiteY447" fmla="*/ 363799 h 819150"/>
                <a:gd name="connsiteX448" fmla="*/ 304639 w 333375"/>
                <a:gd name="connsiteY448" fmla="*/ 360113 h 819150"/>
                <a:gd name="connsiteX449" fmla="*/ 304639 w 333375"/>
                <a:gd name="connsiteY449" fmla="*/ 356417 h 819150"/>
                <a:gd name="connsiteX450" fmla="*/ 308326 w 333375"/>
                <a:gd name="connsiteY450" fmla="*/ 356417 h 819150"/>
                <a:gd name="connsiteX451" fmla="*/ 312012 w 333375"/>
                <a:gd name="connsiteY451" fmla="*/ 356417 h 819150"/>
                <a:gd name="connsiteX452" fmla="*/ 315707 w 333375"/>
                <a:gd name="connsiteY452" fmla="*/ 356417 h 819150"/>
                <a:gd name="connsiteX453" fmla="*/ 315707 w 333375"/>
                <a:gd name="connsiteY453" fmla="*/ 352731 h 819150"/>
                <a:gd name="connsiteX454" fmla="*/ 334148 w 333375"/>
                <a:gd name="connsiteY454" fmla="*/ 334272 h 819150"/>
                <a:gd name="connsiteX455" fmla="*/ 330462 w 333375"/>
                <a:gd name="connsiteY455" fmla="*/ 323204 h 819150"/>
                <a:gd name="connsiteX456" fmla="*/ 326775 w 333375"/>
                <a:gd name="connsiteY456" fmla="*/ 315822 h 819150"/>
                <a:gd name="connsiteX457" fmla="*/ 326775 w 333375"/>
                <a:gd name="connsiteY457" fmla="*/ 312136 h 819150"/>
                <a:gd name="connsiteX458" fmla="*/ 330462 w 333375"/>
                <a:gd name="connsiteY458" fmla="*/ 308440 h 819150"/>
                <a:gd name="connsiteX459" fmla="*/ 334148 w 333375"/>
                <a:gd name="connsiteY459" fmla="*/ 304754 h 819150"/>
                <a:gd name="connsiteX460" fmla="*/ 323080 w 333375"/>
                <a:gd name="connsiteY460" fmla="*/ 304754 h 819150"/>
                <a:gd name="connsiteX461" fmla="*/ 323080 w 333375"/>
                <a:gd name="connsiteY461" fmla="*/ 301058 h 819150"/>
                <a:gd name="connsiteX462" fmla="*/ 326775 w 333375"/>
                <a:gd name="connsiteY462" fmla="*/ 278912 h 819150"/>
                <a:gd name="connsiteX463" fmla="*/ 326775 w 333375"/>
                <a:gd name="connsiteY463" fmla="*/ 267844 h 819150"/>
                <a:gd name="connsiteX464" fmla="*/ 330462 w 333375"/>
                <a:gd name="connsiteY464" fmla="*/ 267844 h 819150"/>
                <a:gd name="connsiteX465" fmla="*/ 326775 w 333375"/>
                <a:gd name="connsiteY465" fmla="*/ 260462 h 819150"/>
                <a:gd name="connsiteX466" fmla="*/ 330462 w 333375"/>
                <a:gd name="connsiteY466" fmla="*/ 256776 h 819150"/>
                <a:gd name="connsiteX467" fmla="*/ 330462 w 333375"/>
                <a:gd name="connsiteY467" fmla="*/ 245699 h 819150"/>
                <a:gd name="connsiteX468" fmla="*/ 326775 w 333375"/>
                <a:gd name="connsiteY468" fmla="*/ 238317 h 819150"/>
                <a:gd name="connsiteX469" fmla="*/ 323080 w 333375"/>
                <a:gd name="connsiteY469" fmla="*/ 230935 h 819150"/>
                <a:gd name="connsiteX470" fmla="*/ 326775 w 333375"/>
                <a:gd name="connsiteY470" fmla="*/ 223563 h 819150"/>
                <a:gd name="connsiteX471" fmla="*/ 323080 w 333375"/>
                <a:gd name="connsiteY471" fmla="*/ 219867 h 819150"/>
                <a:gd name="connsiteX472" fmla="*/ 323080 w 333375"/>
                <a:gd name="connsiteY472" fmla="*/ 212485 h 819150"/>
                <a:gd name="connsiteX473" fmla="*/ 323080 w 333375"/>
                <a:gd name="connsiteY473" fmla="*/ 208799 h 819150"/>
                <a:gd name="connsiteX474" fmla="*/ 319394 w 333375"/>
                <a:gd name="connsiteY474" fmla="*/ 201417 h 819150"/>
                <a:gd name="connsiteX475" fmla="*/ 312012 w 333375"/>
                <a:gd name="connsiteY475" fmla="*/ 197721 h 819150"/>
                <a:gd name="connsiteX476" fmla="*/ 304639 w 333375"/>
                <a:gd name="connsiteY476" fmla="*/ 194035 h 819150"/>
                <a:gd name="connsiteX477" fmla="*/ 297258 w 333375"/>
                <a:gd name="connsiteY477" fmla="*/ 171890 h 819150"/>
                <a:gd name="connsiteX478" fmla="*/ 289885 w 333375"/>
                <a:gd name="connsiteY478" fmla="*/ 168203 h 819150"/>
                <a:gd name="connsiteX479" fmla="*/ 286189 w 333375"/>
                <a:gd name="connsiteY479" fmla="*/ 164508 h 819150"/>
                <a:gd name="connsiteX480" fmla="*/ 282503 w 333375"/>
                <a:gd name="connsiteY480" fmla="*/ 160821 h 819150"/>
                <a:gd name="connsiteX481" fmla="*/ 278817 w 333375"/>
                <a:gd name="connsiteY481" fmla="*/ 153439 h 819150"/>
                <a:gd name="connsiteX482" fmla="*/ 278817 w 333375"/>
                <a:gd name="connsiteY482" fmla="*/ 149744 h 819150"/>
                <a:gd name="connsiteX483" fmla="*/ 275121 w 333375"/>
                <a:gd name="connsiteY483" fmla="*/ 149744 h 819150"/>
                <a:gd name="connsiteX484" fmla="*/ 264053 w 333375"/>
                <a:gd name="connsiteY484" fmla="*/ 142362 h 819150"/>
                <a:gd name="connsiteX485" fmla="*/ 264053 w 333375"/>
                <a:gd name="connsiteY485" fmla="*/ 134980 h 819150"/>
                <a:gd name="connsiteX486" fmla="*/ 264053 w 333375"/>
                <a:gd name="connsiteY486" fmla="*/ 127608 h 819150"/>
                <a:gd name="connsiteX487" fmla="*/ 267749 w 333375"/>
                <a:gd name="connsiteY487" fmla="*/ 127608 h 819150"/>
                <a:gd name="connsiteX488" fmla="*/ 267749 w 333375"/>
                <a:gd name="connsiteY488" fmla="*/ 123912 h 819150"/>
                <a:gd name="connsiteX489" fmla="*/ 271435 w 333375"/>
                <a:gd name="connsiteY489" fmla="*/ 112844 h 819150"/>
                <a:gd name="connsiteX490" fmla="*/ 271435 w 333375"/>
                <a:gd name="connsiteY490" fmla="*/ 109148 h 819150"/>
                <a:gd name="connsiteX491" fmla="*/ 275121 w 333375"/>
                <a:gd name="connsiteY491" fmla="*/ 105462 h 819150"/>
                <a:gd name="connsiteX492" fmla="*/ 275121 w 333375"/>
                <a:gd name="connsiteY492" fmla="*/ 101766 h 819150"/>
                <a:gd name="connsiteX493" fmla="*/ 267749 w 333375"/>
                <a:gd name="connsiteY493" fmla="*/ 98080 h 819150"/>
                <a:gd name="connsiteX494" fmla="*/ 264053 w 333375"/>
                <a:gd name="connsiteY494" fmla="*/ 98080 h 819150"/>
                <a:gd name="connsiteX495" fmla="*/ 260367 w 333375"/>
                <a:gd name="connsiteY495" fmla="*/ 98080 h 819150"/>
                <a:gd name="connsiteX496" fmla="*/ 260367 w 333375"/>
                <a:gd name="connsiteY496" fmla="*/ 94384 h 819150"/>
                <a:gd name="connsiteX497" fmla="*/ 256681 w 333375"/>
                <a:gd name="connsiteY497" fmla="*/ 94384 h 819150"/>
                <a:gd name="connsiteX498" fmla="*/ 252985 w 333375"/>
                <a:gd name="connsiteY498" fmla="*/ 94384 h 819150"/>
                <a:gd name="connsiteX499" fmla="*/ 234545 w 333375"/>
                <a:gd name="connsiteY499" fmla="*/ 87003 h 819150"/>
                <a:gd name="connsiteX500" fmla="*/ 230859 w 333375"/>
                <a:gd name="connsiteY500" fmla="*/ 83316 h 819150"/>
                <a:gd name="connsiteX501" fmla="*/ 230859 w 333375"/>
                <a:gd name="connsiteY501" fmla="*/ 79630 h 819150"/>
                <a:gd name="connsiteX502" fmla="*/ 230859 w 333375"/>
                <a:gd name="connsiteY502" fmla="*/ 75935 h 819150"/>
                <a:gd name="connsiteX503" fmla="*/ 234545 w 333375"/>
                <a:gd name="connsiteY503" fmla="*/ 72248 h 819150"/>
                <a:gd name="connsiteX504" fmla="*/ 230859 w 333375"/>
                <a:gd name="connsiteY504" fmla="*/ 68553 h 819150"/>
                <a:gd name="connsiteX505" fmla="*/ 230859 w 333375"/>
                <a:gd name="connsiteY505" fmla="*/ 64867 h 819150"/>
                <a:gd name="connsiteX506" fmla="*/ 230859 w 333375"/>
                <a:gd name="connsiteY506" fmla="*/ 57485 h 819150"/>
                <a:gd name="connsiteX507" fmla="*/ 234545 w 333375"/>
                <a:gd name="connsiteY507" fmla="*/ 57485 h 819150"/>
                <a:gd name="connsiteX508" fmla="*/ 238231 w 333375"/>
                <a:gd name="connsiteY508" fmla="*/ 57485 h 819150"/>
                <a:gd name="connsiteX509" fmla="*/ 238231 w 333375"/>
                <a:gd name="connsiteY509" fmla="*/ 53789 h 819150"/>
                <a:gd name="connsiteX510" fmla="*/ 234545 w 333375"/>
                <a:gd name="connsiteY510" fmla="*/ 53789 h 819150"/>
                <a:gd name="connsiteX511" fmla="*/ 234545 w 333375"/>
                <a:gd name="connsiteY511" fmla="*/ 50103 h 819150"/>
                <a:gd name="connsiteX512" fmla="*/ 234545 w 333375"/>
                <a:gd name="connsiteY512" fmla="*/ 46407 h 819150"/>
                <a:gd name="connsiteX513" fmla="*/ 230859 w 333375"/>
                <a:gd name="connsiteY513" fmla="*/ 46407 h 819150"/>
                <a:gd name="connsiteX514" fmla="*/ 219791 w 333375"/>
                <a:gd name="connsiteY514" fmla="*/ 39025 h 819150"/>
                <a:gd name="connsiteX515" fmla="*/ 216095 w 333375"/>
                <a:gd name="connsiteY515" fmla="*/ 35339 h 819150"/>
                <a:gd name="connsiteX516" fmla="*/ 208723 w 333375"/>
                <a:gd name="connsiteY516" fmla="*/ 35339 h 819150"/>
                <a:gd name="connsiteX517" fmla="*/ 205027 w 333375"/>
                <a:gd name="connsiteY517" fmla="*/ 35339 h 819150"/>
                <a:gd name="connsiteX518" fmla="*/ 193959 w 333375"/>
                <a:gd name="connsiteY518" fmla="*/ 35339 h 819150"/>
                <a:gd name="connsiteX519" fmla="*/ 193959 w 333375"/>
                <a:gd name="connsiteY519" fmla="*/ 31653 h 819150"/>
                <a:gd name="connsiteX520" fmla="*/ 190273 w 333375"/>
                <a:gd name="connsiteY520" fmla="*/ 35339 h 819150"/>
                <a:gd name="connsiteX521" fmla="*/ 186587 w 333375"/>
                <a:gd name="connsiteY521" fmla="*/ 35339 h 819150"/>
                <a:gd name="connsiteX522" fmla="*/ 182891 w 333375"/>
                <a:gd name="connsiteY522" fmla="*/ 31653 h 819150"/>
                <a:gd name="connsiteX523" fmla="*/ 182891 w 333375"/>
                <a:gd name="connsiteY523" fmla="*/ 27957 h 819150"/>
                <a:gd name="connsiteX524" fmla="*/ 179205 w 333375"/>
                <a:gd name="connsiteY524" fmla="*/ 27957 h 819150"/>
                <a:gd name="connsiteX525" fmla="*/ 175518 w 333375"/>
                <a:gd name="connsiteY525" fmla="*/ 24271 h 819150"/>
                <a:gd name="connsiteX526" fmla="*/ 175518 w 333375"/>
                <a:gd name="connsiteY526" fmla="*/ 20575 h 819150"/>
                <a:gd name="connsiteX527" fmla="*/ 171823 w 333375"/>
                <a:gd name="connsiteY527" fmla="*/ 16889 h 819150"/>
                <a:gd name="connsiteX528" fmla="*/ 171823 w 333375"/>
                <a:gd name="connsiteY528" fmla="*/ 13193 h 819150"/>
                <a:gd name="connsiteX529" fmla="*/ 168137 w 333375"/>
                <a:gd name="connsiteY529" fmla="*/ 9507 h 819150"/>
                <a:gd name="connsiteX530" fmla="*/ 164450 w 333375"/>
                <a:gd name="connsiteY530" fmla="*/ 5812 h 819150"/>
                <a:gd name="connsiteX531" fmla="*/ 160755 w 333375"/>
                <a:gd name="connsiteY531" fmla="*/ 5812 h 819150"/>
                <a:gd name="connsiteX532" fmla="*/ 153382 w 333375"/>
                <a:gd name="connsiteY532" fmla="*/ 5812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Lst>
              <a:rect l="l" t="t" r="r" b="b"/>
              <a:pathLst>
                <a:path w="333375" h="819150">
                  <a:moveTo>
                    <a:pt x="153382" y="5812"/>
                  </a:moveTo>
                  <a:lnTo>
                    <a:pt x="149696" y="9507"/>
                  </a:lnTo>
                  <a:lnTo>
                    <a:pt x="153382" y="13193"/>
                  </a:lnTo>
                  <a:lnTo>
                    <a:pt x="153382" y="16889"/>
                  </a:lnTo>
                  <a:lnTo>
                    <a:pt x="153382" y="20575"/>
                  </a:lnTo>
                  <a:lnTo>
                    <a:pt x="149696" y="20575"/>
                  </a:lnTo>
                  <a:lnTo>
                    <a:pt x="153382" y="24271"/>
                  </a:lnTo>
                  <a:lnTo>
                    <a:pt x="157069" y="24271"/>
                  </a:lnTo>
                  <a:lnTo>
                    <a:pt x="157069" y="27957"/>
                  </a:lnTo>
                  <a:lnTo>
                    <a:pt x="157069" y="31653"/>
                  </a:lnTo>
                  <a:lnTo>
                    <a:pt x="160755" y="39025"/>
                  </a:lnTo>
                  <a:lnTo>
                    <a:pt x="160755" y="46407"/>
                  </a:lnTo>
                  <a:lnTo>
                    <a:pt x="164450" y="50103"/>
                  </a:lnTo>
                  <a:lnTo>
                    <a:pt x="171823" y="50103"/>
                  </a:lnTo>
                  <a:lnTo>
                    <a:pt x="179205" y="53789"/>
                  </a:lnTo>
                  <a:lnTo>
                    <a:pt x="186587" y="53789"/>
                  </a:lnTo>
                  <a:lnTo>
                    <a:pt x="190273" y="57485"/>
                  </a:lnTo>
                  <a:lnTo>
                    <a:pt x="193959" y="57485"/>
                  </a:lnTo>
                  <a:lnTo>
                    <a:pt x="197655" y="68553"/>
                  </a:lnTo>
                  <a:lnTo>
                    <a:pt x="197655" y="75935"/>
                  </a:lnTo>
                  <a:lnTo>
                    <a:pt x="197655" y="79630"/>
                  </a:lnTo>
                  <a:lnTo>
                    <a:pt x="201341" y="79630"/>
                  </a:lnTo>
                  <a:lnTo>
                    <a:pt x="201341" y="87003"/>
                  </a:lnTo>
                  <a:lnTo>
                    <a:pt x="201341" y="90698"/>
                  </a:lnTo>
                  <a:lnTo>
                    <a:pt x="201341" y="94384"/>
                  </a:lnTo>
                  <a:lnTo>
                    <a:pt x="201341" y="105462"/>
                  </a:lnTo>
                  <a:lnTo>
                    <a:pt x="205027" y="109148"/>
                  </a:lnTo>
                  <a:lnTo>
                    <a:pt x="205027" y="112844"/>
                  </a:lnTo>
                  <a:lnTo>
                    <a:pt x="216095" y="116530"/>
                  </a:lnTo>
                  <a:lnTo>
                    <a:pt x="219791" y="120226"/>
                  </a:lnTo>
                  <a:lnTo>
                    <a:pt x="223477" y="123912"/>
                  </a:lnTo>
                  <a:lnTo>
                    <a:pt x="227163" y="127608"/>
                  </a:lnTo>
                  <a:lnTo>
                    <a:pt x="227163" y="131294"/>
                  </a:lnTo>
                  <a:lnTo>
                    <a:pt x="230859" y="134980"/>
                  </a:lnTo>
                  <a:lnTo>
                    <a:pt x="230859" y="146058"/>
                  </a:lnTo>
                  <a:lnTo>
                    <a:pt x="230859" y="149744"/>
                  </a:lnTo>
                  <a:lnTo>
                    <a:pt x="234545" y="153439"/>
                  </a:lnTo>
                  <a:lnTo>
                    <a:pt x="238231" y="160821"/>
                  </a:lnTo>
                  <a:lnTo>
                    <a:pt x="238231" y="164508"/>
                  </a:lnTo>
                  <a:lnTo>
                    <a:pt x="238231" y="168203"/>
                  </a:lnTo>
                  <a:lnTo>
                    <a:pt x="238231" y="171890"/>
                  </a:lnTo>
                  <a:lnTo>
                    <a:pt x="238231" y="175585"/>
                  </a:lnTo>
                  <a:lnTo>
                    <a:pt x="241917" y="179271"/>
                  </a:lnTo>
                  <a:lnTo>
                    <a:pt x="238231" y="179271"/>
                  </a:lnTo>
                  <a:lnTo>
                    <a:pt x="234545" y="179271"/>
                  </a:lnTo>
                  <a:lnTo>
                    <a:pt x="234545" y="182957"/>
                  </a:lnTo>
                  <a:lnTo>
                    <a:pt x="227163" y="175585"/>
                  </a:lnTo>
                  <a:lnTo>
                    <a:pt x="223477" y="171890"/>
                  </a:lnTo>
                  <a:lnTo>
                    <a:pt x="219791" y="171890"/>
                  </a:lnTo>
                  <a:lnTo>
                    <a:pt x="219791" y="168203"/>
                  </a:lnTo>
                  <a:lnTo>
                    <a:pt x="212409" y="171890"/>
                  </a:lnTo>
                  <a:lnTo>
                    <a:pt x="205027" y="175585"/>
                  </a:lnTo>
                  <a:lnTo>
                    <a:pt x="193959" y="179271"/>
                  </a:lnTo>
                  <a:lnTo>
                    <a:pt x="186587" y="182957"/>
                  </a:lnTo>
                  <a:lnTo>
                    <a:pt x="179205" y="182957"/>
                  </a:lnTo>
                  <a:lnTo>
                    <a:pt x="171823" y="182957"/>
                  </a:lnTo>
                  <a:lnTo>
                    <a:pt x="164450" y="179271"/>
                  </a:lnTo>
                  <a:lnTo>
                    <a:pt x="153382" y="175585"/>
                  </a:lnTo>
                  <a:lnTo>
                    <a:pt x="138628" y="171890"/>
                  </a:lnTo>
                  <a:lnTo>
                    <a:pt x="142314" y="205103"/>
                  </a:lnTo>
                  <a:lnTo>
                    <a:pt x="146000" y="216181"/>
                  </a:lnTo>
                  <a:lnTo>
                    <a:pt x="146000" y="223563"/>
                  </a:lnTo>
                  <a:lnTo>
                    <a:pt x="149696" y="230935"/>
                  </a:lnTo>
                  <a:lnTo>
                    <a:pt x="157069" y="264158"/>
                  </a:lnTo>
                  <a:lnTo>
                    <a:pt x="157069" y="267844"/>
                  </a:lnTo>
                  <a:lnTo>
                    <a:pt x="171823" y="293676"/>
                  </a:lnTo>
                  <a:lnTo>
                    <a:pt x="179205" y="308440"/>
                  </a:lnTo>
                  <a:lnTo>
                    <a:pt x="186587" y="319517"/>
                  </a:lnTo>
                  <a:lnTo>
                    <a:pt x="179205" y="323204"/>
                  </a:lnTo>
                  <a:lnTo>
                    <a:pt x="168137" y="334272"/>
                  </a:lnTo>
                  <a:lnTo>
                    <a:pt x="160755" y="341654"/>
                  </a:lnTo>
                  <a:lnTo>
                    <a:pt x="157069" y="341654"/>
                  </a:lnTo>
                  <a:lnTo>
                    <a:pt x="153382" y="345349"/>
                  </a:lnTo>
                  <a:lnTo>
                    <a:pt x="149696" y="345349"/>
                  </a:lnTo>
                  <a:lnTo>
                    <a:pt x="138628" y="349035"/>
                  </a:lnTo>
                  <a:lnTo>
                    <a:pt x="109110" y="356417"/>
                  </a:lnTo>
                  <a:lnTo>
                    <a:pt x="105424" y="360113"/>
                  </a:lnTo>
                  <a:lnTo>
                    <a:pt x="101728" y="360113"/>
                  </a:lnTo>
                  <a:lnTo>
                    <a:pt x="94356" y="363799"/>
                  </a:lnTo>
                  <a:lnTo>
                    <a:pt x="75906" y="367495"/>
                  </a:lnTo>
                  <a:lnTo>
                    <a:pt x="72220" y="367495"/>
                  </a:lnTo>
                  <a:lnTo>
                    <a:pt x="57466" y="374867"/>
                  </a:lnTo>
                  <a:lnTo>
                    <a:pt x="46398" y="385945"/>
                  </a:lnTo>
                  <a:lnTo>
                    <a:pt x="42702" y="393327"/>
                  </a:lnTo>
                  <a:lnTo>
                    <a:pt x="35330" y="408090"/>
                  </a:lnTo>
                  <a:lnTo>
                    <a:pt x="31634" y="426540"/>
                  </a:lnTo>
                  <a:lnTo>
                    <a:pt x="31634" y="441304"/>
                  </a:lnTo>
                  <a:lnTo>
                    <a:pt x="20566" y="444990"/>
                  </a:lnTo>
                  <a:lnTo>
                    <a:pt x="16880" y="444990"/>
                  </a:lnTo>
                  <a:lnTo>
                    <a:pt x="5812" y="448686"/>
                  </a:lnTo>
                  <a:lnTo>
                    <a:pt x="13193" y="452372"/>
                  </a:lnTo>
                  <a:lnTo>
                    <a:pt x="42702" y="463450"/>
                  </a:lnTo>
                  <a:lnTo>
                    <a:pt x="46398" y="467136"/>
                  </a:lnTo>
                  <a:lnTo>
                    <a:pt x="46398" y="470822"/>
                  </a:lnTo>
                  <a:lnTo>
                    <a:pt x="50084" y="478204"/>
                  </a:lnTo>
                  <a:lnTo>
                    <a:pt x="53770" y="474518"/>
                  </a:lnTo>
                  <a:lnTo>
                    <a:pt x="57466" y="478204"/>
                  </a:lnTo>
                  <a:lnTo>
                    <a:pt x="61152" y="478204"/>
                  </a:lnTo>
                  <a:lnTo>
                    <a:pt x="64838" y="478204"/>
                  </a:lnTo>
                  <a:lnTo>
                    <a:pt x="72220" y="478204"/>
                  </a:lnTo>
                  <a:lnTo>
                    <a:pt x="75906" y="478204"/>
                  </a:lnTo>
                  <a:lnTo>
                    <a:pt x="79602" y="478204"/>
                  </a:lnTo>
                  <a:lnTo>
                    <a:pt x="86974" y="478204"/>
                  </a:lnTo>
                  <a:lnTo>
                    <a:pt x="90660" y="474518"/>
                  </a:lnTo>
                  <a:lnTo>
                    <a:pt x="94356" y="474518"/>
                  </a:lnTo>
                  <a:lnTo>
                    <a:pt x="98042" y="478204"/>
                  </a:lnTo>
                  <a:lnTo>
                    <a:pt x="105424" y="478204"/>
                  </a:lnTo>
                  <a:lnTo>
                    <a:pt x="109110" y="481900"/>
                  </a:lnTo>
                  <a:lnTo>
                    <a:pt x="109110" y="485586"/>
                  </a:lnTo>
                  <a:lnTo>
                    <a:pt x="112796" y="485586"/>
                  </a:lnTo>
                  <a:lnTo>
                    <a:pt x="109110" y="489281"/>
                  </a:lnTo>
                  <a:lnTo>
                    <a:pt x="105424" y="489281"/>
                  </a:lnTo>
                  <a:lnTo>
                    <a:pt x="105424" y="492968"/>
                  </a:lnTo>
                  <a:lnTo>
                    <a:pt x="109110" y="492968"/>
                  </a:lnTo>
                  <a:lnTo>
                    <a:pt x="109110" y="496663"/>
                  </a:lnTo>
                  <a:lnTo>
                    <a:pt x="109110" y="500350"/>
                  </a:lnTo>
                  <a:lnTo>
                    <a:pt x="109110" y="504045"/>
                  </a:lnTo>
                  <a:lnTo>
                    <a:pt x="112796" y="504045"/>
                  </a:lnTo>
                  <a:lnTo>
                    <a:pt x="112796" y="500350"/>
                  </a:lnTo>
                  <a:lnTo>
                    <a:pt x="116492" y="500350"/>
                  </a:lnTo>
                  <a:lnTo>
                    <a:pt x="120178" y="500350"/>
                  </a:lnTo>
                  <a:lnTo>
                    <a:pt x="120178" y="496663"/>
                  </a:lnTo>
                  <a:lnTo>
                    <a:pt x="123864" y="496663"/>
                  </a:lnTo>
                  <a:lnTo>
                    <a:pt x="127560" y="496663"/>
                  </a:lnTo>
                  <a:lnTo>
                    <a:pt x="127560" y="492968"/>
                  </a:lnTo>
                  <a:lnTo>
                    <a:pt x="134933" y="489281"/>
                  </a:lnTo>
                  <a:lnTo>
                    <a:pt x="134933" y="492968"/>
                  </a:lnTo>
                  <a:lnTo>
                    <a:pt x="138628" y="492968"/>
                  </a:lnTo>
                  <a:lnTo>
                    <a:pt x="138628" y="500350"/>
                  </a:lnTo>
                  <a:lnTo>
                    <a:pt x="149696" y="507731"/>
                  </a:lnTo>
                  <a:lnTo>
                    <a:pt x="146000" y="511427"/>
                  </a:lnTo>
                  <a:lnTo>
                    <a:pt x="142314" y="515113"/>
                  </a:lnTo>
                  <a:lnTo>
                    <a:pt x="142314" y="518799"/>
                  </a:lnTo>
                  <a:lnTo>
                    <a:pt x="134933" y="522495"/>
                  </a:lnTo>
                  <a:lnTo>
                    <a:pt x="131246" y="522495"/>
                  </a:lnTo>
                  <a:lnTo>
                    <a:pt x="131246" y="526181"/>
                  </a:lnTo>
                  <a:lnTo>
                    <a:pt x="127560" y="529877"/>
                  </a:lnTo>
                  <a:lnTo>
                    <a:pt x="123864" y="533563"/>
                  </a:lnTo>
                  <a:lnTo>
                    <a:pt x="127560" y="537259"/>
                  </a:lnTo>
                  <a:lnTo>
                    <a:pt x="134933" y="537259"/>
                  </a:lnTo>
                  <a:lnTo>
                    <a:pt x="138628" y="540945"/>
                  </a:lnTo>
                  <a:lnTo>
                    <a:pt x="138628" y="544641"/>
                  </a:lnTo>
                  <a:lnTo>
                    <a:pt x="134933" y="548327"/>
                  </a:lnTo>
                  <a:lnTo>
                    <a:pt x="134933" y="552023"/>
                  </a:lnTo>
                  <a:lnTo>
                    <a:pt x="131246" y="552023"/>
                  </a:lnTo>
                  <a:lnTo>
                    <a:pt x="127560" y="548327"/>
                  </a:lnTo>
                  <a:lnTo>
                    <a:pt x="123864" y="548327"/>
                  </a:lnTo>
                  <a:lnTo>
                    <a:pt x="120178" y="548327"/>
                  </a:lnTo>
                  <a:lnTo>
                    <a:pt x="120178" y="552023"/>
                  </a:lnTo>
                  <a:lnTo>
                    <a:pt x="120178" y="555709"/>
                  </a:lnTo>
                  <a:lnTo>
                    <a:pt x="123864" y="559395"/>
                  </a:lnTo>
                  <a:lnTo>
                    <a:pt x="123864" y="563091"/>
                  </a:lnTo>
                  <a:lnTo>
                    <a:pt x="120178" y="563091"/>
                  </a:lnTo>
                  <a:lnTo>
                    <a:pt x="120178" y="566777"/>
                  </a:lnTo>
                  <a:lnTo>
                    <a:pt x="123864" y="574159"/>
                  </a:lnTo>
                  <a:lnTo>
                    <a:pt x="120178" y="574159"/>
                  </a:lnTo>
                  <a:lnTo>
                    <a:pt x="120178" y="577854"/>
                  </a:lnTo>
                  <a:lnTo>
                    <a:pt x="116492" y="577854"/>
                  </a:lnTo>
                  <a:lnTo>
                    <a:pt x="109110" y="574159"/>
                  </a:lnTo>
                  <a:lnTo>
                    <a:pt x="105424" y="585236"/>
                  </a:lnTo>
                  <a:lnTo>
                    <a:pt x="105424" y="592618"/>
                  </a:lnTo>
                  <a:lnTo>
                    <a:pt x="101728" y="596304"/>
                  </a:lnTo>
                  <a:lnTo>
                    <a:pt x="101728" y="600000"/>
                  </a:lnTo>
                  <a:lnTo>
                    <a:pt x="105424" y="600000"/>
                  </a:lnTo>
                  <a:lnTo>
                    <a:pt x="109110" y="603686"/>
                  </a:lnTo>
                  <a:lnTo>
                    <a:pt x="109110" y="607373"/>
                  </a:lnTo>
                  <a:lnTo>
                    <a:pt x="105424" y="614754"/>
                  </a:lnTo>
                  <a:lnTo>
                    <a:pt x="105424" y="618450"/>
                  </a:lnTo>
                  <a:lnTo>
                    <a:pt x="105424" y="622136"/>
                  </a:lnTo>
                  <a:lnTo>
                    <a:pt x="105424" y="625832"/>
                  </a:lnTo>
                  <a:lnTo>
                    <a:pt x="101728" y="629518"/>
                  </a:lnTo>
                  <a:lnTo>
                    <a:pt x="98042" y="633214"/>
                  </a:lnTo>
                  <a:lnTo>
                    <a:pt x="94356" y="640596"/>
                  </a:lnTo>
                  <a:lnTo>
                    <a:pt x="90660" y="640596"/>
                  </a:lnTo>
                  <a:lnTo>
                    <a:pt x="86974" y="647977"/>
                  </a:lnTo>
                  <a:lnTo>
                    <a:pt x="83288" y="655350"/>
                  </a:lnTo>
                  <a:lnTo>
                    <a:pt x="83288" y="659046"/>
                  </a:lnTo>
                  <a:lnTo>
                    <a:pt x="86974" y="659046"/>
                  </a:lnTo>
                  <a:lnTo>
                    <a:pt x="90660" y="659046"/>
                  </a:lnTo>
                  <a:lnTo>
                    <a:pt x="94356" y="655350"/>
                  </a:lnTo>
                  <a:lnTo>
                    <a:pt x="98042" y="655350"/>
                  </a:lnTo>
                  <a:lnTo>
                    <a:pt x="101728" y="659046"/>
                  </a:lnTo>
                  <a:lnTo>
                    <a:pt x="101728" y="662732"/>
                  </a:lnTo>
                  <a:lnTo>
                    <a:pt x="94356" y="666428"/>
                  </a:lnTo>
                  <a:lnTo>
                    <a:pt x="94356" y="670114"/>
                  </a:lnTo>
                  <a:lnTo>
                    <a:pt x="94356" y="673809"/>
                  </a:lnTo>
                  <a:lnTo>
                    <a:pt x="86974" y="681191"/>
                  </a:lnTo>
                  <a:lnTo>
                    <a:pt x="86974" y="684877"/>
                  </a:lnTo>
                  <a:lnTo>
                    <a:pt x="83288" y="688573"/>
                  </a:lnTo>
                  <a:lnTo>
                    <a:pt x="86974" y="692259"/>
                  </a:lnTo>
                  <a:lnTo>
                    <a:pt x="83288" y="695955"/>
                  </a:lnTo>
                  <a:lnTo>
                    <a:pt x="79602" y="695955"/>
                  </a:lnTo>
                  <a:lnTo>
                    <a:pt x="75906" y="695955"/>
                  </a:lnTo>
                  <a:lnTo>
                    <a:pt x="72220" y="695955"/>
                  </a:lnTo>
                  <a:lnTo>
                    <a:pt x="68534" y="699641"/>
                  </a:lnTo>
                  <a:lnTo>
                    <a:pt x="68534" y="703327"/>
                  </a:lnTo>
                  <a:lnTo>
                    <a:pt x="68534" y="707023"/>
                  </a:lnTo>
                  <a:lnTo>
                    <a:pt x="61152" y="714405"/>
                  </a:lnTo>
                  <a:lnTo>
                    <a:pt x="61152" y="718091"/>
                  </a:lnTo>
                  <a:lnTo>
                    <a:pt x="57466" y="718091"/>
                  </a:lnTo>
                  <a:lnTo>
                    <a:pt x="53770" y="721787"/>
                  </a:lnTo>
                  <a:lnTo>
                    <a:pt x="50084" y="721787"/>
                  </a:lnTo>
                  <a:lnTo>
                    <a:pt x="50084" y="725473"/>
                  </a:lnTo>
                  <a:lnTo>
                    <a:pt x="46398" y="725473"/>
                  </a:lnTo>
                  <a:lnTo>
                    <a:pt x="42702" y="725473"/>
                  </a:lnTo>
                  <a:lnTo>
                    <a:pt x="46398" y="729169"/>
                  </a:lnTo>
                  <a:lnTo>
                    <a:pt x="42702" y="732855"/>
                  </a:lnTo>
                  <a:lnTo>
                    <a:pt x="42702" y="736551"/>
                  </a:lnTo>
                  <a:lnTo>
                    <a:pt x="42702" y="740237"/>
                  </a:lnTo>
                  <a:lnTo>
                    <a:pt x="42702" y="743932"/>
                  </a:lnTo>
                  <a:lnTo>
                    <a:pt x="42702" y="747619"/>
                  </a:lnTo>
                  <a:lnTo>
                    <a:pt x="42702" y="751305"/>
                  </a:lnTo>
                  <a:lnTo>
                    <a:pt x="42702" y="755000"/>
                  </a:lnTo>
                  <a:lnTo>
                    <a:pt x="46398" y="755000"/>
                  </a:lnTo>
                  <a:lnTo>
                    <a:pt x="46398" y="758687"/>
                  </a:lnTo>
                  <a:lnTo>
                    <a:pt x="46398" y="762382"/>
                  </a:lnTo>
                  <a:lnTo>
                    <a:pt x="50084" y="762382"/>
                  </a:lnTo>
                  <a:lnTo>
                    <a:pt x="50084" y="766069"/>
                  </a:lnTo>
                  <a:lnTo>
                    <a:pt x="53770" y="769764"/>
                  </a:lnTo>
                  <a:lnTo>
                    <a:pt x="57466" y="769764"/>
                  </a:lnTo>
                  <a:lnTo>
                    <a:pt x="61152" y="769764"/>
                  </a:lnTo>
                  <a:lnTo>
                    <a:pt x="61152" y="773450"/>
                  </a:lnTo>
                  <a:lnTo>
                    <a:pt x="68534" y="773450"/>
                  </a:lnTo>
                  <a:lnTo>
                    <a:pt x="72220" y="777146"/>
                  </a:lnTo>
                  <a:lnTo>
                    <a:pt x="72220" y="780832"/>
                  </a:lnTo>
                  <a:lnTo>
                    <a:pt x="68534" y="784528"/>
                  </a:lnTo>
                  <a:lnTo>
                    <a:pt x="72220" y="795596"/>
                  </a:lnTo>
                  <a:lnTo>
                    <a:pt x="72220" y="802978"/>
                  </a:lnTo>
                  <a:lnTo>
                    <a:pt x="64838" y="814046"/>
                  </a:lnTo>
                  <a:lnTo>
                    <a:pt x="64838" y="817742"/>
                  </a:lnTo>
                  <a:lnTo>
                    <a:pt x="68534" y="817742"/>
                  </a:lnTo>
                  <a:lnTo>
                    <a:pt x="72220" y="817742"/>
                  </a:lnTo>
                  <a:lnTo>
                    <a:pt x="75906" y="814046"/>
                  </a:lnTo>
                  <a:lnTo>
                    <a:pt x="79602" y="814046"/>
                  </a:lnTo>
                  <a:lnTo>
                    <a:pt x="83288" y="810360"/>
                  </a:lnTo>
                  <a:lnTo>
                    <a:pt x="83288" y="814046"/>
                  </a:lnTo>
                  <a:lnTo>
                    <a:pt x="86974" y="817742"/>
                  </a:lnTo>
                  <a:lnTo>
                    <a:pt x="90660" y="817742"/>
                  </a:lnTo>
                  <a:lnTo>
                    <a:pt x="94356" y="814046"/>
                  </a:lnTo>
                  <a:lnTo>
                    <a:pt x="94356" y="810360"/>
                  </a:lnTo>
                  <a:lnTo>
                    <a:pt x="98042" y="806664"/>
                  </a:lnTo>
                  <a:lnTo>
                    <a:pt x="105424" y="795596"/>
                  </a:lnTo>
                  <a:lnTo>
                    <a:pt x="112796" y="795596"/>
                  </a:lnTo>
                  <a:lnTo>
                    <a:pt x="112796" y="802978"/>
                  </a:lnTo>
                  <a:lnTo>
                    <a:pt x="116492" y="810360"/>
                  </a:lnTo>
                  <a:lnTo>
                    <a:pt x="120178" y="806664"/>
                  </a:lnTo>
                  <a:lnTo>
                    <a:pt x="127560" y="817742"/>
                  </a:lnTo>
                  <a:lnTo>
                    <a:pt x="131246" y="817742"/>
                  </a:lnTo>
                  <a:lnTo>
                    <a:pt x="134933" y="814046"/>
                  </a:lnTo>
                  <a:lnTo>
                    <a:pt x="138628" y="817742"/>
                  </a:lnTo>
                  <a:lnTo>
                    <a:pt x="142314" y="814046"/>
                  </a:lnTo>
                  <a:lnTo>
                    <a:pt x="146000" y="810360"/>
                  </a:lnTo>
                  <a:lnTo>
                    <a:pt x="146000" y="814046"/>
                  </a:lnTo>
                  <a:lnTo>
                    <a:pt x="146000" y="821428"/>
                  </a:lnTo>
                  <a:lnTo>
                    <a:pt x="149696" y="817742"/>
                  </a:lnTo>
                  <a:lnTo>
                    <a:pt x="153382" y="814046"/>
                  </a:lnTo>
                  <a:lnTo>
                    <a:pt x="153382" y="810360"/>
                  </a:lnTo>
                  <a:lnTo>
                    <a:pt x="157069" y="810360"/>
                  </a:lnTo>
                  <a:lnTo>
                    <a:pt x="160755" y="810360"/>
                  </a:lnTo>
                  <a:lnTo>
                    <a:pt x="168137" y="806664"/>
                  </a:lnTo>
                  <a:lnTo>
                    <a:pt x="168137" y="810360"/>
                  </a:lnTo>
                  <a:lnTo>
                    <a:pt x="168137" y="817742"/>
                  </a:lnTo>
                  <a:lnTo>
                    <a:pt x="175518" y="821428"/>
                  </a:lnTo>
                  <a:lnTo>
                    <a:pt x="175518" y="817742"/>
                  </a:lnTo>
                  <a:lnTo>
                    <a:pt x="179205" y="817742"/>
                  </a:lnTo>
                  <a:lnTo>
                    <a:pt x="182891" y="817742"/>
                  </a:lnTo>
                  <a:lnTo>
                    <a:pt x="182891" y="821428"/>
                  </a:lnTo>
                  <a:lnTo>
                    <a:pt x="190273" y="817742"/>
                  </a:lnTo>
                  <a:lnTo>
                    <a:pt x="193959" y="814046"/>
                  </a:lnTo>
                  <a:lnTo>
                    <a:pt x="197655" y="814046"/>
                  </a:lnTo>
                  <a:lnTo>
                    <a:pt x="201341" y="814046"/>
                  </a:lnTo>
                  <a:lnTo>
                    <a:pt x="205027" y="814046"/>
                  </a:lnTo>
                  <a:lnTo>
                    <a:pt x="208723" y="814046"/>
                  </a:lnTo>
                  <a:lnTo>
                    <a:pt x="212409" y="817742"/>
                  </a:lnTo>
                  <a:lnTo>
                    <a:pt x="219791" y="821428"/>
                  </a:lnTo>
                  <a:lnTo>
                    <a:pt x="223477" y="821428"/>
                  </a:lnTo>
                  <a:lnTo>
                    <a:pt x="223477" y="817742"/>
                  </a:lnTo>
                  <a:lnTo>
                    <a:pt x="230859" y="817742"/>
                  </a:lnTo>
                  <a:lnTo>
                    <a:pt x="234545" y="817742"/>
                  </a:lnTo>
                  <a:lnTo>
                    <a:pt x="234545" y="810360"/>
                  </a:lnTo>
                  <a:lnTo>
                    <a:pt x="238231" y="802978"/>
                  </a:lnTo>
                  <a:lnTo>
                    <a:pt x="227163" y="795596"/>
                  </a:lnTo>
                  <a:lnTo>
                    <a:pt x="223477" y="795596"/>
                  </a:lnTo>
                  <a:lnTo>
                    <a:pt x="219791" y="791910"/>
                  </a:lnTo>
                  <a:lnTo>
                    <a:pt x="219791" y="788214"/>
                  </a:lnTo>
                  <a:lnTo>
                    <a:pt x="216095" y="788214"/>
                  </a:lnTo>
                  <a:lnTo>
                    <a:pt x="212409" y="784528"/>
                  </a:lnTo>
                  <a:lnTo>
                    <a:pt x="212409" y="780832"/>
                  </a:lnTo>
                  <a:lnTo>
                    <a:pt x="212409" y="777146"/>
                  </a:lnTo>
                  <a:lnTo>
                    <a:pt x="216095" y="773450"/>
                  </a:lnTo>
                  <a:lnTo>
                    <a:pt x="219791" y="777146"/>
                  </a:lnTo>
                  <a:lnTo>
                    <a:pt x="227163" y="780832"/>
                  </a:lnTo>
                  <a:lnTo>
                    <a:pt x="230859" y="773450"/>
                  </a:lnTo>
                  <a:lnTo>
                    <a:pt x="234545" y="769764"/>
                  </a:lnTo>
                  <a:lnTo>
                    <a:pt x="234545" y="766069"/>
                  </a:lnTo>
                  <a:lnTo>
                    <a:pt x="238231" y="766069"/>
                  </a:lnTo>
                  <a:lnTo>
                    <a:pt x="234545" y="762382"/>
                  </a:lnTo>
                  <a:lnTo>
                    <a:pt x="234545" y="758687"/>
                  </a:lnTo>
                  <a:lnTo>
                    <a:pt x="230859" y="755000"/>
                  </a:lnTo>
                  <a:lnTo>
                    <a:pt x="230859" y="751305"/>
                  </a:lnTo>
                  <a:lnTo>
                    <a:pt x="230859" y="747619"/>
                  </a:lnTo>
                  <a:lnTo>
                    <a:pt x="234545" y="743932"/>
                  </a:lnTo>
                  <a:lnTo>
                    <a:pt x="241917" y="743932"/>
                  </a:lnTo>
                  <a:lnTo>
                    <a:pt x="245613" y="740237"/>
                  </a:lnTo>
                  <a:lnTo>
                    <a:pt x="249299" y="740237"/>
                  </a:lnTo>
                  <a:lnTo>
                    <a:pt x="249299" y="736551"/>
                  </a:lnTo>
                  <a:lnTo>
                    <a:pt x="252985" y="736551"/>
                  </a:lnTo>
                  <a:lnTo>
                    <a:pt x="252985" y="740237"/>
                  </a:lnTo>
                  <a:lnTo>
                    <a:pt x="260367" y="743932"/>
                  </a:lnTo>
                  <a:lnTo>
                    <a:pt x="260367" y="736551"/>
                  </a:lnTo>
                  <a:lnTo>
                    <a:pt x="260367" y="732855"/>
                  </a:lnTo>
                  <a:lnTo>
                    <a:pt x="264053" y="732855"/>
                  </a:lnTo>
                  <a:lnTo>
                    <a:pt x="264053" y="729169"/>
                  </a:lnTo>
                  <a:lnTo>
                    <a:pt x="267749" y="725473"/>
                  </a:lnTo>
                  <a:lnTo>
                    <a:pt x="267749" y="718091"/>
                  </a:lnTo>
                  <a:lnTo>
                    <a:pt x="264053" y="714405"/>
                  </a:lnTo>
                  <a:lnTo>
                    <a:pt x="264053" y="718091"/>
                  </a:lnTo>
                  <a:lnTo>
                    <a:pt x="260367" y="710709"/>
                  </a:lnTo>
                  <a:lnTo>
                    <a:pt x="260367" y="707023"/>
                  </a:lnTo>
                  <a:lnTo>
                    <a:pt x="260367" y="703327"/>
                  </a:lnTo>
                  <a:lnTo>
                    <a:pt x="264053" y="699641"/>
                  </a:lnTo>
                  <a:lnTo>
                    <a:pt x="264053" y="695955"/>
                  </a:lnTo>
                  <a:lnTo>
                    <a:pt x="267749" y="692259"/>
                  </a:lnTo>
                  <a:lnTo>
                    <a:pt x="267749" y="688573"/>
                  </a:lnTo>
                  <a:lnTo>
                    <a:pt x="264053" y="684877"/>
                  </a:lnTo>
                  <a:lnTo>
                    <a:pt x="260367" y="684877"/>
                  </a:lnTo>
                  <a:lnTo>
                    <a:pt x="256681" y="684877"/>
                  </a:lnTo>
                  <a:lnTo>
                    <a:pt x="249299" y="684877"/>
                  </a:lnTo>
                  <a:lnTo>
                    <a:pt x="249299" y="681191"/>
                  </a:lnTo>
                  <a:lnTo>
                    <a:pt x="249299" y="677496"/>
                  </a:lnTo>
                  <a:lnTo>
                    <a:pt x="245613" y="681191"/>
                  </a:lnTo>
                  <a:lnTo>
                    <a:pt x="241917" y="677496"/>
                  </a:lnTo>
                  <a:lnTo>
                    <a:pt x="230859" y="673809"/>
                  </a:lnTo>
                  <a:lnTo>
                    <a:pt x="230859" y="666428"/>
                  </a:lnTo>
                  <a:lnTo>
                    <a:pt x="230859" y="662732"/>
                  </a:lnTo>
                  <a:lnTo>
                    <a:pt x="223477" y="659046"/>
                  </a:lnTo>
                  <a:lnTo>
                    <a:pt x="227163" y="655350"/>
                  </a:lnTo>
                  <a:lnTo>
                    <a:pt x="230859" y="655350"/>
                  </a:lnTo>
                  <a:lnTo>
                    <a:pt x="230859" y="651664"/>
                  </a:lnTo>
                  <a:lnTo>
                    <a:pt x="234545" y="636900"/>
                  </a:lnTo>
                  <a:lnTo>
                    <a:pt x="230859" y="636900"/>
                  </a:lnTo>
                  <a:lnTo>
                    <a:pt x="216095" y="636900"/>
                  </a:lnTo>
                  <a:lnTo>
                    <a:pt x="212409" y="636900"/>
                  </a:lnTo>
                  <a:lnTo>
                    <a:pt x="208723" y="640596"/>
                  </a:lnTo>
                  <a:lnTo>
                    <a:pt x="205027" y="640596"/>
                  </a:lnTo>
                  <a:lnTo>
                    <a:pt x="201341" y="636900"/>
                  </a:lnTo>
                  <a:lnTo>
                    <a:pt x="201341" y="633214"/>
                  </a:lnTo>
                  <a:lnTo>
                    <a:pt x="197655" y="633214"/>
                  </a:lnTo>
                  <a:lnTo>
                    <a:pt x="190273" y="636900"/>
                  </a:lnTo>
                  <a:lnTo>
                    <a:pt x="186587" y="636900"/>
                  </a:lnTo>
                  <a:lnTo>
                    <a:pt x="182891" y="640596"/>
                  </a:lnTo>
                  <a:lnTo>
                    <a:pt x="179205" y="640596"/>
                  </a:lnTo>
                  <a:lnTo>
                    <a:pt x="175518" y="644282"/>
                  </a:lnTo>
                  <a:lnTo>
                    <a:pt x="171823" y="644282"/>
                  </a:lnTo>
                  <a:lnTo>
                    <a:pt x="168137" y="640596"/>
                  </a:lnTo>
                  <a:lnTo>
                    <a:pt x="175518" y="633214"/>
                  </a:lnTo>
                  <a:lnTo>
                    <a:pt x="175518" y="622136"/>
                  </a:lnTo>
                  <a:lnTo>
                    <a:pt x="171823" y="622136"/>
                  </a:lnTo>
                  <a:lnTo>
                    <a:pt x="168137" y="618450"/>
                  </a:lnTo>
                  <a:lnTo>
                    <a:pt x="168137" y="614754"/>
                  </a:lnTo>
                  <a:lnTo>
                    <a:pt x="164450" y="614754"/>
                  </a:lnTo>
                  <a:lnTo>
                    <a:pt x="164450" y="611068"/>
                  </a:lnTo>
                  <a:lnTo>
                    <a:pt x="160755" y="611068"/>
                  </a:lnTo>
                  <a:lnTo>
                    <a:pt x="160755" y="607373"/>
                  </a:lnTo>
                  <a:lnTo>
                    <a:pt x="160755" y="603686"/>
                  </a:lnTo>
                  <a:lnTo>
                    <a:pt x="160755" y="600000"/>
                  </a:lnTo>
                  <a:lnTo>
                    <a:pt x="160755" y="592618"/>
                  </a:lnTo>
                  <a:lnTo>
                    <a:pt x="157069" y="588923"/>
                  </a:lnTo>
                  <a:lnTo>
                    <a:pt x="153382" y="581541"/>
                  </a:lnTo>
                  <a:lnTo>
                    <a:pt x="157069" y="581541"/>
                  </a:lnTo>
                  <a:lnTo>
                    <a:pt x="164450" y="581541"/>
                  </a:lnTo>
                  <a:lnTo>
                    <a:pt x="168137" y="581541"/>
                  </a:lnTo>
                  <a:lnTo>
                    <a:pt x="168137" y="577854"/>
                  </a:lnTo>
                  <a:lnTo>
                    <a:pt x="175518" y="574159"/>
                  </a:lnTo>
                  <a:lnTo>
                    <a:pt x="179205" y="570473"/>
                  </a:lnTo>
                  <a:lnTo>
                    <a:pt x="179205" y="574159"/>
                  </a:lnTo>
                  <a:lnTo>
                    <a:pt x="186587" y="585236"/>
                  </a:lnTo>
                  <a:lnTo>
                    <a:pt x="190273" y="592618"/>
                  </a:lnTo>
                  <a:lnTo>
                    <a:pt x="190273" y="596304"/>
                  </a:lnTo>
                  <a:lnTo>
                    <a:pt x="193959" y="592618"/>
                  </a:lnTo>
                  <a:lnTo>
                    <a:pt x="197655" y="592618"/>
                  </a:lnTo>
                  <a:lnTo>
                    <a:pt x="197655" y="596304"/>
                  </a:lnTo>
                  <a:lnTo>
                    <a:pt x="201341" y="596304"/>
                  </a:lnTo>
                  <a:lnTo>
                    <a:pt x="201341" y="592618"/>
                  </a:lnTo>
                  <a:lnTo>
                    <a:pt x="205027" y="588923"/>
                  </a:lnTo>
                  <a:lnTo>
                    <a:pt x="205027" y="585236"/>
                  </a:lnTo>
                  <a:lnTo>
                    <a:pt x="208723" y="581541"/>
                  </a:lnTo>
                  <a:lnTo>
                    <a:pt x="208723" y="577854"/>
                  </a:lnTo>
                  <a:lnTo>
                    <a:pt x="208723" y="574159"/>
                  </a:lnTo>
                  <a:lnTo>
                    <a:pt x="212409" y="570473"/>
                  </a:lnTo>
                  <a:lnTo>
                    <a:pt x="212409" y="566777"/>
                  </a:lnTo>
                  <a:lnTo>
                    <a:pt x="216095" y="563091"/>
                  </a:lnTo>
                  <a:lnTo>
                    <a:pt x="216095" y="559395"/>
                  </a:lnTo>
                  <a:lnTo>
                    <a:pt x="219791" y="555709"/>
                  </a:lnTo>
                  <a:lnTo>
                    <a:pt x="227163" y="552023"/>
                  </a:lnTo>
                  <a:lnTo>
                    <a:pt x="230859" y="548327"/>
                  </a:lnTo>
                  <a:lnTo>
                    <a:pt x="238231" y="544641"/>
                  </a:lnTo>
                  <a:lnTo>
                    <a:pt x="241917" y="544641"/>
                  </a:lnTo>
                  <a:lnTo>
                    <a:pt x="245613" y="540945"/>
                  </a:lnTo>
                  <a:lnTo>
                    <a:pt x="249299" y="537259"/>
                  </a:lnTo>
                  <a:lnTo>
                    <a:pt x="249299" y="533563"/>
                  </a:lnTo>
                  <a:lnTo>
                    <a:pt x="252985" y="529877"/>
                  </a:lnTo>
                  <a:lnTo>
                    <a:pt x="256681" y="529877"/>
                  </a:lnTo>
                  <a:lnTo>
                    <a:pt x="260367" y="529877"/>
                  </a:lnTo>
                  <a:lnTo>
                    <a:pt x="264053" y="526181"/>
                  </a:lnTo>
                  <a:lnTo>
                    <a:pt x="264053" y="522495"/>
                  </a:lnTo>
                  <a:lnTo>
                    <a:pt x="264053" y="518799"/>
                  </a:lnTo>
                  <a:lnTo>
                    <a:pt x="267749" y="515113"/>
                  </a:lnTo>
                  <a:lnTo>
                    <a:pt x="271435" y="515113"/>
                  </a:lnTo>
                  <a:lnTo>
                    <a:pt x="275121" y="515113"/>
                  </a:lnTo>
                  <a:lnTo>
                    <a:pt x="278817" y="511427"/>
                  </a:lnTo>
                  <a:lnTo>
                    <a:pt x="282503" y="511427"/>
                  </a:lnTo>
                  <a:lnTo>
                    <a:pt x="282503" y="507731"/>
                  </a:lnTo>
                  <a:lnTo>
                    <a:pt x="289885" y="507731"/>
                  </a:lnTo>
                  <a:lnTo>
                    <a:pt x="293571" y="504045"/>
                  </a:lnTo>
                  <a:lnTo>
                    <a:pt x="297258" y="504045"/>
                  </a:lnTo>
                  <a:lnTo>
                    <a:pt x="304639" y="504045"/>
                  </a:lnTo>
                  <a:lnTo>
                    <a:pt x="300944" y="500350"/>
                  </a:lnTo>
                  <a:lnTo>
                    <a:pt x="304639" y="500350"/>
                  </a:lnTo>
                  <a:lnTo>
                    <a:pt x="308326" y="496663"/>
                  </a:lnTo>
                  <a:lnTo>
                    <a:pt x="293571" y="485586"/>
                  </a:lnTo>
                  <a:lnTo>
                    <a:pt x="289885" y="485586"/>
                  </a:lnTo>
                  <a:lnTo>
                    <a:pt x="312012" y="474518"/>
                  </a:lnTo>
                  <a:lnTo>
                    <a:pt x="304639" y="467136"/>
                  </a:lnTo>
                  <a:lnTo>
                    <a:pt x="282503" y="478204"/>
                  </a:lnTo>
                  <a:lnTo>
                    <a:pt x="278817" y="481900"/>
                  </a:lnTo>
                  <a:lnTo>
                    <a:pt x="275121" y="485586"/>
                  </a:lnTo>
                  <a:lnTo>
                    <a:pt x="271435" y="485586"/>
                  </a:lnTo>
                  <a:lnTo>
                    <a:pt x="267749" y="485586"/>
                  </a:lnTo>
                  <a:lnTo>
                    <a:pt x="260367" y="485586"/>
                  </a:lnTo>
                  <a:lnTo>
                    <a:pt x="260367" y="481900"/>
                  </a:lnTo>
                  <a:lnTo>
                    <a:pt x="256681" y="478204"/>
                  </a:lnTo>
                  <a:lnTo>
                    <a:pt x="256681" y="452372"/>
                  </a:lnTo>
                  <a:lnTo>
                    <a:pt x="252985" y="448686"/>
                  </a:lnTo>
                  <a:lnTo>
                    <a:pt x="256681" y="444990"/>
                  </a:lnTo>
                  <a:lnTo>
                    <a:pt x="264053" y="444990"/>
                  </a:lnTo>
                  <a:lnTo>
                    <a:pt x="256681" y="430227"/>
                  </a:lnTo>
                  <a:lnTo>
                    <a:pt x="264053" y="426540"/>
                  </a:lnTo>
                  <a:lnTo>
                    <a:pt x="267749" y="419158"/>
                  </a:lnTo>
                  <a:lnTo>
                    <a:pt x="282503" y="404395"/>
                  </a:lnTo>
                  <a:lnTo>
                    <a:pt x="282503" y="400709"/>
                  </a:lnTo>
                  <a:lnTo>
                    <a:pt x="286189" y="397013"/>
                  </a:lnTo>
                  <a:lnTo>
                    <a:pt x="293571" y="385945"/>
                  </a:lnTo>
                  <a:lnTo>
                    <a:pt x="297258" y="378563"/>
                  </a:lnTo>
                  <a:lnTo>
                    <a:pt x="297258" y="374867"/>
                  </a:lnTo>
                  <a:lnTo>
                    <a:pt x="300944" y="371181"/>
                  </a:lnTo>
                  <a:lnTo>
                    <a:pt x="300944" y="367495"/>
                  </a:lnTo>
                  <a:lnTo>
                    <a:pt x="300944" y="363799"/>
                  </a:lnTo>
                  <a:lnTo>
                    <a:pt x="304639" y="360113"/>
                  </a:lnTo>
                  <a:lnTo>
                    <a:pt x="304639" y="356417"/>
                  </a:lnTo>
                  <a:lnTo>
                    <a:pt x="308326" y="356417"/>
                  </a:lnTo>
                  <a:lnTo>
                    <a:pt x="312012" y="356417"/>
                  </a:lnTo>
                  <a:lnTo>
                    <a:pt x="315707" y="356417"/>
                  </a:lnTo>
                  <a:lnTo>
                    <a:pt x="315707" y="352731"/>
                  </a:lnTo>
                  <a:lnTo>
                    <a:pt x="334148" y="334272"/>
                  </a:lnTo>
                  <a:lnTo>
                    <a:pt x="330462" y="323204"/>
                  </a:lnTo>
                  <a:lnTo>
                    <a:pt x="326775" y="315822"/>
                  </a:lnTo>
                  <a:lnTo>
                    <a:pt x="326775" y="312136"/>
                  </a:lnTo>
                  <a:lnTo>
                    <a:pt x="330462" y="308440"/>
                  </a:lnTo>
                  <a:lnTo>
                    <a:pt x="334148" y="304754"/>
                  </a:lnTo>
                  <a:lnTo>
                    <a:pt x="323080" y="304754"/>
                  </a:lnTo>
                  <a:lnTo>
                    <a:pt x="323080" y="301058"/>
                  </a:lnTo>
                  <a:lnTo>
                    <a:pt x="326775" y="278912"/>
                  </a:lnTo>
                  <a:lnTo>
                    <a:pt x="326775" y="267844"/>
                  </a:lnTo>
                  <a:lnTo>
                    <a:pt x="330462" y="267844"/>
                  </a:lnTo>
                  <a:lnTo>
                    <a:pt x="326775" y="260462"/>
                  </a:lnTo>
                  <a:lnTo>
                    <a:pt x="330462" y="256776"/>
                  </a:lnTo>
                  <a:lnTo>
                    <a:pt x="330462" y="245699"/>
                  </a:lnTo>
                  <a:lnTo>
                    <a:pt x="326775" y="238317"/>
                  </a:lnTo>
                  <a:lnTo>
                    <a:pt x="323080" y="230935"/>
                  </a:lnTo>
                  <a:lnTo>
                    <a:pt x="326775" y="223563"/>
                  </a:lnTo>
                  <a:lnTo>
                    <a:pt x="323080" y="219867"/>
                  </a:lnTo>
                  <a:lnTo>
                    <a:pt x="323080" y="212485"/>
                  </a:lnTo>
                  <a:lnTo>
                    <a:pt x="323080" y="208799"/>
                  </a:lnTo>
                  <a:lnTo>
                    <a:pt x="319394" y="201417"/>
                  </a:lnTo>
                  <a:lnTo>
                    <a:pt x="312012" y="197721"/>
                  </a:lnTo>
                  <a:lnTo>
                    <a:pt x="304639" y="194035"/>
                  </a:lnTo>
                  <a:lnTo>
                    <a:pt x="297258" y="171890"/>
                  </a:lnTo>
                  <a:lnTo>
                    <a:pt x="289885" y="168203"/>
                  </a:lnTo>
                  <a:lnTo>
                    <a:pt x="286189" y="164508"/>
                  </a:lnTo>
                  <a:lnTo>
                    <a:pt x="282503" y="160821"/>
                  </a:lnTo>
                  <a:lnTo>
                    <a:pt x="278817" y="153439"/>
                  </a:lnTo>
                  <a:lnTo>
                    <a:pt x="278817" y="149744"/>
                  </a:lnTo>
                  <a:lnTo>
                    <a:pt x="275121" y="149744"/>
                  </a:lnTo>
                  <a:lnTo>
                    <a:pt x="264053" y="142362"/>
                  </a:lnTo>
                  <a:lnTo>
                    <a:pt x="264053" y="134980"/>
                  </a:lnTo>
                  <a:lnTo>
                    <a:pt x="264053" y="127608"/>
                  </a:lnTo>
                  <a:lnTo>
                    <a:pt x="267749" y="127608"/>
                  </a:lnTo>
                  <a:lnTo>
                    <a:pt x="267749" y="123912"/>
                  </a:lnTo>
                  <a:lnTo>
                    <a:pt x="271435" y="112844"/>
                  </a:lnTo>
                  <a:lnTo>
                    <a:pt x="271435" y="109148"/>
                  </a:lnTo>
                  <a:lnTo>
                    <a:pt x="275121" y="105462"/>
                  </a:lnTo>
                  <a:lnTo>
                    <a:pt x="275121" y="101766"/>
                  </a:lnTo>
                  <a:lnTo>
                    <a:pt x="267749" y="98080"/>
                  </a:lnTo>
                  <a:lnTo>
                    <a:pt x="264053" y="98080"/>
                  </a:lnTo>
                  <a:lnTo>
                    <a:pt x="260367" y="98080"/>
                  </a:lnTo>
                  <a:lnTo>
                    <a:pt x="260367" y="94384"/>
                  </a:lnTo>
                  <a:lnTo>
                    <a:pt x="256681" y="94384"/>
                  </a:lnTo>
                  <a:lnTo>
                    <a:pt x="252985" y="94384"/>
                  </a:lnTo>
                  <a:lnTo>
                    <a:pt x="234545" y="87003"/>
                  </a:lnTo>
                  <a:lnTo>
                    <a:pt x="230859" y="83316"/>
                  </a:lnTo>
                  <a:lnTo>
                    <a:pt x="230859" y="79630"/>
                  </a:lnTo>
                  <a:lnTo>
                    <a:pt x="230859" y="75935"/>
                  </a:lnTo>
                  <a:lnTo>
                    <a:pt x="234545" y="72248"/>
                  </a:lnTo>
                  <a:lnTo>
                    <a:pt x="230859" y="68553"/>
                  </a:lnTo>
                  <a:lnTo>
                    <a:pt x="230859" y="64867"/>
                  </a:lnTo>
                  <a:lnTo>
                    <a:pt x="230859" y="57485"/>
                  </a:lnTo>
                  <a:lnTo>
                    <a:pt x="234545" y="57485"/>
                  </a:lnTo>
                  <a:lnTo>
                    <a:pt x="238231" y="57485"/>
                  </a:lnTo>
                  <a:lnTo>
                    <a:pt x="238231" y="53789"/>
                  </a:lnTo>
                  <a:lnTo>
                    <a:pt x="234545" y="53789"/>
                  </a:lnTo>
                  <a:lnTo>
                    <a:pt x="234545" y="50103"/>
                  </a:lnTo>
                  <a:lnTo>
                    <a:pt x="234545" y="46407"/>
                  </a:lnTo>
                  <a:lnTo>
                    <a:pt x="230859" y="46407"/>
                  </a:lnTo>
                  <a:lnTo>
                    <a:pt x="219791" y="39025"/>
                  </a:lnTo>
                  <a:lnTo>
                    <a:pt x="216095" y="35339"/>
                  </a:lnTo>
                  <a:lnTo>
                    <a:pt x="208723" y="35339"/>
                  </a:lnTo>
                  <a:lnTo>
                    <a:pt x="205027" y="35339"/>
                  </a:lnTo>
                  <a:lnTo>
                    <a:pt x="193959" y="35339"/>
                  </a:lnTo>
                  <a:lnTo>
                    <a:pt x="193959" y="31653"/>
                  </a:lnTo>
                  <a:lnTo>
                    <a:pt x="190273" y="35339"/>
                  </a:lnTo>
                  <a:lnTo>
                    <a:pt x="186587" y="35339"/>
                  </a:lnTo>
                  <a:lnTo>
                    <a:pt x="182891" y="31653"/>
                  </a:lnTo>
                  <a:lnTo>
                    <a:pt x="182891" y="27957"/>
                  </a:lnTo>
                  <a:lnTo>
                    <a:pt x="179205" y="27957"/>
                  </a:lnTo>
                  <a:lnTo>
                    <a:pt x="175518" y="24271"/>
                  </a:lnTo>
                  <a:lnTo>
                    <a:pt x="175518" y="20575"/>
                  </a:lnTo>
                  <a:lnTo>
                    <a:pt x="171823" y="16889"/>
                  </a:lnTo>
                  <a:lnTo>
                    <a:pt x="171823" y="13193"/>
                  </a:lnTo>
                  <a:lnTo>
                    <a:pt x="168137" y="9507"/>
                  </a:lnTo>
                  <a:lnTo>
                    <a:pt x="164450" y="5812"/>
                  </a:lnTo>
                  <a:lnTo>
                    <a:pt x="160755" y="5812"/>
                  </a:lnTo>
                  <a:lnTo>
                    <a:pt x="153382" y="5812"/>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05" name="Freeform: Shape 104">
              <a:extLst>
                <a:ext uri="{FF2B5EF4-FFF2-40B4-BE49-F238E27FC236}">
                  <a16:creationId xmlns:a16="http://schemas.microsoft.com/office/drawing/2014/main" id="{34DA50C4-5E2C-41DB-885E-8F99CDC2812E}"/>
                </a:ext>
              </a:extLst>
            </p:cNvPr>
            <p:cNvSpPr/>
            <p:nvPr/>
          </p:nvSpPr>
          <p:spPr>
            <a:xfrm>
              <a:off x="5541727" y="2887300"/>
              <a:ext cx="808670" cy="659707"/>
            </a:xfrm>
            <a:custGeom>
              <a:avLst/>
              <a:gdLst>
                <a:gd name="connsiteX0" fmla="*/ 256678 w 361950"/>
                <a:gd name="connsiteY0" fmla="*/ 5812 h 295275"/>
                <a:gd name="connsiteX1" fmla="*/ 252982 w 361950"/>
                <a:gd name="connsiteY1" fmla="*/ 9502 h 295275"/>
                <a:gd name="connsiteX2" fmla="*/ 227160 w 361950"/>
                <a:gd name="connsiteY2" fmla="*/ 16882 h 295275"/>
                <a:gd name="connsiteX3" fmla="*/ 223474 w 361950"/>
                <a:gd name="connsiteY3" fmla="*/ 16882 h 295275"/>
                <a:gd name="connsiteX4" fmla="*/ 219788 w 361950"/>
                <a:gd name="connsiteY4" fmla="*/ 20573 h 295275"/>
                <a:gd name="connsiteX5" fmla="*/ 190270 w 361950"/>
                <a:gd name="connsiteY5" fmla="*/ 46407 h 295275"/>
                <a:gd name="connsiteX6" fmla="*/ 190270 w 361950"/>
                <a:gd name="connsiteY6" fmla="*/ 50098 h 295275"/>
                <a:gd name="connsiteX7" fmla="*/ 186584 w 361950"/>
                <a:gd name="connsiteY7" fmla="*/ 50098 h 295275"/>
                <a:gd name="connsiteX8" fmla="*/ 171820 w 361950"/>
                <a:gd name="connsiteY8" fmla="*/ 50098 h 295275"/>
                <a:gd name="connsiteX9" fmla="*/ 168134 w 361950"/>
                <a:gd name="connsiteY9" fmla="*/ 50098 h 295275"/>
                <a:gd name="connsiteX10" fmla="*/ 168134 w 361950"/>
                <a:gd name="connsiteY10" fmla="*/ 53788 h 295275"/>
                <a:gd name="connsiteX11" fmla="*/ 164448 w 361950"/>
                <a:gd name="connsiteY11" fmla="*/ 64860 h 295275"/>
                <a:gd name="connsiteX12" fmla="*/ 164448 w 361950"/>
                <a:gd name="connsiteY12" fmla="*/ 61170 h 295275"/>
                <a:gd name="connsiteX13" fmla="*/ 160761 w 361950"/>
                <a:gd name="connsiteY13" fmla="*/ 68551 h 295275"/>
                <a:gd name="connsiteX14" fmla="*/ 160761 w 361950"/>
                <a:gd name="connsiteY14" fmla="*/ 72242 h 295275"/>
                <a:gd name="connsiteX15" fmla="*/ 160761 w 361950"/>
                <a:gd name="connsiteY15" fmla="*/ 75932 h 295275"/>
                <a:gd name="connsiteX16" fmla="*/ 160761 w 361950"/>
                <a:gd name="connsiteY16" fmla="*/ 79623 h 295275"/>
                <a:gd name="connsiteX17" fmla="*/ 160761 w 361950"/>
                <a:gd name="connsiteY17" fmla="*/ 83313 h 295275"/>
                <a:gd name="connsiteX18" fmla="*/ 153380 w 361950"/>
                <a:gd name="connsiteY18" fmla="*/ 87004 h 295275"/>
                <a:gd name="connsiteX19" fmla="*/ 149693 w 361950"/>
                <a:gd name="connsiteY19" fmla="*/ 87004 h 295275"/>
                <a:gd name="connsiteX20" fmla="*/ 145998 w 361950"/>
                <a:gd name="connsiteY20" fmla="*/ 90695 h 295275"/>
                <a:gd name="connsiteX21" fmla="*/ 142312 w 361950"/>
                <a:gd name="connsiteY21" fmla="*/ 98075 h 295275"/>
                <a:gd name="connsiteX22" fmla="*/ 138625 w 361950"/>
                <a:gd name="connsiteY22" fmla="*/ 98075 h 295275"/>
                <a:gd name="connsiteX23" fmla="*/ 134930 w 361950"/>
                <a:gd name="connsiteY23" fmla="*/ 98075 h 295275"/>
                <a:gd name="connsiteX24" fmla="*/ 134930 w 361950"/>
                <a:gd name="connsiteY24" fmla="*/ 101765 h 295275"/>
                <a:gd name="connsiteX25" fmla="*/ 72217 w 361950"/>
                <a:gd name="connsiteY25" fmla="*/ 142362 h 295275"/>
                <a:gd name="connsiteX26" fmla="*/ 61149 w 361950"/>
                <a:gd name="connsiteY26" fmla="*/ 149743 h 295275"/>
                <a:gd name="connsiteX27" fmla="*/ 61149 w 361950"/>
                <a:gd name="connsiteY27" fmla="*/ 153434 h 295275"/>
                <a:gd name="connsiteX28" fmla="*/ 57460 w 361950"/>
                <a:gd name="connsiteY28" fmla="*/ 153434 h 295275"/>
                <a:gd name="connsiteX29" fmla="*/ 57460 w 361950"/>
                <a:gd name="connsiteY29" fmla="*/ 157125 h 295275"/>
                <a:gd name="connsiteX30" fmla="*/ 53771 w 361950"/>
                <a:gd name="connsiteY30" fmla="*/ 157125 h 295275"/>
                <a:gd name="connsiteX31" fmla="*/ 51580 w 361950"/>
                <a:gd name="connsiteY31" fmla="*/ 157125 h 295275"/>
                <a:gd name="connsiteX32" fmla="*/ 27947 w 361950"/>
                <a:gd name="connsiteY32" fmla="*/ 171887 h 295275"/>
                <a:gd name="connsiteX33" fmla="*/ 24257 w 361950"/>
                <a:gd name="connsiteY33" fmla="*/ 175578 h 295275"/>
                <a:gd name="connsiteX34" fmla="*/ 9501 w 361950"/>
                <a:gd name="connsiteY34" fmla="*/ 186648 h 295275"/>
                <a:gd name="connsiteX35" fmla="*/ 5812 w 361950"/>
                <a:gd name="connsiteY35" fmla="*/ 186648 h 295275"/>
                <a:gd name="connsiteX36" fmla="*/ 5812 w 361950"/>
                <a:gd name="connsiteY36" fmla="*/ 190339 h 295275"/>
                <a:gd name="connsiteX37" fmla="*/ 13190 w 361950"/>
                <a:gd name="connsiteY37" fmla="*/ 197723 h 295275"/>
                <a:gd name="connsiteX38" fmla="*/ 13190 w 361950"/>
                <a:gd name="connsiteY38" fmla="*/ 205105 h 295275"/>
                <a:gd name="connsiteX39" fmla="*/ 13190 w 361950"/>
                <a:gd name="connsiteY39" fmla="*/ 216173 h 295275"/>
                <a:gd name="connsiteX40" fmla="*/ 9501 w 361950"/>
                <a:gd name="connsiteY40" fmla="*/ 219869 h 295275"/>
                <a:gd name="connsiteX41" fmla="*/ 13190 w 361950"/>
                <a:gd name="connsiteY41" fmla="*/ 219869 h 295275"/>
                <a:gd name="connsiteX42" fmla="*/ 16879 w 361950"/>
                <a:gd name="connsiteY42" fmla="*/ 227241 h 295275"/>
                <a:gd name="connsiteX43" fmla="*/ 13190 w 361950"/>
                <a:gd name="connsiteY43" fmla="*/ 227241 h 295275"/>
                <a:gd name="connsiteX44" fmla="*/ 16879 w 361950"/>
                <a:gd name="connsiteY44" fmla="*/ 230937 h 295275"/>
                <a:gd name="connsiteX45" fmla="*/ 20568 w 361950"/>
                <a:gd name="connsiteY45" fmla="*/ 227241 h 295275"/>
                <a:gd name="connsiteX46" fmla="*/ 24257 w 361950"/>
                <a:gd name="connsiteY46" fmla="*/ 227241 h 295275"/>
                <a:gd name="connsiteX47" fmla="*/ 39014 w 361950"/>
                <a:gd name="connsiteY47" fmla="*/ 223555 h 295275"/>
                <a:gd name="connsiteX48" fmla="*/ 42703 w 361950"/>
                <a:gd name="connsiteY48" fmla="*/ 223555 h 295275"/>
                <a:gd name="connsiteX49" fmla="*/ 46392 w 361950"/>
                <a:gd name="connsiteY49" fmla="*/ 223555 h 295275"/>
                <a:gd name="connsiteX50" fmla="*/ 50082 w 361950"/>
                <a:gd name="connsiteY50" fmla="*/ 227241 h 295275"/>
                <a:gd name="connsiteX51" fmla="*/ 53771 w 361950"/>
                <a:gd name="connsiteY51" fmla="*/ 227241 h 295275"/>
                <a:gd name="connsiteX52" fmla="*/ 57460 w 361950"/>
                <a:gd name="connsiteY52" fmla="*/ 227241 h 295275"/>
                <a:gd name="connsiteX53" fmla="*/ 64838 w 361950"/>
                <a:gd name="connsiteY53" fmla="*/ 227241 h 295275"/>
                <a:gd name="connsiteX54" fmla="*/ 75903 w 361950"/>
                <a:gd name="connsiteY54" fmla="*/ 230937 h 295275"/>
                <a:gd name="connsiteX55" fmla="*/ 83285 w 361950"/>
                <a:gd name="connsiteY55" fmla="*/ 238319 h 295275"/>
                <a:gd name="connsiteX56" fmla="*/ 94353 w 361950"/>
                <a:gd name="connsiteY56" fmla="*/ 242005 h 295275"/>
                <a:gd name="connsiteX57" fmla="*/ 101725 w 361950"/>
                <a:gd name="connsiteY57" fmla="*/ 249387 h 295275"/>
                <a:gd name="connsiteX58" fmla="*/ 134930 w 361950"/>
                <a:gd name="connsiteY58" fmla="*/ 278914 h 295275"/>
                <a:gd name="connsiteX59" fmla="*/ 138625 w 361950"/>
                <a:gd name="connsiteY59" fmla="*/ 286296 h 295275"/>
                <a:gd name="connsiteX60" fmla="*/ 142312 w 361950"/>
                <a:gd name="connsiteY60" fmla="*/ 286296 h 295275"/>
                <a:gd name="connsiteX61" fmla="*/ 149693 w 361950"/>
                <a:gd name="connsiteY61" fmla="*/ 289982 h 295275"/>
                <a:gd name="connsiteX62" fmla="*/ 157066 w 361950"/>
                <a:gd name="connsiteY62" fmla="*/ 286296 h 295275"/>
                <a:gd name="connsiteX63" fmla="*/ 175516 w 361950"/>
                <a:gd name="connsiteY63" fmla="*/ 278914 h 295275"/>
                <a:gd name="connsiteX64" fmla="*/ 179202 w 361950"/>
                <a:gd name="connsiteY64" fmla="*/ 278914 h 295275"/>
                <a:gd name="connsiteX65" fmla="*/ 186584 w 361950"/>
                <a:gd name="connsiteY65" fmla="*/ 278914 h 295275"/>
                <a:gd name="connsiteX66" fmla="*/ 190270 w 361950"/>
                <a:gd name="connsiteY66" fmla="*/ 275219 h 295275"/>
                <a:gd name="connsiteX67" fmla="*/ 201338 w 361950"/>
                <a:gd name="connsiteY67" fmla="*/ 271532 h 295275"/>
                <a:gd name="connsiteX68" fmla="*/ 205024 w 361950"/>
                <a:gd name="connsiteY68" fmla="*/ 271532 h 295275"/>
                <a:gd name="connsiteX69" fmla="*/ 208720 w 361950"/>
                <a:gd name="connsiteY69" fmla="*/ 256769 h 295275"/>
                <a:gd name="connsiteX70" fmla="*/ 212406 w 361950"/>
                <a:gd name="connsiteY70" fmla="*/ 253082 h 295275"/>
                <a:gd name="connsiteX71" fmla="*/ 212406 w 361950"/>
                <a:gd name="connsiteY71" fmla="*/ 242005 h 295275"/>
                <a:gd name="connsiteX72" fmla="*/ 216092 w 361950"/>
                <a:gd name="connsiteY72" fmla="*/ 242005 h 295275"/>
                <a:gd name="connsiteX73" fmla="*/ 216092 w 361950"/>
                <a:gd name="connsiteY73" fmla="*/ 234623 h 295275"/>
                <a:gd name="connsiteX74" fmla="*/ 216092 w 361950"/>
                <a:gd name="connsiteY74" fmla="*/ 230937 h 295275"/>
                <a:gd name="connsiteX75" fmla="*/ 216092 w 361950"/>
                <a:gd name="connsiteY75" fmla="*/ 227241 h 295275"/>
                <a:gd name="connsiteX76" fmla="*/ 216092 w 361950"/>
                <a:gd name="connsiteY76" fmla="*/ 223555 h 295275"/>
                <a:gd name="connsiteX77" fmla="*/ 212406 w 361950"/>
                <a:gd name="connsiteY77" fmla="*/ 223555 h 295275"/>
                <a:gd name="connsiteX78" fmla="*/ 212406 w 361950"/>
                <a:gd name="connsiteY78" fmla="*/ 219869 h 295275"/>
                <a:gd name="connsiteX79" fmla="*/ 208720 w 361950"/>
                <a:gd name="connsiteY79" fmla="*/ 212487 h 295275"/>
                <a:gd name="connsiteX80" fmla="*/ 212406 w 361950"/>
                <a:gd name="connsiteY80" fmla="*/ 208791 h 295275"/>
                <a:gd name="connsiteX81" fmla="*/ 223474 w 361950"/>
                <a:gd name="connsiteY81" fmla="*/ 197723 h 295275"/>
                <a:gd name="connsiteX82" fmla="*/ 230856 w 361950"/>
                <a:gd name="connsiteY82" fmla="*/ 201409 h 295275"/>
                <a:gd name="connsiteX83" fmla="*/ 241914 w 361950"/>
                <a:gd name="connsiteY83" fmla="*/ 197723 h 295275"/>
                <a:gd name="connsiteX84" fmla="*/ 245610 w 361950"/>
                <a:gd name="connsiteY84" fmla="*/ 197723 h 295275"/>
                <a:gd name="connsiteX85" fmla="*/ 249296 w 361950"/>
                <a:gd name="connsiteY85" fmla="*/ 194027 h 295275"/>
                <a:gd name="connsiteX86" fmla="*/ 245610 w 361950"/>
                <a:gd name="connsiteY86" fmla="*/ 194027 h 295275"/>
                <a:gd name="connsiteX87" fmla="*/ 249296 w 361950"/>
                <a:gd name="connsiteY87" fmla="*/ 190339 h 295275"/>
                <a:gd name="connsiteX88" fmla="*/ 252982 w 361950"/>
                <a:gd name="connsiteY88" fmla="*/ 186648 h 295275"/>
                <a:gd name="connsiteX89" fmla="*/ 256678 w 361950"/>
                <a:gd name="connsiteY89" fmla="*/ 182958 h 295275"/>
                <a:gd name="connsiteX90" fmla="*/ 267746 w 361950"/>
                <a:gd name="connsiteY90" fmla="*/ 171887 h 295275"/>
                <a:gd name="connsiteX91" fmla="*/ 297255 w 361950"/>
                <a:gd name="connsiteY91" fmla="*/ 157125 h 295275"/>
                <a:gd name="connsiteX92" fmla="*/ 300950 w 361950"/>
                <a:gd name="connsiteY92" fmla="*/ 157125 h 295275"/>
                <a:gd name="connsiteX93" fmla="*/ 304637 w 361950"/>
                <a:gd name="connsiteY93" fmla="*/ 157125 h 295275"/>
                <a:gd name="connsiteX94" fmla="*/ 308323 w 361950"/>
                <a:gd name="connsiteY94" fmla="*/ 160815 h 295275"/>
                <a:gd name="connsiteX95" fmla="*/ 312009 w 361950"/>
                <a:gd name="connsiteY95" fmla="*/ 160815 h 295275"/>
                <a:gd name="connsiteX96" fmla="*/ 326773 w 361950"/>
                <a:gd name="connsiteY96" fmla="*/ 149743 h 295275"/>
                <a:gd name="connsiteX97" fmla="*/ 330459 w 361950"/>
                <a:gd name="connsiteY97" fmla="*/ 142362 h 295275"/>
                <a:gd name="connsiteX98" fmla="*/ 337841 w 361950"/>
                <a:gd name="connsiteY98" fmla="*/ 134981 h 295275"/>
                <a:gd name="connsiteX99" fmla="*/ 341527 w 361950"/>
                <a:gd name="connsiteY99" fmla="*/ 127600 h 295275"/>
                <a:gd name="connsiteX100" fmla="*/ 345213 w 361950"/>
                <a:gd name="connsiteY100" fmla="*/ 123909 h 295275"/>
                <a:gd name="connsiteX101" fmla="*/ 348909 w 361950"/>
                <a:gd name="connsiteY101" fmla="*/ 116528 h 295275"/>
                <a:gd name="connsiteX102" fmla="*/ 359977 w 361950"/>
                <a:gd name="connsiteY102" fmla="*/ 94385 h 295275"/>
                <a:gd name="connsiteX103" fmla="*/ 363663 w 361950"/>
                <a:gd name="connsiteY103" fmla="*/ 87004 h 295275"/>
                <a:gd name="connsiteX104" fmla="*/ 363663 w 361950"/>
                <a:gd name="connsiteY104" fmla="*/ 83313 h 295275"/>
                <a:gd name="connsiteX105" fmla="*/ 363663 w 361950"/>
                <a:gd name="connsiteY105" fmla="*/ 75932 h 295275"/>
                <a:gd name="connsiteX106" fmla="*/ 363663 w 361950"/>
                <a:gd name="connsiteY106" fmla="*/ 57479 h 295275"/>
                <a:gd name="connsiteX107" fmla="*/ 359977 w 361950"/>
                <a:gd name="connsiteY107" fmla="*/ 50098 h 295275"/>
                <a:gd name="connsiteX108" fmla="*/ 341527 w 361950"/>
                <a:gd name="connsiteY108" fmla="*/ 31645 h 295275"/>
                <a:gd name="connsiteX109" fmla="*/ 341527 w 361950"/>
                <a:gd name="connsiteY109" fmla="*/ 27954 h 295275"/>
                <a:gd name="connsiteX110" fmla="*/ 337841 w 361950"/>
                <a:gd name="connsiteY110" fmla="*/ 27954 h 295275"/>
                <a:gd name="connsiteX111" fmla="*/ 319391 w 361950"/>
                <a:gd name="connsiteY111" fmla="*/ 27954 h 295275"/>
                <a:gd name="connsiteX112" fmla="*/ 315705 w 361950"/>
                <a:gd name="connsiteY112" fmla="*/ 27954 h 295275"/>
                <a:gd name="connsiteX113" fmla="*/ 300950 w 361950"/>
                <a:gd name="connsiteY113" fmla="*/ 24264 h 295275"/>
                <a:gd name="connsiteX114" fmla="*/ 267746 w 361950"/>
                <a:gd name="connsiteY114" fmla="*/ 13193 h 295275"/>
                <a:gd name="connsiteX115" fmla="*/ 264051 w 361950"/>
                <a:gd name="connsiteY115" fmla="*/ 13193 h 295275"/>
                <a:gd name="connsiteX116" fmla="*/ 260364 w 361950"/>
                <a:gd name="connsiteY116" fmla="*/ 5812 h 295275"/>
                <a:gd name="connsiteX117" fmla="*/ 256678 w 361950"/>
                <a:gd name="connsiteY117" fmla="*/ 5812 h 295275"/>
                <a:gd name="connsiteX118" fmla="*/ 51580 w 361950"/>
                <a:gd name="connsiteY118" fmla="*/ 157125 h 295275"/>
                <a:gd name="connsiteX119" fmla="*/ 57460 w 361950"/>
                <a:gd name="connsiteY119" fmla="*/ 153434 h 295275"/>
                <a:gd name="connsiteX120" fmla="*/ 50082 w 361950"/>
                <a:gd name="connsiteY120" fmla="*/ 157125 h 295275"/>
                <a:gd name="connsiteX121" fmla="*/ 51580 w 361950"/>
                <a:gd name="connsiteY121" fmla="*/ 157125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361950" h="295275">
                  <a:moveTo>
                    <a:pt x="256678" y="5812"/>
                  </a:moveTo>
                  <a:lnTo>
                    <a:pt x="252982" y="9502"/>
                  </a:lnTo>
                  <a:lnTo>
                    <a:pt x="227160" y="16882"/>
                  </a:lnTo>
                  <a:lnTo>
                    <a:pt x="223474" y="16882"/>
                  </a:lnTo>
                  <a:lnTo>
                    <a:pt x="219788" y="20573"/>
                  </a:lnTo>
                  <a:lnTo>
                    <a:pt x="190270" y="46407"/>
                  </a:lnTo>
                  <a:lnTo>
                    <a:pt x="190270" y="50098"/>
                  </a:lnTo>
                  <a:lnTo>
                    <a:pt x="186584" y="50098"/>
                  </a:lnTo>
                  <a:lnTo>
                    <a:pt x="171820" y="50098"/>
                  </a:lnTo>
                  <a:lnTo>
                    <a:pt x="168134" y="50098"/>
                  </a:lnTo>
                  <a:lnTo>
                    <a:pt x="168134" y="53788"/>
                  </a:lnTo>
                  <a:lnTo>
                    <a:pt x="164448" y="64860"/>
                  </a:lnTo>
                  <a:lnTo>
                    <a:pt x="164448" y="61170"/>
                  </a:lnTo>
                  <a:lnTo>
                    <a:pt x="160761" y="68551"/>
                  </a:lnTo>
                  <a:lnTo>
                    <a:pt x="160761" y="72242"/>
                  </a:lnTo>
                  <a:lnTo>
                    <a:pt x="160761" y="75932"/>
                  </a:lnTo>
                  <a:lnTo>
                    <a:pt x="160761" y="79623"/>
                  </a:lnTo>
                  <a:lnTo>
                    <a:pt x="160761" y="83313"/>
                  </a:lnTo>
                  <a:lnTo>
                    <a:pt x="153380" y="87004"/>
                  </a:lnTo>
                  <a:lnTo>
                    <a:pt x="149693" y="87004"/>
                  </a:lnTo>
                  <a:lnTo>
                    <a:pt x="145998" y="90695"/>
                  </a:lnTo>
                  <a:lnTo>
                    <a:pt x="142312" y="98075"/>
                  </a:lnTo>
                  <a:lnTo>
                    <a:pt x="138625" y="98075"/>
                  </a:lnTo>
                  <a:lnTo>
                    <a:pt x="134930" y="98075"/>
                  </a:lnTo>
                  <a:lnTo>
                    <a:pt x="134930" y="101765"/>
                  </a:lnTo>
                  <a:lnTo>
                    <a:pt x="72217" y="142362"/>
                  </a:lnTo>
                  <a:lnTo>
                    <a:pt x="61149" y="149743"/>
                  </a:lnTo>
                  <a:lnTo>
                    <a:pt x="61149" y="153434"/>
                  </a:lnTo>
                  <a:lnTo>
                    <a:pt x="57460" y="153434"/>
                  </a:lnTo>
                  <a:lnTo>
                    <a:pt x="57460" y="157125"/>
                  </a:lnTo>
                  <a:lnTo>
                    <a:pt x="53771" y="157125"/>
                  </a:lnTo>
                  <a:lnTo>
                    <a:pt x="51580" y="157125"/>
                  </a:lnTo>
                  <a:lnTo>
                    <a:pt x="27947" y="171887"/>
                  </a:lnTo>
                  <a:lnTo>
                    <a:pt x="24257" y="175578"/>
                  </a:lnTo>
                  <a:lnTo>
                    <a:pt x="9501" y="186648"/>
                  </a:lnTo>
                  <a:lnTo>
                    <a:pt x="5812" y="186648"/>
                  </a:lnTo>
                  <a:lnTo>
                    <a:pt x="5812" y="190339"/>
                  </a:lnTo>
                  <a:lnTo>
                    <a:pt x="13190" y="197723"/>
                  </a:lnTo>
                  <a:lnTo>
                    <a:pt x="13190" y="205105"/>
                  </a:lnTo>
                  <a:lnTo>
                    <a:pt x="13190" y="216173"/>
                  </a:lnTo>
                  <a:lnTo>
                    <a:pt x="9501" y="219869"/>
                  </a:lnTo>
                  <a:lnTo>
                    <a:pt x="13190" y="219869"/>
                  </a:lnTo>
                  <a:lnTo>
                    <a:pt x="16879" y="227241"/>
                  </a:lnTo>
                  <a:lnTo>
                    <a:pt x="13190" y="227241"/>
                  </a:lnTo>
                  <a:lnTo>
                    <a:pt x="16879" y="230937"/>
                  </a:lnTo>
                  <a:lnTo>
                    <a:pt x="20568" y="227241"/>
                  </a:lnTo>
                  <a:lnTo>
                    <a:pt x="24257" y="227241"/>
                  </a:lnTo>
                  <a:lnTo>
                    <a:pt x="39014" y="223555"/>
                  </a:lnTo>
                  <a:lnTo>
                    <a:pt x="42703" y="223555"/>
                  </a:lnTo>
                  <a:lnTo>
                    <a:pt x="46392" y="223555"/>
                  </a:lnTo>
                  <a:lnTo>
                    <a:pt x="50082" y="227241"/>
                  </a:lnTo>
                  <a:lnTo>
                    <a:pt x="53771" y="227241"/>
                  </a:lnTo>
                  <a:lnTo>
                    <a:pt x="57460" y="227241"/>
                  </a:lnTo>
                  <a:lnTo>
                    <a:pt x="64838" y="227241"/>
                  </a:lnTo>
                  <a:lnTo>
                    <a:pt x="75903" y="230937"/>
                  </a:lnTo>
                  <a:lnTo>
                    <a:pt x="83285" y="238319"/>
                  </a:lnTo>
                  <a:lnTo>
                    <a:pt x="94353" y="242005"/>
                  </a:lnTo>
                  <a:lnTo>
                    <a:pt x="101725" y="249387"/>
                  </a:lnTo>
                  <a:lnTo>
                    <a:pt x="134930" y="278914"/>
                  </a:lnTo>
                  <a:lnTo>
                    <a:pt x="138625" y="286296"/>
                  </a:lnTo>
                  <a:lnTo>
                    <a:pt x="142312" y="286296"/>
                  </a:lnTo>
                  <a:lnTo>
                    <a:pt x="149693" y="289982"/>
                  </a:lnTo>
                  <a:lnTo>
                    <a:pt x="157066" y="286296"/>
                  </a:lnTo>
                  <a:lnTo>
                    <a:pt x="175516" y="278914"/>
                  </a:lnTo>
                  <a:lnTo>
                    <a:pt x="179202" y="278914"/>
                  </a:lnTo>
                  <a:lnTo>
                    <a:pt x="186584" y="278914"/>
                  </a:lnTo>
                  <a:lnTo>
                    <a:pt x="190270" y="275219"/>
                  </a:lnTo>
                  <a:lnTo>
                    <a:pt x="201338" y="271532"/>
                  </a:lnTo>
                  <a:lnTo>
                    <a:pt x="205024" y="271532"/>
                  </a:lnTo>
                  <a:lnTo>
                    <a:pt x="208720" y="256769"/>
                  </a:lnTo>
                  <a:lnTo>
                    <a:pt x="212406" y="253082"/>
                  </a:lnTo>
                  <a:lnTo>
                    <a:pt x="212406" y="242005"/>
                  </a:lnTo>
                  <a:lnTo>
                    <a:pt x="216092" y="242005"/>
                  </a:lnTo>
                  <a:lnTo>
                    <a:pt x="216092" y="234623"/>
                  </a:lnTo>
                  <a:lnTo>
                    <a:pt x="216092" y="230937"/>
                  </a:lnTo>
                  <a:lnTo>
                    <a:pt x="216092" y="227241"/>
                  </a:lnTo>
                  <a:lnTo>
                    <a:pt x="216092" y="223555"/>
                  </a:lnTo>
                  <a:lnTo>
                    <a:pt x="212406" y="223555"/>
                  </a:lnTo>
                  <a:lnTo>
                    <a:pt x="212406" y="219869"/>
                  </a:lnTo>
                  <a:lnTo>
                    <a:pt x="208720" y="212487"/>
                  </a:lnTo>
                  <a:lnTo>
                    <a:pt x="212406" y="208791"/>
                  </a:lnTo>
                  <a:lnTo>
                    <a:pt x="223474" y="197723"/>
                  </a:lnTo>
                  <a:lnTo>
                    <a:pt x="230856" y="201409"/>
                  </a:lnTo>
                  <a:lnTo>
                    <a:pt x="241914" y="197723"/>
                  </a:lnTo>
                  <a:lnTo>
                    <a:pt x="245610" y="197723"/>
                  </a:lnTo>
                  <a:lnTo>
                    <a:pt x="249296" y="194027"/>
                  </a:lnTo>
                  <a:lnTo>
                    <a:pt x="245610" y="194027"/>
                  </a:lnTo>
                  <a:lnTo>
                    <a:pt x="249296" y="190339"/>
                  </a:lnTo>
                  <a:lnTo>
                    <a:pt x="252982" y="186648"/>
                  </a:lnTo>
                  <a:lnTo>
                    <a:pt x="256678" y="182958"/>
                  </a:lnTo>
                  <a:lnTo>
                    <a:pt x="267746" y="171887"/>
                  </a:lnTo>
                  <a:lnTo>
                    <a:pt x="297255" y="157125"/>
                  </a:lnTo>
                  <a:lnTo>
                    <a:pt x="300950" y="157125"/>
                  </a:lnTo>
                  <a:lnTo>
                    <a:pt x="304637" y="157125"/>
                  </a:lnTo>
                  <a:lnTo>
                    <a:pt x="308323" y="160815"/>
                  </a:lnTo>
                  <a:lnTo>
                    <a:pt x="312009" y="160815"/>
                  </a:lnTo>
                  <a:lnTo>
                    <a:pt x="326773" y="149743"/>
                  </a:lnTo>
                  <a:lnTo>
                    <a:pt x="330459" y="142362"/>
                  </a:lnTo>
                  <a:lnTo>
                    <a:pt x="337841" y="134981"/>
                  </a:lnTo>
                  <a:lnTo>
                    <a:pt x="341527" y="127600"/>
                  </a:lnTo>
                  <a:lnTo>
                    <a:pt x="345213" y="123909"/>
                  </a:lnTo>
                  <a:lnTo>
                    <a:pt x="348909" y="116528"/>
                  </a:lnTo>
                  <a:lnTo>
                    <a:pt x="359977" y="94385"/>
                  </a:lnTo>
                  <a:lnTo>
                    <a:pt x="363663" y="87004"/>
                  </a:lnTo>
                  <a:lnTo>
                    <a:pt x="363663" y="83313"/>
                  </a:lnTo>
                  <a:lnTo>
                    <a:pt x="363663" y="75932"/>
                  </a:lnTo>
                  <a:lnTo>
                    <a:pt x="363663" y="57479"/>
                  </a:lnTo>
                  <a:lnTo>
                    <a:pt x="359977" y="50098"/>
                  </a:lnTo>
                  <a:lnTo>
                    <a:pt x="341527" y="31645"/>
                  </a:lnTo>
                  <a:lnTo>
                    <a:pt x="341527" y="27954"/>
                  </a:lnTo>
                  <a:lnTo>
                    <a:pt x="337841" y="27954"/>
                  </a:lnTo>
                  <a:lnTo>
                    <a:pt x="319391" y="27954"/>
                  </a:lnTo>
                  <a:lnTo>
                    <a:pt x="315705" y="27954"/>
                  </a:lnTo>
                  <a:lnTo>
                    <a:pt x="300950" y="24264"/>
                  </a:lnTo>
                  <a:lnTo>
                    <a:pt x="267746" y="13193"/>
                  </a:lnTo>
                  <a:lnTo>
                    <a:pt x="264051" y="13193"/>
                  </a:lnTo>
                  <a:lnTo>
                    <a:pt x="260364" y="5812"/>
                  </a:lnTo>
                  <a:lnTo>
                    <a:pt x="256678" y="5812"/>
                  </a:lnTo>
                  <a:close/>
                  <a:moveTo>
                    <a:pt x="51580" y="157125"/>
                  </a:moveTo>
                  <a:lnTo>
                    <a:pt x="57460" y="153434"/>
                  </a:lnTo>
                  <a:lnTo>
                    <a:pt x="50082" y="157125"/>
                  </a:lnTo>
                  <a:lnTo>
                    <a:pt x="51580" y="157125"/>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06" name="Freeform: Shape 105">
              <a:extLst>
                <a:ext uri="{FF2B5EF4-FFF2-40B4-BE49-F238E27FC236}">
                  <a16:creationId xmlns:a16="http://schemas.microsoft.com/office/drawing/2014/main" id="{9108AF96-DAD0-45C9-A259-DC869B5D3CD5}"/>
                </a:ext>
              </a:extLst>
            </p:cNvPr>
            <p:cNvSpPr/>
            <p:nvPr/>
          </p:nvSpPr>
          <p:spPr>
            <a:xfrm>
              <a:off x="6052755" y="2466779"/>
              <a:ext cx="468179" cy="425617"/>
            </a:xfrm>
            <a:custGeom>
              <a:avLst/>
              <a:gdLst>
                <a:gd name="connsiteX0" fmla="*/ 68524 w 209550"/>
                <a:gd name="connsiteY0" fmla="*/ 5812 h 190500"/>
                <a:gd name="connsiteX1" fmla="*/ 72220 w 209550"/>
                <a:gd name="connsiteY1" fmla="*/ 13193 h 190500"/>
                <a:gd name="connsiteX2" fmla="*/ 64838 w 209550"/>
                <a:gd name="connsiteY2" fmla="*/ 9503 h 190500"/>
                <a:gd name="connsiteX3" fmla="*/ 64838 w 209550"/>
                <a:gd name="connsiteY3" fmla="*/ 13193 h 190500"/>
                <a:gd name="connsiteX4" fmla="*/ 61152 w 209550"/>
                <a:gd name="connsiteY4" fmla="*/ 13193 h 190500"/>
                <a:gd name="connsiteX5" fmla="*/ 42702 w 209550"/>
                <a:gd name="connsiteY5" fmla="*/ 16883 h 190500"/>
                <a:gd name="connsiteX6" fmla="*/ 39016 w 209550"/>
                <a:gd name="connsiteY6" fmla="*/ 16883 h 190500"/>
                <a:gd name="connsiteX7" fmla="*/ 39016 w 209550"/>
                <a:gd name="connsiteY7" fmla="*/ 20574 h 190500"/>
                <a:gd name="connsiteX8" fmla="*/ 27948 w 209550"/>
                <a:gd name="connsiteY8" fmla="*/ 39027 h 190500"/>
                <a:gd name="connsiteX9" fmla="*/ 9498 w 209550"/>
                <a:gd name="connsiteY9" fmla="*/ 68552 h 190500"/>
                <a:gd name="connsiteX10" fmla="*/ 9498 w 209550"/>
                <a:gd name="connsiteY10" fmla="*/ 72242 h 190500"/>
                <a:gd name="connsiteX11" fmla="*/ 5812 w 209550"/>
                <a:gd name="connsiteY11" fmla="*/ 83314 h 190500"/>
                <a:gd name="connsiteX12" fmla="*/ 5812 w 209550"/>
                <a:gd name="connsiteY12" fmla="*/ 120219 h 190500"/>
                <a:gd name="connsiteX13" fmla="*/ 5812 w 209550"/>
                <a:gd name="connsiteY13" fmla="*/ 138672 h 190500"/>
                <a:gd name="connsiteX14" fmla="*/ 5812 w 209550"/>
                <a:gd name="connsiteY14" fmla="*/ 146054 h 190500"/>
                <a:gd name="connsiteX15" fmla="*/ 5812 w 209550"/>
                <a:gd name="connsiteY15" fmla="*/ 149744 h 190500"/>
                <a:gd name="connsiteX16" fmla="*/ 5812 w 209550"/>
                <a:gd name="connsiteY16" fmla="*/ 153435 h 190500"/>
                <a:gd name="connsiteX17" fmla="*/ 9498 w 209550"/>
                <a:gd name="connsiteY17" fmla="*/ 153435 h 190500"/>
                <a:gd name="connsiteX18" fmla="*/ 13184 w 209550"/>
                <a:gd name="connsiteY18" fmla="*/ 157125 h 190500"/>
                <a:gd name="connsiteX19" fmla="*/ 16880 w 209550"/>
                <a:gd name="connsiteY19" fmla="*/ 160816 h 190500"/>
                <a:gd name="connsiteX20" fmla="*/ 24252 w 209550"/>
                <a:gd name="connsiteY20" fmla="*/ 171888 h 190500"/>
                <a:gd name="connsiteX21" fmla="*/ 35320 w 209550"/>
                <a:gd name="connsiteY21" fmla="*/ 186649 h 190500"/>
                <a:gd name="connsiteX22" fmla="*/ 39016 w 209550"/>
                <a:gd name="connsiteY22" fmla="*/ 190340 h 190500"/>
                <a:gd name="connsiteX23" fmla="*/ 42702 w 209550"/>
                <a:gd name="connsiteY23" fmla="*/ 190340 h 190500"/>
                <a:gd name="connsiteX24" fmla="*/ 79592 w 209550"/>
                <a:gd name="connsiteY24" fmla="*/ 190340 h 190500"/>
                <a:gd name="connsiteX25" fmla="*/ 83278 w 209550"/>
                <a:gd name="connsiteY25" fmla="*/ 190340 h 190500"/>
                <a:gd name="connsiteX26" fmla="*/ 94346 w 209550"/>
                <a:gd name="connsiteY26" fmla="*/ 190340 h 190500"/>
                <a:gd name="connsiteX27" fmla="*/ 123864 w 209550"/>
                <a:gd name="connsiteY27" fmla="*/ 190340 h 190500"/>
                <a:gd name="connsiteX28" fmla="*/ 127551 w 209550"/>
                <a:gd name="connsiteY28" fmla="*/ 190340 h 190500"/>
                <a:gd name="connsiteX29" fmla="*/ 157069 w 209550"/>
                <a:gd name="connsiteY29" fmla="*/ 182959 h 190500"/>
                <a:gd name="connsiteX30" fmla="*/ 160755 w 209550"/>
                <a:gd name="connsiteY30" fmla="*/ 186649 h 190500"/>
                <a:gd name="connsiteX31" fmla="*/ 164441 w 209550"/>
                <a:gd name="connsiteY31" fmla="*/ 190340 h 190500"/>
                <a:gd name="connsiteX32" fmla="*/ 171823 w 209550"/>
                <a:gd name="connsiteY32" fmla="*/ 186649 h 190500"/>
                <a:gd name="connsiteX33" fmla="*/ 175509 w 209550"/>
                <a:gd name="connsiteY33" fmla="*/ 186649 h 190500"/>
                <a:gd name="connsiteX34" fmla="*/ 182891 w 209550"/>
                <a:gd name="connsiteY34" fmla="*/ 182959 h 190500"/>
                <a:gd name="connsiteX35" fmla="*/ 182891 w 209550"/>
                <a:gd name="connsiteY35" fmla="*/ 179269 h 190500"/>
                <a:gd name="connsiteX36" fmla="*/ 193959 w 209550"/>
                <a:gd name="connsiteY36" fmla="*/ 175578 h 190500"/>
                <a:gd name="connsiteX37" fmla="*/ 197645 w 209550"/>
                <a:gd name="connsiteY37" fmla="*/ 175578 h 190500"/>
                <a:gd name="connsiteX38" fmla="*/ 208713 w 209550"/>
                <a:gd name="connsiteY38" fmla="*/ 168197 h 190500"/>
                <a:gd name="connsiteX39" fmla="*/ 212409 w 209550"/>
                <a:gd name="connsiteY39" fmla="*/ 164507 h 190500"/>
                <a:gd name="connsiteX40" fmla="*/ 208713 w 209550"/>
                <a:gd name="connsiteY40" fmla="*/ 157125 h 190500"/>
                <a:gd name="connsiteX41" fmla="*/ 201341 w 209550"/>
                <a:gd name="connsiteY41" fmla="*/ 157125 h 190500"/>
                <a:gd name="connsiteX42" fmla="*/ 197645 w 209550"/>
                <a:gd name="connsiteY42" fmla="*/ 153435 h 190500"/>
                <a:gd name="connsiteX43" fmla="*/ 193959 w 209550"/>
                <a:gd name="connsiteY43" fmla="*/ 149744 h 190500"/>
                <a:gd name="connsiteX44" fmla="*/ 186577 w 209550"/>
                <a:gd name="connsiteY44" fmla="*/ 146054 h 190500"/>
                <a:gd name="connsiteX45" fmla="*/ 182891 w 209550"/>
                <a:gd name="connsiteY45" fmla="*/ 146054 h 190500"/>
                <a:gd name="connsiteX46" fmla="*/ 175509 w 209550"/>
                <a:gd name="connsiteY46" fmla="*/ 142363 h 190500"/>
                <a:gd name="connsiteX47" fmla="*/ 175509 w 209550"/>
                <a:gd name="connsiteY47" fmla="*/ 146054 h 190500"/>
                <a:gd name="connsiteX48" fmla="*/ 171823 w 209550"/>
                <a:gd name="connsiteY48" fmla="*/ 146054 h 190500"/>
                <a:gd name="connsiteX49" fmla="*/ 171823 w 209550"/>
                <a:gd name="connsiteY49" fmla="*/ 142363 h 190500"/>
                <a:gd name="connsiteX50" fmla="*/ 171823 w 209550"/>
                <a:gd name="connsiteY50" fmla="*/ 138672 h 190500"/>
                <a:gd name="connsiteX51" fmla="*/ 175509 w 209550"/>
                <a:gd name="connsiteY51" fmla="*/ 134982 h 190500"/>
                <a:gd name="connsiteX52" fmla="*/ 179205 w 209550"/>
                <a:gd name="connsiteY52" fmla="*/ 131291 h 190500"/>
                <a:gd name="connsiteX53" fmla="*/ 186577 w 209550"/>
                <a:gd name="connsiteY53" fmla="*/ 127600 h 190500"/>
                <a:gd name="connsiteX54" fmla="*/ 186577 w 209550"/>
                <a:gd name="connsiteY54" fmla="*/ 123910 h 190500"/>
                <a:gd name="connsiteX55" fmla="*/ 186577 w 209550"/>
                <a:gd name="connsiteY55" fmla="*/ 120219 h 190500"/>
                <a:gd name="connsiteX56" fmla="*/ 182891 w 209550"/>
                <a:gd name="connsiteY56" fmla="*/ 116529 h 190500"/>
                <a:gd name="connsiteX57" fmla="*/ 182891 w 209550"/>
                <a:gd name="connsiteY57" fmla="*/ 112838 h 190500"/>
                <a:gd name="connsiteX58" fmla="*/ 179205 w 209550"/>
                <a:gd name="connsiteY58" fmla="*/ 109147 h 190500"/>
                <a:gd name="connsiteX59" fmla="*/ 175509 w 209550"/>
                <a:gd name="connsiteY59" fmla="*/ 109147 h 190500"/>
                <a:gd name="connsiteX60" fmla="*/ 175509 w 209550"/>
                <a:gd name="connsiteY60" fmla="*/ 105457 h 190500"/>
                <a:gd name="connsiteX61" fmla="*/ 168137 w 209550"/>
                <a:gd name="connsiteY61" fmla="*/ 90695 h 190500"/>
                <a:gd name="connsiteX62" fmla="*/ 164441 w 209550"/>
                <a:gd name="connsiteY62" fmla="*/ 79623 h 190500"/>
                <a:gd name="connsiteX63" fmla="*/ 157069 w 209550"/>
                <a:gd name="connsiteY63" fmla="*/ 72242 h 190500"/>
                <a:gd name="connsiteX64" fmla="*/ 153373 w 209550"/>
                <a:gd name="connsiteY64" fmla="*/ 72242 h 190500"/>
                <a:gd name="connsiteX65" fmla="*/ 149687 w 209550"/>
                <a:gd name="connsiteY65" fmla="*/ 68552 h 190500"/>
                <a:gd name="connsiteX66" fmla="*/ 146001 w 209550"/>
                <a:gd name="connsiteY66" fmla="*/ 61171 h 190500"/>
                <a:gd name="connsiteX67" fmla="*/ 134932 w 209550"/>
                <a:gd name="connsiteY67" fmla="*/ 57480 h 190500"/>
                <a:gd name="connsiteX68" fmla="*/ 131246 w 209550"/>
                <a:gd name="connsiteY68" fmla="*/ 53789 h 190500"/>
                <a:gd name="connsiteX69" fmla="*/ 123864 w 209550"/>
                <a:gd name="connsiteY69" fmla="*/ 53789 h 190500"/>
                <a:gd name="connsiteX70" fmla="*/ 116483 w 209550"/>
                <a:gd name="connsiteY70" fmla="*/ 53789 h 190500"/>
                <a:gd name="connsiteX71" fmla="*/ 116483 w 209550"/>
                <a:gd name="connsiteY71" fmla="*/ 50099 h 190500"/>
                <a:gd name="connsiteX72" fmla="*/ 112796 w 209550"/>
                <a:gd name="connsiteY72" fmla="*/ 46408 h 190500"/>
                <a:gd name="connsiteX73" fmla="*/ 109110 w 209550"/>
                <a:gd name="connsiteY73" fmla="*/ 42717 h 190500"/>
                <a:gd name="connsiteX74" fmla="*/ 105414 w 209550"/>
                <a:gd name="connsiteY74" fmla="*/ 35336 h 190500"/>
                <a:gd name="connsiteX75" fmla="*/ 101728 w 209550"/>
                <a:gd name="connsiteY75" fmla="*/ 39027 h 190500"/>
                <a:gd name="connsiteX76" fmla="*/ 101728 w 209550"/>
                <a:gd name="connsiteY76" fmla="*/ 35336 h 190500"/>
                <a:gd name="connsiteX77" fmla="*/ 98042 w 209550"/>
                <a:gd name="connsiteY77" fmla="*/ 27955 h 190500"/>
                <a:gd name="connsiteX78" fmla="*/ 83278 w 209550"/>
                <a:gd name="connsiteY78" fmla="*/ 9503 h 190500"/>
                <a:gd name="connsiteX79" fmla="*/ 79592 w 209550"/>
                <a:gd name="connsiteY79" fmla="*/ 9503 h 190500"/>
                <a:gd name="connsiteX80" fmla="*/ 68524 w 209550"/>
                <a:gd name="connsiteY80" fmla="*/ 5812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209550" h="190500">
                  <a:moveTo>
                    <a:pt x="68524" y="5812"/>
                  </a:moveTo>
                  <a:lnTo>
                    <a:pt x="72220" y="13193"/>
                  </a:lnTo>
                  <a:lnTo>
                    <a:pt x="64838" y="9503"/>
                  </a:lnTo>
                  <a:lnTo>
                    <a:pt x="64838" y="13193"/>
                  </a:lnTo>
                  <a:lnTo>
                    <a:pt x="61152" y="13193"/>
                  </a:lnTo>
                  <a:lnTo>
                    <a:pt x="42702" y="16883"/>
                  </a:lnTo>
                  <a:lnTo>
                    <a:pt x="39016" y="16883"/>
                  </a:lnTo>
                  <a:lnTo>
                    <a:pt x="39016" y="20574"/>
                  </a:lnTo>
                  <a:lnTo>
                    <a:pt x="27948" y="39027"/>
                  </a:lnTo>
                  <a:lnTo>
                    <a:pt x="9498" y="68552"/>
                  </a:lnTo>
                  <a:lnTo>
                    <a:pt x="9498" y="72242"/>
                  </a:lnTo>
                  <a:lnTo>
                    <a:pt x="5812" y="83314"/>
                  </a:lnTo>
                  <a:lnTo>
                    <a:pt x="5812" y="120219"/>
                  </a:lnTo>
                  <a:lnTo>
                    <a:pt x="5812" y="138672"/>
                  </a:lnTo>
                  <a:lnTo>
                    <a:pt x="5812" y="146054"/>
                  </a:lnTo>
                  <a:lnTo>
                    <a:pt x="5812" y="149744"/>
                  </a:lnTo>
                  <a:lnTo>
                    <a:pt x="5812" y="153435"/>
                  </a:lnTo>
                  <a:lnTo>
                    <a:pt x="9498" y="153435"/>
                  </a:lnTo>
                  <a:lnTo>
                    <a:pt x="13184" y="157125"/>
                  </a:lnTo>
                  <a:lnTo>
                    <a:pt x="16880" y="160816"/>
                  </a:lnTo>
                  <a:lnTo>
                    <a:pt x="24252" y="171888"/>
                  </a:lnTo>
                  <a:lnTo>
                    <a:pt x="35320" y="186649"/>
                  </a:lnTo>
                  <a:lnTo>
                    <a:pt x="39016" y="190340"/>
                  </a:lnTo>
                  <a:lnTo>
                    <a:pt x="42702" y="190340"/>
                  </a:lnTo>
                  <a:lnTo>
                    <a:pt x="79592" y="190340"/>
                  </a:lnTo>
                  <a:lnTo>
                    <a:pt x="83278" y="190340"/>
                  </a:lnTo>
                  <a:lnTo>
                    <a:pt x="94346" y="190340"/>
                  </a:lnTo>
                  <a:lnTo>
                    <a:pt x="123864" y="190340"/>
                  </a:lnTo>
                  <a:lnTo>
                    <a:pt x="127551" y="190340"/>
                  </a:lnTo>
                  <a:lnTo>
                    <a:pt x="157069" y="182959"/>
                  </a:lnTo>
                  <a:lnTo>
                    <a:pt x="160755" y="186649"/>
                  </a:lnTo>
                  <a:lnTo>
                    <a:pt x="164441" y="190340"/>
                  </a:lnTo>
                  <a:lnTo>
                    <a:pt x="171823" y="186649"/>
                  </a:lnTo>
                  <a:lnTo>
                    <a:pt x="175509" y="186649"/>
                  </a:lnTo>
                  <a:lnTo>
                    <a:pt x="182891" y="182959"/>
                  </a:lnTo>
                  <a:lnTo>
                    <a:pt x="182891" y="179269"/>
                  </a:lnTo>
                  <a:lnTo>
                    <a:pt x="193959" y="175578"/>
                  </a:lnTo>
                  <a:lnTo>
                    <a:pt x="197645" y="175578"/>
                  </a:lnTo>
                  <a:lnTo>
                    <a:pt x="208713" y="168197"/>
                  </a:lnTo>
                  <a:lnTo>
                    <a:pt x="212409" y="164507"/>
                  </a:lnTo>
                  <a:lnTo>
                    <a:pt x="208713" y="157125"/>
                  </a:lnTo>
                  <a:lnTo>
                    <a:pt x="201341" y="157125"/>
                  </a:lnTo>
                  <a:lnTo>
                    <a:pt x="197645" y="153435"/>
                  </a:lnTo>
                  <a:lnTo>
                    <a:pt x="193959" y="149744"/>
                  </a:lnTo>
                  <a:lnTo>
                    <a:pt x="186577" y="146054"/>
                  </a:lnTo>
                  <a:lnTo>
                    <a:pt x="182891" y="146054"/>
                  </a:lnTo>
                  <a:lnTo>
                    <a:pt x="175509" y="142363"/>
                  </a:lnTo>
                  <a:lnTo>
                    <a:pt x="175509" y="146054"/>
                  </a:lnTo>
                  <a:lnTo>
                    <a:pt x="171823" y="146054"/>
                  </a:lnTo>
                  <a:lnTo>
                    <a:pt x="171823" y="142363"/>
                  </a:lnTo>
                  <a:lnTo>
                    <a:pt x="171823" y="138672"/>
                  </a:lnTo>
                  <a:lnTo>
                    <a:pt x="175509" y="134982"/>
                  </a:lnTo>
                  <a:lnTo>
                    <a:pt x="179205" y="131291"/>
                  </a:lnTo>
                  <a:lnTo>
                    <a:pt x="186577" y="127600"/>
                  </a:lnTo>
                  <a:lnTo>
                    <a:pt x="186577" y="123910"/>
                  </a:lnTo>
                  <a:lnTo>
                    <a:pt x="186577" y="120219"/>
                  </a:lnTo>
                  <a:lnTo>
                    <a:pt x="182891" y="116529"/>
                  </a:lnTo>
                  <a:lnTo>
                    <a:pt x="182891" y="112838"/>
                  </a:lnTo>
                  <a:lnTo>
                    <a:pt x="179205" y="109147"/>
                  </a:lnTo>
                  <a:lnTo>
                    <a:pt x="175509" y="109147"/>
                  </a:lnTo>
                  <a:lnTo>
                    <a:pt x="175509" y="105457"/>
                  </a:lnTo>
                  <a:lnTo>
                    <a:pt x="168137" y="90695"/>
                  </a:lnTo>
                  <a:lnTo>
                    <a:pt x="164441" y="79623"/>
                  </a:lnTo>
                  <a:lnTo>
                    <a:pt x="157069" y="72242"/>
                  </a:lnTo>
                  <a:lnTo>
                    <a:pt x="153373" y="72242"/>
                  </a:lnTo>
                  <a:lnTo>
                    <a:pt x="149687" y="68552"/>
                  </a:lnTo>
                  <a:lnTo>
                    <a:pt x="146001" y="61171"/>
                  </a:lnTo>
                  <a:lnTo>
                    <a:pt x="134932" y="57480"/>
                  </a:lnTo>
                  <a:lnTo>
                    <a:pt x="131246" y="53789"/>
                  </a:lnTo>
                  <a:lnTo>
                    <a:pt x="123864" y="53789"/>
                  </a:lnTo>
                  <a:lnTo>
                    <a:pt x="116483" y="53789"/>
                  </a:lnTo>
                  <a:lnTo>
                    <a:pt x="116483" y="50099"/>
                  </a:lnTo>
                  <a:lnTo>
                    <a:pt x="112796" y="46408"/>
                  </a:lnTo>
                  <a:lnTo>
                    <a:pt x="109110" y="42717"/>
                  </a:lnTo>
                  <a:lnTo>
                    <a:pt x="105414" y="35336"/>
                  </a:lnTo>
                  <a:lnTo>
                    <a:pt x="101728" y="39027"/>
                  </a:lnTo>
                  <a:lnTo>
                    <a:pt x="101728" y="35336"/>
                  </a:lnTo>
                  <a:lnTo>
                    <a:pt x="98042" y="27955"/>
                  </a:lnTo>
                  <a:lnTo>
                    <a:pt x="83278" y="9503"/>
                  </a:lnTo>
                  <a:lnTo>
                    <a:pt x="79592" y="9503"/>
                  </a:lnTo>
                  <a:lnTo>
                    <a:pt x="68524" y="5812"/>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07" name="Freeform: Shape 106">
              <a:extLst>
                <a:ext uri="{FF2B5EF4-FFF2-40B4-BE49-F238E27FC236}">
                  <a16:creationId xmlns:a16="http://schemas.microsoft.com/office/drawing/2014/main" id="{0CAA1624-6F8E-4006-AB2A-1CA93CB9F06C}"/>
                </a:ext>
              </a:extLst>
            </p:cNvPr>
            <p:cNvSpPr/>
            <p:nvPr/>
          </p:nvSpPr>
          <p:spPr>
            <a:xfrm>
              <a:off x="6201125" y="2895544"/>
              <a:ext cx="42562" cy="42562"/>
            </a:xfrm>
            <a:custGeom>
              <a:avLst/>
              <a:gdLst>
                <a:gd name="connsiteX0" fmla="*/ 9498 w 19050"/>
                <a:gd name="connsiteY0" fmla="*/ 5812 h 19050"/>
                <a:gd name="connsiteX1" fmla="*/ 13184 w 19050"/>
                <a:gd name="connsiteY1" fmla="*/ 5812 h 19050"/>
                <a:gd name="connsiteX2" fmla="*/ 16870 w 19050"/>
                <a:gd name="connsiteY2" fmla="*/ 5812 h 19050"/>
                <a:gd name="connsiteX3" fmla="*/ 16870 w 19050"/>
                <a:gd name="connsiteY3" fmla="*/ 5812 h 19050"/>
                <a:gd name="connsiteX4" fmla="*/ 20566 w 19050"/>
                <a:gd name="connsiteY4" fmla="*/ 9503 h 19050"/>
                <a:gd name="connsiteX5" fmla="*/ 16870 w 19050"/>
                <a:gd name="connsiteY5" fmla="*/ 13193 h 19050"/>
                <a:gd name="connsiteX6" fmla="*/ 16870 w 19050"/>
                <a:gd name="connsiteY6" fmla="*/ 13193 h 19050"/>
                <a:gd name="connsiteX7" fmla="*/ 13184 w 19050"/>
                <a:gd name="connsiteY7" fmla="*/ 13193 h 19050"/>
                <a:gd name="connsiteX8" fmla="*/ 13184 w 19050"/>
                <a:gd name="connsiteY8" fmla="*/ 13193 h 19050"/>
                <a:gd name="connsiteX9" fmla="*/ 13184 w 19050"/>
                <a:gd name="connsiteY9" fmla="*/ 13193 h 19050"/>
                <a:gd name="connsiteX10" fmla="*/ 13184 w 19050"/>
                <a:gd name="connsiteY10" fmla="*/ 16883 h 19050"/>
                <a:gd name="connsiteX11" fmla="*/ 13184 w 19050"/>
                <a:gd name="connsiteY11" fmla="*/ 16883 h 19050"/>
                <a:gd name="connsiteX12" fmla="*/ 13184 w 19050"/>
                <a:gd name="connsiteY12" fmla="*/ 16883 h 19050"/>
                <a:gd name="connsiteX13" fmla="*/ 9498 w 19050"/>
                <a:gd name="connsiteY13" fmla="*/ 13193 h 19050"/>
                <a:gd name="connsiteX14" fmla="*/ 9498 w 19050"/>
                <a:gd name="connsiteY14" fmla="*/ 13193 h 19050"/>
                <a:gd name="connsiteX15" fmla="*/ 9498 w 19050"/>
                <a:gd name="connsiteY15" fmla="*/ 9503 h 19050"/>
                <a:gd name="connsiteX16" fmla="*/ 5812 w 19050"/>
                <a:gd name="connsiteY16" fmla="*/ 9503 h 19050"/>
                <a:gd name="connsiteX17" fmla="*/ 5812 w 19050"/>
                <a:gd name="connsiteY17" fmla="*/ 5812 h 19050"/>
                <a:gd name="connsiteX18" fmla="*/ 9498 w 19050"/>
                <a:gd name="connsiteY18" fmla="*/ 5812 h 19050"/>
                <a:gd name="connsiteX19" fmla="*/ 9498 w 19050"/>
                <a:gd name="connsiteY19"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050" h="19050">
                  <a:moveTo>
                    <a:pt x="9498" y="5812"/>
                  </a:moveTo>
                  <a:lnTo>
                    <a:pt x="13184" y="5812"/>
                  </a:lnTo>
                  <a:lnTo>
                    <a:pt x="16870" y="5812"/>
                  </a:lnTo>
                  <a:lnTo>
                    <a:pt x="16870" y="5812"/>
                  </a:lnTo>
                  <a:lnTo>
                    <a:pt x="20566" y="9503"/>
                  </a:lnTo>
                  <a:lnTo>
                    <a:pt x="16870" y="13193"/>
                  </a:lnTo>
                  <a:lnTo>
                    <a:pt x="16870" y="13193"/>
                  </a:lnTo>
                  <a:lnTo>
                    <a:pt x="13184" y="13193"/>
                  </a:lnTo>
                  <a:lnTo>
                    <a:pt x="13184" y="13193"/>
                  </a:lnTo>
                  <a:lnTo>
                    <a:pt x="13184" y="13193"/>
                  </a:lnTo>
                  <a:lnTo>
                    <a:pt x="13184" y="16883"/>
                  </a:lnTo>
                  <a:lnTo>
                    <a:pt x="13184" y="16883"/>
                  </a:lnTo>
                  <a:lnTo>
                    <a:pt x="13184" y="16883"/>
                  </a:lnTo>
                  <a:lnTo>
                    <a:pt x="9498" y="13193"/>
                  </a:lnTo>
                  <a:lnTo>
                    <a:pt x="9498" y="13193"/>
                  </a:lnTo>
                  <a:lnTo>
                    <a:pt x="9498" y="9503"/>
                  </a:lnTo>
                  <a:lnTo>
                    <a:pt x="5812" y="9503"/>
                  </a:lnTo>
                  <a:lnTo>
                    <a:pt x="5812" y="5812"/>
                  </a:lnTo>
                  <a:lnTo>
                    <a:pt x="9498" y="5812"/>
                  </a:lnTo>
                  <a:lnTo>
                    <a:pt x="9498" y="5812"/>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08" name="Freeform: Shape 107">
              <a:extLst>
                <a:ext uri="{FF2B5EF4-FFF2-40B4-BE49-F238E27FC236}">
                  <a16:creationId xmlns:a16="http://schemas.microsoft.com/office/drawing/2014/main" id="{C35EA41E-A170-4ACC-87C3-67618EFB97B5}"/>
                </a:ext>
              </a:extLst>
            </p:cNvPr>
            <p:cNvSpPr/>
            <p:nvPr/>
          </p:nvSpPr>
          <p:spPr>
            <a:xfrm>
              <a:off x="5714815" y="2738879"/>
              <a:ext cx="212808" cy="319213"/>
            </a:xfrm>
            <a:custGeom>
              <a:avLst/>
              <a:gdLst>
                <a:gd name="connsiteX0" fmla="*/ 9498 w 95250"/>
                <a:gd name="connsiteY0" fmla="*/ 5812 h 142875"/>
                <a:gd name="connsiteX1" fmla="*/ 9498 w 95250"/>
                <a:gd name="connsiteY1" fmla="*/ 5812 h 142875"/>
                <a:gd name="connsiteX2" fmla="*/ 16880 w 95250"/>
                <a:gd name="connsiteY2" fmla="*/ 5812 h 142875"/>
                <a:gd name="connsiteX3" fmla="*/ 42702 w 95250"/>
                <a:gd name="connsiteY3" fmla="*/ 16883 h 142875"/>
                <a:gd name="connsiteX4" fmla="*/ 46388 w 95250"/>
                <a:gd name="connsiteY4" fmla="*/ 20574 h 142875"/>
                <a:gd name="connsiteX5" fmla="*/ 64838 w 95250"/>
                <a:gd name="connsiteY5" fmla="*/ 39027 h 142875"/>
                <a:gd name="connsiteX6" fmla="*/ 72220 w 95250"/>
                <a:gd name="connsiteY6" fmla="*/ 50099 h 142875"/>
                <a:gd name="connsiteX7" fmla="*/ 72220 w 95250"/>
                <a:gd name="connsiteY7" fmla="*/ 53789 h 142875"/>
                <a:gd name="connsiteX8" fmla="*/ 90660 w 95250"/>
                <a:gd name="connsiteY8" fmla="*/ 83314 h 142875"/>
                <a:gd name="connsiteX9" fmla="*/ 98042 w 95250"/>
                <a:gd name="connsiteY9" fmla="*/ 101766 h 142875"/>
                <a:gd name="connsiteX10" fmla="*/ 98042 w 95250"/>
                <a:gd name="connsiteY10" fmla="*/ 105457 h 142875"/>
                <a:gd name="connsiteX11" fmla="*/ 94346 w 95250"/>
                <a:gd name="connsiteY11" fmla="*/ 105457 h 142875"/>
                <a:gd name="connsiteX12" fmla="*/ 90660 w 95250"/>
                <a:gd name="connsiteY12" fmla="*/ 109148 h 142875"/>
                <a:gd name="connsiteX13" fmla="*/ 83288 w 95250"/>
                <a:gd name="connsiteY13" fmla="*/ 112838 h 142875"/>
                <a:gd name="connsiteX14" fmla="*/ 79592 w 95250"/>
                <a:gd name="connsiteY14" fmla="*/ 127601 h 142875"/>
                <a:gd name="connsiteX15" fmla="*/ 75906 w 95250"/>
                <a:gd name="connsiteY15" fmla="*/ 134982 h 142875"/>
                <a:gd name="connsiteX16" fmla="*/ 79592 w 95250"/>
                <a:gd name="connsiteY16" fmla="*/ 134982 h 142875"/>
                <a:gd name="connsiteX17" fmla="*/ 79592 w 95250"/>
                <a:gd name="connsiteY17" fmla="*/ 134982 h 142875"/>
                <a:gd name="connsiteX18" fmla="*/ 75906 w 95250"/>
                <a:gd name="connsiteY18" fmla="*/ 142363 h 142875"/>
                <a:gd name="connsiteX19" fmla="*/ 75906 w 95250"/>
                <a:gd name="connsiteY19" fmla="*/ 134982 h 142875"/>
                <a:gd name="connsiteX20" fmla="*/ 75906 w 95250"/>
                <a:gd name="connsiteY20" fmla="*/ 134982 h 142875"/>
                <a:gd name="connsiteX21" fmla="*/ 79592 w 95250"/>
                <a:gd name="connsiteY21" fmla="*/ 127601 h 142875"/>
                <a:gd name="connsiteX22" fmla="*/ 83288 w 95250"/>
                <a:gd name="connsiteY22" fmla="*/ 112838 h 142875"/>
                <a:gd name="connsiteX23" fmla="*/ 86974 w 95250"/>
                <a:gd name="connsiteY23" fmla="*/ 109148 h 142875"/>
                <a:gd name="connsiteX24" fmla="*/ 94346 w 95250"/>
                <a:gd name="connsiteY24" fmla="*/ 105457 h 142875"/>
                <a:gd name="connsiteX25" fmla="*/ 98042 w 95250"/>
                <a:gd name="connsiteY25" fmla="*/ 105457 h 142875"/>
                <a:gd name="connsiteX26" fmla="*/ 98042 w 95250"/>
                <a:gd name="connsiteY26" fmla="*/ 101766 h 142875"/>
                <a:gd name="connsiteX27" fmla="*/ 90660 w 95250"/>
                <a:gd name="connsiteY27" fmla="*/ 83314 h 142875"/>
                <a:gd name="connsiteX28" fmla="*/ 64838 w 95250"/>
                <a:gd name="connsiteY28" fmla="*/ 39027 h 142875"/>
                <a:gd name="connsiteX29" fmla="*/ 46388 w 95250"/>
                <a:gd name="connsiteY29" fmla="*/ 20574 h 142875"/>
                <a:gd name="connsiteX30" fmla="*/ 42702 w 95250"/>
                <a:gd name="connsiteY30" fmla="*/ 16883 h 142875"/>
                <a:gd name="connsiteX31" fmla="*/ 20566 w 95250"/>
                <a:gd name="connsiteY31" fmla="*/ 5812 h 142875"/>
                <a:gd name="connsiteX32" fmla="*/ 16880 w 95250"/>
                <a:gd name="connsiteY32" fmla="*/ 13193 h 142875"/>
                <a:gd name="connsiteX33" fmla="*/ 16880 w 95250"/>
                <a:gd name="connsiteY33" fmla="*/ 13193 h 142875"/>
                <a:gd name="connsiteX34" fmla="*/ 13193 w 95250"/>
                <a:gd name="connsiteY34" fmla="*/ 13193 h 142875"/>
                <a:gd name="connsiteX35" fmla="*/ 9498 w 95250"/>
                <a:gd name="connsiteY35" fmla="*/ 13193 h 142875"/>
                <a:gd name="connsiteX36" fmla="*/ 5812 w 95250"/>
                <a:gd name="connsiteY36" fmla="*/ 13193 h 142875"/>
                <a:gd name="connsiteX37" fmla="*/ 9498 w 95250"/>
                <a:gd name="connsiteY37" fmla="*/ 13193 h 142875"/>
                <a:gd name="connsiteX38" fmla="*/ 13193 w 95250"/>
                <a:gd name="connsiteY38" fmla="*/ 9503 h 142875"/>
                <a:gd name="connsiteX39" fmla="*/ 16880 w 95250"/>
                <a:gd name="connsiteY39" fmla="*/ 5812 h 142875"/>
                <a:gd name="connsiteX40" fmla="*/ 13193 w 95250"/>
                <a:gd name="connsiteY40" fmla="*/ 5812 h 142875"/>
                <a:gd name="connsiteX41" fmla="*/ 13193 w 95250"/>
                <a:gd name="connsiteY41" fmla="*/ 5812 h 142875"/>
                <a:gd name="connsiteX42" fmla="*/ 9498 w 95250"/>
                <a:gd name="connsiteY42" fmla="*/ 5812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5250" h="142875">
                  <a:moveTo>
                    <a:pt x="9498" y="5812"/>
                  </a:moveTo>
                  <a:lnTo>
                    <a:pt x="9498" y="5812"/>
                  </a:lnTo>
                  <a:lnTo>
                    <a:pt x="16880" y="5812"/>
                  </a:lnTo>
                  <a:lnTo>
                    <a:pt x="42702" y="16883"/>
                  </a:lnTo>
                  <a:lnTo>
                    <a:pt x="46388" y="20574"/>
                  </a:lnTo>
                  <a:lnTo>
                    <a:pt x="64838" y="39027"/>
                  </a:lnTo>
                  <a:lnTo>
                    <a:pt x="72220" y="50099"/>
                  </a:lnTo>
                  <a:lnTo>
                    <a:pt x="72220" y="53789"/>
                  </a:lnTo>
                  <a:lnTo>
                    <a:pt x="90660" y="83314"/>
                  </a:lnTo>
                  <a:lnTo>
                    <a:pt x="98042" y="101766"/>
                  </a:lnTo>
                  <a:lnTo>
                    <a:pt x="98042" y="105457"/>
                  </a:lnTo>
                  <a:lnTo>
                    <a:pt x="94346" y="105457"/>
                  </a:lnTo>
                  <a:lnTo>
                    <a:pt x="90660" y="109148"/>
                  </a:lnTo>
                  <a:lnTo>
                    <a:pt x="83288" y="112838"/>
                  </a:lnTo>
                  <a:lnTo>
                    <a:pt x="79592" y="127601"/>
                  </a:lnTo>
                  <a:lnTo>
                    <a:pt x="75906" y="134982"/>
                  </a:lnTo>
                  <a:lnTo>
                    <a:pt x="79592" y="134982"/>
                  </a:lnTo>
                  <a:lnTo>
                    <a:pt x="79592" y="134982"/>
                  </a:lnTo>
                  <a:lnTo>
                    <a:pt x="75906" y="142363"/>
                  </a:lnTo>
                  <a:lnTo>
                    <a:pt x="75906" y="134982"/>
                  </a:lnTo>
                  <a:lnTo>
                    <a:pt x="75906" y="134982"/>
                  </a:lnTo>
                  <a:lnTo>
                    <a:pt x="79592" y="127601"/>
                  </a:lnTo>
                  <a:lnTo>
                    <a:pt x="83288" y="112838"/>
                  </a:lnTo>
                  <a:lnTo>
                    <a:pt x="86974" y="109148"/>
                  </a:lnTo>
                  <a:lnTo>
                    <a:pt x="94346" y="105457"/>
                  </a:lnTo>
                  <a:lnTo>
                    <a:pt x="98042" y="105457"/>
                  </a:lnTo>
                  <a:lnTo>
                    <a:pt x="98042" y="101766"/>
                  </a:lnTo>
                  <a:lnTo>
                    <a:pt x="90660" y="83314"/>
                  </a:lnTo>
                  <a:lnTo>
                    <a:pt x="64838" y="39027"/>
                  </a:lnTo>
                  <a:lnTo>
                    <a:pt x="46388" y="20574"/>
                  </a:lnTo>
                  <a:lnTo>
                    <a:pt x="42702" y="16883"/>
                  </a:lnTo>
                  <a:lnTo>
                    <a:pt x="20566" y="5812"/>
                  </a:lnTo>
                  <a:lnTo>
                    <a:pt x="16880" y="13193"/>
                  </a:lnTo>
                  <a:lnTo>
                    <a:pt x="16880" y="13193"/>
                  </a:lnTo>
                  <a:lnTo>
                    <a:pt x="13193" y="13193"/>
                  </a:lnTo>
                  <a:lnTo>
                    <a:pt x="9498" y="13193"/>
                  </a:lnTo>
                  <a:lnTo>
                    <a:pt x="5812" y="13193"/>
                  </a:lnTo>
                  <a:lnTo>
                    <a:pt x="9498" y="13193"/>
                  </a:lnTo>
                  <a:lnTo>
                    <a:pt x="13193" y="9503"/>
                  </a:lnTo>
                  <a:lnTo>
                    <a:pt x="16880" y="5812"/>
                  </a:lnTo>
                  <a:lnTo>
                    <a:pt x="13193" y="5812"/>
                  </a:lnTo>
                  <a:lnTo>
                    <a:pt x="13193" y="5812"/>
                  </a:lnTo>
                  <a:lnTo>
                    <a:pt x="9498" y="5812"/>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09" name="Freeform: Shape 108">
              <a:extLst>
                <a:ext uri="{FF2B5EF4-FFF2-40B4-BE49-F238E27FC236}">
                  <a16:creationId xmlns:a16="http://schemas.microsoft.com/office/drawing/2014/main" id="{C1252C2B-0E38-4323-AAC5-71AD437C4E4B}"/>
                </a:ext>
              </a:extLst>
            </p:cNvPr>
            <p:cNvSpPr/>
            <p:nvPr/>
          </p:nvSpPr>
          <p:spPr>
            <a:xfrm>
              <a:off x="5599423" y="2054505"/>
              <a:ext cx="191528" cy="148966"/>
            </a:xfrm>
            <a:custGeom>
              <a:avLst/>
              <a:gdLst>
                <a:gd name="connsiteX0" fmla="*/ 5812 w 85725"/>
                <a:gd name="connsiteY0" fmla="*/ 68551 h 66675"/>
                <a:gd name="connsiteX1" fmla="*/ 20568 w 85725"/>
                <a:gd name="connsiteY1" fmla="*/ 53789 h 66675"/>
                <a:gd name="connsiteX2" fmla="*/ 24258 w 85725"/>
                <a:gd name="connsiteY2" fmla="*/ 50098 h 66675"/>
                <a:gd name="connsiteX3" fmla="*/ 64843 w 85725"/>
                <a:gd name="connsiteY3" fmla="*/ 13192 h 66675"/>
                <a:gd name="connsiteX4" fmla="*/ 68529 w 85725"/>
                <a:gd name="connsiteY4" fmla="*/ 13192 h 66675"/>
                <a:gd name="connsiteX5" fmla="*/ 79597 w 85725"/>
                <a:gd name="connsiteY5" fmla="*/ 9502 h 66675"/>
                <a:gd name="connsiteX6" fmla="*/ 83283 w 85725"/>
                <a:gd name="connsiteY6" fmla="*/ 9502 h 66675"/>
                <a:gd name="connsiteX7" fmla="*/ 83283 w 85725"/>
                <a:gd name="connsiteY7" fmla="*/ 9502 h 66675"/>
                <a:gd name="connsiteX8" fmla="*/ 83283 w 85725"/>
                <a:gd name="connsiteY8" fmla="*/ 9502 h 66675"/>
                <a:gd name="connsiteX9" fmla="*/ 83283 w 85725"/>
                <a:gd name="connsiteY9" fmla="*/ 5812 h 66675"/>
                <a:gd name="connsiteX10" fmla="*/ 83283 w 85725"/>
                <a:gd name="connsiteY10" fmla="*/ 9502 h 66675"/>
                <a:gd name="connsiteX11" fmla="*/ 86969 w 85725"/>
                <a:gd name="connsiteY11" fmla="*/ 13192 h 66675"/>
                <a:gd name="connsiteX12" fmla="*/ 83283 w 85725"/>
                <a:gd name="connsiteY12" fmla="*/ 9502 h 66675"/>
                <a:gd name="connsiteX13" fmla="*/ 79597 w 85725"/>
                <a:gd name="connsiteY13" fmla="*/ 9502 h 66675"/>
                <a:gd name="connsiteX14" fmla="*/ 79597 w 85725"/>
                <a:gd name="connsiteY14" fmla="*/ 9502 h 66675"/>
                <a:gd name="connsiteX15" fmla="*/ 72215 w 85725"/>
                <a:gd name="connsiteY15" fmla="*/ 13192 h 66675"/>
                <a:gd name="connsiteX16" fmla="*/ 64843 w 85725"/>
                <a:gd name="connsiteY16" fmla="*/ 13192 h 66675"/>
                <a:gd name="connsiteX17" fmla="*/ 31636 w 85725"/>
                <a:gd name="connsiteY17" fmla="*/ 46407 h 66675"/>
                <a:gd name="connsiteX18" fmla="*/ 27947 w 85725"/>
                <a:gd name="connsiteY18" fmla="*/ 50098 h 66675"/>
                <a:gd name="connsiteX19" fmla="*/ 27947 w 85725"/>
                <a:gd name="connsiteY19" fmla="*/ 50098 h 66675"/>
                <a:gd name="connsiteX20" fmla="*/ 24258 w 85725"/>
                <a:gd name="connsiteY20" fmla="*/ 50098 h 66675"/>
                <a:gd name="connsiteX21" fmla="*/ 20568 w 85725"/>
                <a:gd name="connsiteY21" fmla="*/ 53789 h 66675"/>
                <a:gd name="connsiteX22" fmla="*/ 5812 w 85725"/>
                <a:gd name="connsiteY22" fmla="*/ 68551 h 66675"/>
                <a:gd name="connsiteX23" fmla="*/ 5812 w 85725"/>
                <a:gd name="connsiteY23" fmla="*/ 68551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 h="66675">
                  <a:moveTo>
                    <a:pt x="5812" y="68551"/>
                  </a:moveTo>
                  <a:lnTo>
                    <a:pt x="20568" y="53789"/>
                  </a:lnTo>
                  <a:lnTo>
                    <a:pt x="24258" y="50098"/>
                  </a:lnTo>
                  <a:lnTo>
                    <a:pt x="64843" y="13192"/>
                  </a:lnTo>
                  <a:lnTo>
                    <a:pt x="68529" y="13192"/>
                  </a:lnTo>
                  <a:lnTo>
                    <a:pt x="79597" y="9502"/>
                  </a:lnTo>
                  <a:lnTo>
                    <a:pt x="83283" y="9502"/>
                  </a:lnTo>
                  <a:lnTo>
                    <a:pt x="83283" y="9502"/>
                  </a:lnTo>
                  <a:lnTo>
                    <a:pt x="83283" y="9502"/>
                  </a:lnTo>
                  <a:lnTo>
                    <a:pt x="83283" y="5812"/>
                  </a:lnTo>
                  <a:lnTo>
                    <a:pt x="83283" y="9502"/>
                  </a:lnTo>
                  <a:lnTo>
                    <a:pt x="86969" y="13192"/>
                  </a:lnTo>
                  <a:lnTo>
                    <a:pt x="83283" y="9502"/>
                  </a:lnTo>
                  <a:lnTo>
                    <a:pt x="79597" y="9502"/>
                  </a:lnTo>
                  <a:lnTo>
                    <a:pt x="79597" y="9502"/>
                  </a:lnTo>
                  <a:lnTo>
                    <a:pt x="72215" y="13192"/>
                  </a:lnTo>
                  <a:lnTo>
                    <a:pt x="64843" y="13192"/>
                  </a:lnTo>
                  <a:lnTo>
                    <a:pt x="31636" y="46407"/>
                  </a:lnTo>
                  <a:lnTo>
                    <a:pt x="27947" y="50098"/>
                  </a:lnTo>
                  <a:lnTo>
                    <a:pt x="27947" y="50098"/>
                  </a:lnTo>
                  <a:lnTo>
                    <a:pt x="24258" y="50098"/>
                  </a:lnTo>
                  <a:lnTo>
                    <a:pt x="20568" y="53789"/>
                  </a:lnTo>
                  <a:lnTo>
                    <a:pt x="5812" y="68551"/>
                  </a:lnTo>
                  <a:lnTo>
                    <a:pt x="5812" y="68551"/>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10" name="Freeform: Shape 109">
              <a:extLst>
                <a:ext uri="{FF2B5EF4-FFF2-40B4-BE49-F238E27FC236}">
                  <a16:creationId xmlns:a16="http://schemas.microsoft.com/office/drawing/2014/main" id="{B9F1C938-EC5F-41BF-8FF7-CBEB462BC6DC}"/>
                </a:ext>
              </a:extLst>
            </p:cNvPr>
            <p:cNvSpPr/>
            <p:nvPr/>
          </p:nvSpPr>
          <p:spPr>
            <a:xfrm>
              <a:off x="5805473" y="2054505"/>
              <a:ext cx="42562" cy="63843"/>
            </a:xfrm>
            <a:custGeom>
              <a:avLst/>
              <a:gdLst>
                <a:gd name="connsiteX0" fmla="*/ 9507 w 19050"/>
                <a:gd name="connsiteY0" fmla="*/ 16883 h 28575"/>
                <a:gd name="connsiteX1" fmla="*/ 9507 w 19050"/>
                <a:gd name="connsiteY1" fmla="*/ 13192 h 28575"/>
                <a:gd name="connsiteX2" fmla="*/ 5812 w 19050"/>
                <a:gd name="connsiteY2" fmla="*/ 5812 h 28575"/>
                <a:gd name="connsiteX3" fmla="*/ 5812 w 19050"/>
                <a:gd name="connsiteY3" fmla="*/ 5812 h 28575"/>
                <a:gd name="connsiteX4" fmla="*/ 9507 w 19050"/>
                <a:gd name="connsiteY4" fmla="*/ 5812 h 28575"/>
                <a:gd name="connsiteX5" fmla="*/ 9507 w 19050"/>
                <a:gd name="connsiteY5" fmla="*/ 9502 h 28575"/>
                <a:gd name="connsiteX6" fmla="*/ 13193 w 19050"/>
                <a:gd name="connsiteY6" fmla="*/ 9502 h 28575"/>
                <a:gd name="connsiteX7" fmla="*/ 16880 w 19050"/>
                <a:gd name="connsiteY7" fmla="*/ 9502 h 28575"/>
                <a:gd name="connsiteX8" fmla="*/ 16880 w 19050"/>
                <a:gd name="connsiteY8" fmla="*/ 13192 h 28575"/>
                <a:gd name="connsiteX9" fmla="*/ 16880 w 19050"/>
                <a:gd name="connsiteY9" fmla="*/ 16883 h 28575"/>
                <a:gd name="connsiteX10" fmla="*/ 20575 w 19050"/>
                <a:gd name="connsiteY10" fmla="*/ 16883 h 28575"/>
                <a:gd name="connsiteX11" fmla="*/ 20575 w 19050"/>
                <a:gd name="connsiteY11" fmla="*/ 20573 h 28575"/>
                <a:gd name="connsiteX12" fmla="*/ 20575 w 19050"/>
                <a:gd name="connsiteY12" fmla="*/ 20573 h 28575"/>
                <a:gd name="connsiteX13" fmla="*/ 20575 w 19050"/>
                <a:gd name="connsiteY13" fmla="*/ 24264 h 28575"/>
                <a:gd name="connsiteX14" fmla="*/ 16880 w 19050"/>
                <a:gd name="connsiteY14" fmla="*/ 24264 h 28575"/>
                <a:gd name="connsiteX15" fmla="*/ 13193 w 19050"/>
                <a:gd name="connsiteY15" fmla="*/ 20573 h 28575"/>
                <a:gd name="connsiteX16" fmla="*/ 9507 w 19050"/>
                <a:gd name="connsiteY16" fmla="*/ 16883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0" h="28575">
                  <a:moveTo>
                    <a:pt x="9507" y="16883"/>
                  </a:moveTo>
                  <a:lnTo>
                    <a:pt x="9507" y="13192"/>
                  </a:lnTo>
                  <a:lnTo>
                    <a:pt x="5812" y="5812"/>
                  </a:lnTo>
                  <a:lnTo>
                    <a:pt x="5812" y="5812"/>
                  </a:lnTo>
                  <a:lnTo>
                    <a:pt x="9507" y="5812"/>
                  </a:lnTo>
                  <a:lnTo>
                    <a:pt x="9507" y="9502"/>
                  </a:lnTo>
                  <a:lnTo>
                    <a:pt x="13193" y="9502"/>
                  </a:lnTo>
                  <a:lnTo>
                    <a:pt x="16880" y="9502"/>
                  </a:lnTo>
                  <a:lnTo>
                    <a:pt x="16880" y="13192"/>
                  </a:lnTo>
                  <a:lnTo>
                    <a:pt x="16880" y="16883"/>
                  </a:lnTo>
                  <a:lnTo>
                    <a:pt x="20575" y="16883"/>
                  </a:lnTo>
                  <a:lnTo>
                    <a:pt x="20575" y="20573"/>
                  </a:lnTo>
                  <a:lnTo>
                    <a:pt x="20575" y="20573"/>
                  </a:lnTo>
                  <a:lnTo>
                    <a:pt x="20575" y="24264"/>
                  </a:lnTo>
                  <a:lnTo>
                    <a:pt x="16880" y="24264"/>
                  </a:lnTo>
                  <a:lnTo>
                    <a:pt x="13193" y="20573"/>
                  </a:lnTo>
                  <a:lnTo>
                    <a:pt x="9507" y="16883"/>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11" name="Freeform: Shape 110">
              <a:extLst>
                <a:ext uri="{FF2B5EF4-FFF2-40B4-BE49-F238E27FC236}">
                  <a16:creationId xmlns:a16="http://schemas.microsoft.com/office/drawing/2014/main" id="{23FE95CF-520D-4E42-A099-0BD5AFC926ED}"/>
                </a:ext>
              </a:extLst>
            </p:cNvPr>
            <p:cNvSpPr/>
            <p:nvPr/>
          </p:nvSpPr>
          <p:spPr>
            <a:xfrm>
              <a:off x="6670943" y="1345394"/>
              <a:ext cx="1149164" cy="1127882"/>
            </a:xfrm>
            <a:custGeom>
              <a:avLst/>
              <a:gdLst>
                <a:gd name="connsiteX0" fmla="*/ 275121 w 514350"/>
                <a:gd name="connsiteY0" fmla="*/ 5812 h 504825"/>
                <a:gd name="connsiteX1" fmla="*/ 267740 w 514350"/>
                <a:gd name="connsiteY1" fmla="*/ 9502 h 504825"/>
                <a:gd name="connsiteX2" fmla="*/ 238222 w 514350"/>
                <a:gd name="connsiteY2" fmla="*/ 13193 h 504825"/>
                <a:gd name="connsiteX3" fmla="*/ 234535 w 514350"/>
                <a:gd name="connsiteY3" fmla="*/ 16883 h 504825"/>
                <a:gd name="connsiteX4" fmla="*/ 223467 w 514350"/>
                <a:gd name="connsiteY4" fmla="*/ 20574 h 504825"/>
                <a:gd name="connsiteX5" fmla="*/ 219781 w 514350"/>
                <a:gd name="connsiteY5" fmla="*/ 20574 h 504825"/>
                <a:gd name="connsiteX6" fmla="*/ 216095 w 514350"/>
                <a:gd name="connsiteY6" fmla="*/ 24264 h 504825"/>
                <a:gd name="connsiteX7" fmla="*/ 208713 w 514350"/>
                <a:gd name="connsiteY7" fmla="*/ 24264 h 504825"/>
                <a:gd name="connsiteX8" fmla="*/ 201331 w 514350"/>
                <a:gd name="connsiteY8" fmla="*/ 31645 h 504825"/>
                <a:gd name="connsiteX9" fmla="*/ 197645 w 514350"/>
                <a:gd name="connsiteY9" fmla="*/ 31645 h 504825"/>
                <a:gd name="connsiteX10" fmla="*/ 193959 w 514350"/>
                <a:gd name="connsiteY10" fmla="*/ 31645 h 504825"/>
                <a:gd name="connsiteX11" fmla="*/ 190263 w 514350"/>
                <a:gd name="connsiteY11" fmla="*/ 31645 h 504825"/>
                <a:gd name="connsiteX12" fmla="*/ 182891 w 514350"/>
                <a:gd name="connsiteY12" fmla="*/ 35336 h 504825"/>
                <a:gd name="connsiteX13" fmla="*/ 175509 w 514350"/>
                <a:gd name="connsiteY13" fmla="*/ 39027 h 504825"/>
                <a:gd name="connsiteX14" fmla="*/ 171823 w 514350"/>
                <a:gd name="connsiteY14" fmla="*/ 35336 h 504825"/>
                <a:gd name="connsiteX15" fmla="*/ 168127 w 514350"/>
                <a:gd name="connsiteY15" fmla="*/ 39027 h 504825"/>
                <a:gd name="connsiteX16" fmla="*/ 149687 w 514350"/>
                <a:gd name="connsiteY16" fmla="*/ 39027 h 504825"/>
                <a:gd name="connsiteX17" fmla="*/ 138619 w 514350"/>
                <a:gd name="connsiteY17" fmla="*/ 42717 h 504825"/>
                <a:gd name="connsiteX18" fmla="*/ 123864 w 514350"/>
                <a:gd name="connsiteY18" fmla="*/ 46408 h 504825"/>
                <a:gd name="connsiteX19" fmla="*/ 116483 w 514350"/>
                <a:gd name="connsiteY19" fmla="*/ 46408 h 504825"/>
                <a:gd name="connsiteX20" fmla="*/ 109101 w 514350"/>
                <a:gd name="connsiteY20" fmla="*/ 50098 h 504825"/>
                <a:gd name="connsiteX21" fmla="*/ 101728 w 514350"/>
                <a:gd name="connsiteY21" fmla="*/ 50098 h 504825"/>
                <a:gd name="connsiteX22" fmla="*/ 90660 w 514350"/>
                <a:gd name="connsiteY22" fmla="*/ 53789 h 504825"/>
                <a:gd name="connsiteX23" fmla="*/ 79592 w 514350"/>
                <a:gd name="connsiteY23" fmla="*/ 57480 h 504825"/>
                <a:gd name="connsiteX24" fmla="*/ 75906 w 514350"/>
                <a:gd name="connsiteY24" fmla="*/ 61170 h 504825"/>
                <a:gd name="connsiteX25" fmla="*/ 75906 w 514350"/>
                <a:gd name="connsiteY25" fmla="*/ 64861 h 504825"/>
                <a:gd name="connsiteX26" fmla="*/ 68524 w 514350"/>
                <a:gd name="connsiteY26" fmla="*/ 68551 h 504825"/>
                <a:gd name="connsiteX27" fmla="*/ 64838 w 514350"/>
                <a:gd name="connsiteY27" fmla="*/ 64861 h 504825"/>
                <a:gd name="connsiteX28" fmla="*/ 61142 w 514350"/>
                <a:gd name="connsiteY28" fmla="*/ 61170 h 504825"/>
                <a:gd name="connsiteX29" fmla="*/ 42702 w 514350"/>
                <a:gd name="connsiteY29" fmla="*/ 50098 h 504825"/>
                <a:gd name="connsiteX30" fmla="*/ 39006 w 514350"/>
                <a:gd name="connsiteY30" fmla="*/ 50098 h 504825"/>
                <a:gd name="connsiteX31" fmla="*/ 24252 w 514350"/>
                <a:gd name="connsiteY31" fmla="*/ 57480 h 504825"/>
                <a:gd name="connsiteX32" fmla="*/ 24252 w 514350"/>
                <a:gd name="connsiteY32" fmla="*/ 53789 h 504825"/>
                <a:gd name="connsiteX33" fmla="*/ 20566 w 514350"/>
                <a:gd name="connsiteY33" fmla="*/ 53789 h 504825"/>
                <a:gd name="connsiteX34" fmla="*/ 20566 w 514350"/>
                <a:gd name="connsiteY34" fmla="*/ 57480 h 504825"/>
                <a:gd name="connsiteX35" fmla="*/ 16870 w 514350"/>
                <a:gd name="connsiteY35" fmla="*/ 57480 h 504825"/>
                <a:gd name="connsiteX36" fmla="*/ 16870 w 514350"/>
                <a:gd name="connsiteY36" fmla="*/ 53789 h 504825"/>
                <a:gd name="connsiteX37" fmla="*/ 13184 w 514350"/>
                <a:gd name="connsiteY37" fmla="*/ 57480 h 504825"/>
                <a:gd name="connsiteX38" fmla="*/ 16870 w 514350"/>
                <a:gd name="connsiteY38" fmla="*/ 61170 h 504825"/>
                <a:gd name="connsiteX39" fmla="*/ 20566 w 514350"/>
                <a:gd name="connsiteY39" fmla="*/ 61170 h 504825"/>
                <a:gd name="connsiteX40" fmla="*/ 24252 w 514350"/>
                <a:gd name="connsiteY40" fmla="*/ 64861 h 504825"/>
                <a:gd name="connsiteX41" fmla="*/ 27938 w 514350"/>
                <a:gd name="connsiteY41" fmla="*/ 64861 h 504825"/>
                <a:gd name="connsiteX42" fmla="*/ 31634 w 514350"/>
                <a:gd name="connsiteY42" fmla="*/ 68551 h 504825"/>
                <a:gd name="connsiteX43" fmla="*/ 35320 w 514350"/>
                <a:gd name="connsiteY43" fmla="*/ 68551 h 504825"/>
                <a:gd name="connsiteX44" fmla="*/ 35320 w 514350"/>
                <a:gd name="connsiteY44" fmla="*/ 72242 h 504825"/>
                <a:gd name="connsiteX45" fmla="*/ 31634 w 514350"/>
                <a:gd name="connsiteY45" fmla="*/ 72242 h 504825"/>
                <a:gd name="connsiteX46" fmla="*/ 27938 w 514350"/>
                <a:gd name="connsiteY46" fmla="*/ 72242 h 504825"/>
                <a:gd name="connsiteX47" fmla="*/ 24252 w 514350"/>
                <a:gd name="connsiteY47" fmla="*/ 72242 h 504825"/>
                <a:gd name="connsiteX48" fmla="*/ 24252 w 514350"/>
                <a:gd name="connsiteY48" fmla="*/ 68551 h 504825"/>
                <a:gd name="connsiteX49" fmla="*/ 16870 w 514350"/>
                <a:gd name="connsiteY49" fmla="*/ 64861 h 504825"/>
                <a:gd name="connsiteX50" fmla="*/ 16870 w 514350"/>
                <a:gd name="connsiteY50" fmla="*/ 61170 h 504825"/>
                <a:gd name="connsiteX51" fmla="*/ 9498 w 514350"/>
                <a:gd name="connsiteY51" fmla="*/ 61170 h 504825"/>
                <a:gd name="connsiteX52" fmla="*/ 5812 w 514350"/>
                <a:gd name="connsiteY52" fmla="*/ 68551 h 504825"/>
                <a:gd name="connsiteX53" fmla="*/ 9498 w 514350"/>
                <a:gd name="connsiteY53" fmla="*/ 68551 h 504825"/>
                <a:gd name="connsiteX54" fmla="*/ 13184 w 514350"/>
                <a:gd name="connsiteY54" fmla="*/ 72242 h 504825"/>
                <a:gd name="connsiteX55" fmla="*/ 16870 w 514350"/>
                <a:gd name="connsiteY55" fmla="*/ 72242 h 504825"/>
                <a:gd name="connsiteX56" fmla="*/ 16870 w 514350"/>
                <a:gd name="connsiteY56" fmla="*/ 75933 h 504825"/>
                <a:gd name="connsiteX57" fmla="*/ 13184 w 514350"/>
                <a:gd name="connsiteY57" fmla="*/ 79623 h 504825"/>
                <a:gd name="connsiteX58" fmla="*/ 9498 w 514350"/>
                <a:gd name="connsiteY58" fmla="*/ 75933 h 504825"/>
                <a:gd name="connsiteX59" fmla="*/ 9498 w 514350"/>
                <a:gd name="connsiteY59" fmla="*/ 79623 h 504825"/>
                <a:gd name="connsiteX60" fmla="*/ 13184 w 514350"/>
                <a:gd name="connsiteY60" fmla="*/ 83314 h 504825"/>
                <a:gd name="connsiteX61" fmla="*/ 16870 w 514350"/>
                <a:gd name="connsiteY61" fmla="*/ 83314 h 504825"/>
                <a:gd name="connsiteX62" fmla="*/ 20566 w 514350"/>
                <a:gd name="connsiteY62" fmla="*/ 83314 h 504825"/>
                <a:gd name="connsiteX63" fmla="*/ 24252 w 514350"/>
                <a:gd name="connsiteY63" fmla="*/ 83314 h 504825"/>
                <a:gd name="connsiteX64" fmla="*/ 27938 w 514350"/>
                <a:gd name="connsiteY64" fmla="*/ 83314 h 504825"/>
                <a:gd name="connsiteX65" fmla="*/ 31634 w 514350"/>
                <a:gd name="connsiteY65" fmla="*/ 83314 h 504825"/>
                <a:gd name="connsiteX66" fmla="*/ 31634 w 514350"/>
                <a:gd name="connsiteY66" fmla="*/ 87005 h 504825"/>
                <a:gd name="connsiteX67" fmla="*/ 24252 w 514350"/>
                <a:gd name="connsiteY67" fmla="*/ 87005 h 504825"/>
                <a:gd name="connsiteX68" fmla="*/ 20566 w 514350"/>
                <a:gd name="connsiteY68" fmla="*/ 87005 h 504825"/>
                <a:gd name="connsiteX69" fmla="*/ 20566 w 514350"/>
                <a:gd name="connsiteY69" fmla="*/ 90695 h 504825"/>
                <a:gd name="connsiteX70" fmla="*/ 24252 w 514350"/>
                <a:gd name="connsiteY70" fmla="*/ 90695 h 504825"/>
                <a:gd name="connsiteX71" fmla="*/ 27938 w 514350"/>
                <a:gd name="connsiteY71" fmla="*/ 90695 h 504825"/>
                <a:gd name="connsiteX72" fmla="*/ 31634 w 514350"/>
                <a:gd name="connsiteY72" fmla="*/ 90695 h 504825"/>
                <a:gd name="connsiteX73" fmla="*/ 35320 w 514350"/>
                <a:gd name="connsiteY73" fmla="*/ 87005 h 504825"/>
                <a:gd name="connsiteX74" fmla="*/ 35320 w 514350"/>
                <a:gd name="connsiteY74" fmla="*/ 90695 h 504825"/>
                <a:gd name="connsiteX75" fmla="*/ 35320 w 514350"/>
                <a:gd name="connsiteY75" fmla="*/ 94385 h 504825"/>
                <a:gd name="connsiteX76" fmla="*/ 31634 w 514350"/>
                <a:gd name="connsiteY76" fmla="*/ 94385 h 504825"/>
                <a:gd name="connsiteX77" fmla="*/ 35320 w 514350"/>
                <a:gd name="connsiteY77" fmla="*/ 98075 h 504825"/>
                <a:gd name="connsiteX78" fmla="*/ 39006 w 514350"/>
                <a:gd name="connsiteY78" fmla="*/ 94385 h 504825"/>
                <a:gd name="connsiteX79" fmla="*/ 42702 w 514350"/>
                <a:gd name="connsiteY79" fmla="*/ 94385 h 504825"/>
                <a:gd name="connsiteX80" fmla="*/ 42702 w 514350"/>
                <a:gd name="connsiteY80" fmla="*/ 98075 h 504825"/>
                <a:gd name="connsiteX81" fmla="*/ 39006 w 514350"/>
                <a:gd name="connsiteY81" fmla="*/ 101766 h 504825"/>
                <a:gd name="connsiteX82" fmla="*/ 31634 w 514350"/>
                <a:gd name="connsiteY82" fmla="*/ 101766 h 504825"/>
                <a:gd name="connsiteX83" fmla="*/ 31634 w 514350"/>
                <a:gd name="connsiteY83" fmla="*/ 105457 h 504825"/>
                <a:gd name="connsiteX84" fmla="*/ 35320 w 514350"/>
                <a:gd name="connsiteY84" fmla="*/ 109147 h 504825"/>
                <a:gd name="connsiteX85" fmla="*/ 39006 w 514350"/>
                <a:gd name="connsiteY85" fmla="*/ 105457 h 504825"/>
                <a:gd name="connsiteX86" fmla="*/ 42702 w 514350"/>
                <a:gd name="connsiteY86" fmla="*/ 105457 h 504825"/>
                <a:gd name="connsiteX87" fmla="*/ 46388 w 514350"/>
                <a:gd name="connsiteY87" fmla="*/ 105457 h 504825"/>
                <a:gd name="connsiteX88" fmla="*/ 50074 w 514350"/>
                <a:gd name="connsiteY88" fmla="*/ 105457 h 504825"/>
                <a:gd name="connsiteX89" fmla="*/ 53770 w 514350"/>
                <a:gd name="connsiteY89" fmla="*/ 109147 h 504825"/>
                <a:gd name="connsiteX90" fmla="*/ 57456 w 514350"/>
                <a:gd name="connsiteY90" fmla="*/ 109147 h 504825"/>
                <a:gd name="connsiteX91" fmla="*/ 57456 w 514350"/>
                <a:gd name="connsiteY91" fmla="*/ 131291 h 504825"/>
                <a:gd name="connsiteX92" fmla="*/ 57456 w 514350"/>
                <a:gd name="connsiteY92" fmla="*/ 134981 h 504825"/>
                <a:gd name="connsiteX93" fmla="*/ 61142 w 514350"/>
                <a:gd name="connsiteY93" fmla="*/ 134981 h 504825"/>
                <a:gd name="connsiteX94" fmla="*/ 61142 w 514350"/>
                <a:gd name="connsiteY94" fmla="*/ 138672 h 504825"/>
                <a:gd name="connsiteX95" fmla="*/ 57456 w 514350"/>
                <a:gd name="connsiteY95" fmla="*/ 138672 h 504825"/>
                <a:gd name="connsiteX96" fmla="*/ 53770 w 514350"/>
                <a:gd name="connsiteY96" fmla="*/ 142363 h 504825"/>
                <a:gd name="connsiteX97" fmla="*/ 53770 w 514350"/>
                <a:gd name="connsiteY97" fmla="*/ 146053 h 504825"/>
                <a:gd name="connsiteX98" fmla="*/ 50074 w 514350"/>
                <a:gd name="connsiteY98" fmla="*/ 149744 h 504825"/>
                <a:gd name="connsiteX99" fmla="*/ 46388 w 514350"/>
                <a:gd name="connsiteY99" fmla="*/ 149744 h 504825"/>
                <a:gd name="connsiteX100" fmla="*/ 42702 w 514350"/>
                <a:gd name="connsiteY100" fmla="*/ 153435 h 504825"/>
                <a:gd name="connsiteX101" fmla="*/ 42702 w 514350"/>
                <a:gd name="connsiteY101" fmla="*/ 157125 h 504825"/>
                <a:gd name="connsiteX102" fmla="*/ 42702 w 514350"/>
                <a:gd name="connsiteY102" fmla="*/ 160816 h 504825"/>
                <a:gd name="connsiteX103" fmla="*/ 42702 w 514350"/>
                <a:gd name="connsiteY103" fmla="*/ 164506 h 504825"/>
                <a:gd name="connsiteX104" fmla="*/ 46388 w 514350"/>
                <a:gd name="connsiteY104" fmla="*/ 164506 h 504825"/>
                <a:gd name="connsiteX105" fmla="*/ 42702 w 514350"/>
                <a:gd name="connsiteY105" fmla="*/ 168197 h 504825"/>
                <a:gd name="connsiteX106" fmla="*/ 39006 w 514350"/>
                <a:gd name="connsiteY106" fmla="*/ 168197 h 504825"/>
                <a:gd name="connsiteX107" fmla="*/ 39006 w 514350"/>
                <a:gd name="connsiteY107" fmla="*/ 171888 h 504825"/>
                <a:gd name="connsiteX108" fmla="*/ 35320 w 514350"/>
                <a:gd name="connsiteY108" fmla="*/ 175578 h 504825"/>
                <a:gd name="connsiteX109" fmla="*/ 35320 w 514350"/>
                <a:gd name="connsiteY109" fmla="*/ 179268 h 504825"/>
                <a:gd name="connsiteX110" fmla="*/ 35320 w 514350"/>
                <a:gd name="connsiteY110" fmla="*/ 182958 h 504825"/>
                <a:gd name="connsiteX111" fmla="*/ 31634 w 514350"/>
                <a:gd name="connsiteY111" fmla="*/ 186649 h 504825"/>
                <a:gd name="connsiteX112" fmla="*/ 27938 w 514350"/>
                <a:gd name="connsiteY112" fmla="*/ 190340 h 504825"/>
                <a:gd name="connsiteX113" fmla="*/ 24252 w 514350"/>
                <a:gd name="connsiteY113" fmla="*/ 194030 h 504825"/>
                <a:gd name="connsiteX114" fmla="*/ 24252 w 514350"/>
                <a:gd name="connsiteY114" fmla="*/ 197721 h 504825"/>
                <a:gd name="connsiteX115" fmla="*/ 27938 w 514350"/>
                <a:gd name="connsiteY115" fmla="*/ 197721 h 504825"/>
                <a:gd name="connsiteX116" fmla="*/ 31634 w 514350"/>
                <a:gd name="connsiteY116" fmla="*/ 197721 h 504825"/>
                <a:gd name="connsiteX117" fmla="*/ 31634 w 514350"/>
                <a:gd name="connsiteY117" fmla="*/ 205102 h 504825"/>
                <a:gd name="connsiteX118" fmla="*/ 31634 w 514350"/>
                <a:gd name="connsiteY118" fmla="*/ 208793 h 504825"/>
                <a:gd name="connsiteX119" fmla="*/ 31634 w 514350"/>
                <a:gd name="connsiteY119" fmla="*/ 212483 h 504825"/>
                <a:gd name="connsiteX120" fmla="*/ 27938 w 514350"/>
                <a:gd name="connsiteY120" fmla="*/ 219865 h 504825"/>
                <a:gd name="connsiteX121" fmla="*/ 24252 w 514350"/>
                <a:gd name="connsiteY121" fmla="*/ 223555 h 504825"/>
                <a:gd name="connsiteX122" fmla="*/ 20566 w 514350"/>
                <a:gd name="connsiteY122" fmla="*/ 223555 h 504825"/>
                <a:gd name="connsiteX123" fmla="*/ 16870 w 514350"/>
                <a:gd name="connsiteY123" fmla="*/ 227246 h 504825"/>
                <a:gd name="connsiteX124" fmla="*/ 16870 w 514350"/>
                <a:gd name="connsiteY124" fmla="*/ 230936 h 504825"/>
                <a:gd name="connsiteX125" fmla="*/ 13184 w 514350"/>
                <a:gd name="connsiteY125" fmla="*/ 238318 h 504825"/>
                <a:gd name="connsiteX126" fmla="*/ 9498 w 514350"/>
                <a:gd name="connsiteY126" fmla="*/ 242008 h 504825"/>
                <a:gd name="connsiteX127" fmla="*/ 9498 w 514350"/>
                <a:gd name="connsiteY127" fmla="*/ 249389 h 504825"/>
                <a:gd name="connsiteX128" fmla="*/ 9498 w 514350"/>
                <a:gd name="connsiteY128" fmla="*/ 256771 h 504825"/>
                <a:gd name="connsiteX129" fmla="*/ 9498 w 514350"/>
                <a:gd name="connsiteY129" fmla="*/ 260461 h 504825"/>
                <a:gd name="connsiteX130" fmla="*/ 9498 w 514350"/>
                <a:gd name="connsiteY130" fmla="*/ 275223 h 504825"/>
                <a:gd name="connsiteX131" fmla="*/ 13184 w 514350"/>
                <a:gd name="connsiteY131" fmla="*/ 278913 h 504825"/>
                <a:gd name="connsiteX132" fmla="*/ 16870 w 514350"/>
                <a:gd name="connsiteY132" fmla="*/ 282604 h 504825"/>
                <a:gd name="connsiteX133" fmla="*/ 20566 w 514350"/>
                <a:gd name="connsiteY133" fmla="*/ 289985 h 504825"/>
                <a:gd name="connsiteX134" fmla="*/ 24252 w 514350"/>
                <a:gd name="connsiteY134" fmla="*/ 289985 h 504825"/>
                <a:gd name="connsiteX135" fmla="*/ 31634 w 514350"/>
                <a:gd name="connsiteY135" fmla="*/ 289985 h 504825"/>
                <a:gd name="connsiteX136" fmla="*/ 39006 w 514350"/>
                <a:gd name="connsiteY136" fmla="*/ 289985 h 504825"/>
                <a:gd name="connsiteX137" fmla="*/ 46388 w 514350"/>
                <a:gd name="connsiteY137" fmla="*/ 289985 h 504825"/>
                <a:gd name="connsiteX138" fmla="*/ 50074 w 514350"/>
                <a:gd name="connsiteY138" fmla="*/ 289985 h 504825"/>
                <a:gd name="connsiteX139" fmla="*/ 53770 w 514350"/>
                <a:gd name="connsiteY139" fmla="*/ 293676 h 504825"/>
                <a:gd name="connsiteX140" fmla="*/ 61142 w 514350"/>
                <a:gd name="connsiteY140" fmla="*/ 297366 h 504825"/>
                <a:gd name="connsiteX141" fmla="*/ 64838 w 514350"/>
                <a:gd name="connsiteY141" fmla="*/ 301057 h 504825"/>
                <a:gd name="connsiteX142" fmla="*/ 64838 w 514350"/>
                <a:gd name="connsiteY142" fmla="*/ 304748 h 504825"/>
                <a:gd name="connsiteX143" fmla="*/ 75906 w 514350"/>
                <a:gd name="connsiteY143" fmla="*/ 308438 h 504825"/>
                <a:gd name="connsiteX144" fmla="*/ 86974 w 514350"/>
                <a:gd name="connsiteY144" fmla="*/ 312129 h 504825"/>
                <a:gd name="connsiteX145" fmla="*/ 90660 w 514350"/>
                <a:gd name="connsiteY145" fmla="*/ 312129 h 504825"/>
                <a:gd name="connsiteX146" fmla="*/ 94346 w 514350"/>
                <a:gd name="connsiteY146" fmla="*/ 297366 h 504825"/>
                <a:gd name="connsiteX147" fmla="*/ 98033 w 514350"/>
                <a:gd name="connsiteY147" fmla="*/ 297366 h 504825"/>
                <a:gd name="connsiteX148" fmla="*/ 98033 w 514350"/>
                <a:gd name="connsiteY148" fmla="*/ 286295 h 504825"/>
                <a:gd name="connsiteX149" fmla="*/ 98033 w 514350"/>
                <a:gd name="connsiteY149" fmla="*/ 282604 h 504825"/>
                <a:gd name="connsiteX150" fmla="*/ 105414 w 514350"/>
                <a:gd name="connsiteY150" fmla="*/ 264151 h 504825"/>
                <a:gd name="connsiteX151" fmla="*/ 105414 w 514350"/>
                <a:gd name="connsiteY151" fmla="*/ 260461 h 504825"/>
                <a:gd name="connsiteX152" fmla="*/ 109101 w 514350"/>
                <a:gd name="connsiteY152" fmla="*/ 256771 h 504825"/>
                <a:gd name="connsiteX153" fmla="*/ 112796 w 514350"/>
                <a:gd name="connsiteY153" fmla="*/ 249389 h 504825"/>
                <a:gd name="connsiteX154" fmla="*/ 116483 w 514350"/>
                <a:gd name="connsiteY154" fmla="*/ 245699 h 504825"/>
                <a:gd name="connsiteX155" fmla="*/ 116483 w 514350"/>
                <a:gd name="connsiteY155" fmla="*/ 242008 h 504825"/>
                <a:gd name="connsiteX156" fmla="*/ 120169 w 514350"/>
                <a:gd name="connsiteY156" fmla="*/ 238318 h 504825"/>
                <a:gd name="connsiteX157" fmla="*/ 127551 w 514350"/>
                <a:gd name="connsiteY157" fmla="*/ 234627 h 504825"/>
                <a:gd name="connsiteX158" fmla="*/ 134932 w 514350"/>
                <a:gd name="connsiteY158" fmla="*/ 230936 h 504825"/>
                <a:gd name="connsiteX159" fmla="*/ 134932 w 514350"/>
                <a:gd name="connsiteY159" fmla="*/ 227246 h 504825"/>
                <a:gd name="connsiteX160" fmla="*/ 138619 w 514350"/>
                <a:gd name="connsiteY160" fmla="*/ 223555 h 504825"/>
                <a:gd name="connsiteX161" fmla="*/ 146001 w 514350"/>
                <a:gd name="connsiteY161" fmla="*/ 219865 h 504825"/>
                <a:gd name="connsiteX162" fmla="*/ 153373 w 514350"/>
                <a:gd name="connsiteY162" fmla="*/ 219865 h 504825"/>
                <a:gd name="connsiteX163" fmla="*/ 157069 w 514350"/>
                <a:gd name="connsiteY163" fmla="*/ 219865 h 504825"/>
                <a:gd name="connsiteX164" fmla="*/ 160755 w 514350"/>
                <a:gd name="connsiteY164" fmla="*/ 223555 h 504825"/>
                <a:gd name="connsiteX165" fmla="*/ 164441 w 514350"/>
                <a:gd name="connsiteY165" fmla="*/ 219865 h 504825"/>
                <a:gd name="connsiteX166" fmla="*/ 168127 w 514350"/>
                <a:gd name="connsiteY166" fmla="*/ 223555 h 504825"/>
                <a:gd name="connsiteX167" fmla="*/ 175509 w 514350"/>
                <a:gd name="connsiteY167" fmla="*/ 223555 h 504825"/>
                <a:gd name="connsiteX168" fmla="*/ 179195 w 514350"/>
                <a:gd name="connsiteY168" fmla="*/ 234627 h 504825"/>
                <a:gd name="connsiteX169" fmla="*/ 182891 w 514350"/>
                <a:gd name="connsiteY169" fmla="*/ 238318 h 504825"/>
                <a:gd name="connsiteX170" fmla="*/ 186577 w 514350"/>
                <a:gd name="connsiteY170" fmla="*/ 234627 h 504825"/>
                <a:gd name="connsiteX171" fmla="*/ 190263 w 514350"/>
                <a:gd name="connsiteY171" fmla="*/ 245699 h 504825"/>
                <a:gd name="connsiteX172" fmla="*/ 190263 w 514350"/>
                <a:gd name="connsiteY172" fmla="*/ 249389 h 504825"/>
                <a:gd name="connsiteX173" fmla="*/ 193959 w 514350"/>
                <a:gd name="connsiteY173" fmla="*/ 253080 h 504825"/>
                <a:gd name="connsiteX174" fmla="*/ 201331 w 514350"/>
                <a:gd name="connsiteY174" fmla="*/ 249389 h 504825"/>
                <a:gd name="connsiteX175" fmla="*/ 201331 w 514350"/>
                <a:gd name="connsiteY175" fmla="*/ 253080 h 504825"/>
                <a:gd name="connsiteX176" fmla="*/ 201331 w 514350"/>
                <a:gd name="connsiteY176" fmla="*/ 256771 h 504825"/>
                <a:gd name="connsiteX177" fmla="*/ 205027 w 514350"/>
                <a:gd name="connsiteY177" fmla="*/ 260461 h 504825"/>
                <a:gd name="connsiteX178" fmla="*/ 205027 w 514350"/>
                <a:gd name="connsiteY178" fmla="*/ 264151 h 504825"/>
                <a:gd name="connsiteX179" fmla="*/ 212399 w 514350"/>
                <a:gd name="connsiteY179" fmla="*/ 264151 h 504825"/>
                <a:gd name="connsiteX180" fmla="*/ 212399 w 514350"/>
                <a:gd name="connsiteY180" fmla="*/ 267842 h 504825"/>
                <a:gd name="connsiteX181" fmla="*/ 216095 w 514350"/>
                <a:gd name="connsiteY181" fmla="*/ 271532 h 504825"/>
                <a:gd name="connsiteX182" fmla="*/ 219781 w 514350"/>
                <a:gd name="connsiteY182" fmla="*/ 275223 h 504825"/>
                <a:gd name="connsiteX183" fmla="*/ 223467 w 514350"/>
                <a:gd name="connsiteY183" fmla="*/ 278913 h 504825"/>
                <a:gd name="connsiteX184" fmla="*/ 223467 w 514350"/>
                <a:gd name="connsiteY184" fmla="*/ 282604 h 504825"/>
                <a:gd name="connsiteX185" fmla="*/ 227163 w 514350"/>
                <a:gd name="connsiteY185" fmla="*/ 282604 h 504825"/>
                <a:gd name="connsiteX186" fmla="*/ 223467 w 514350"/>
                <a:gd name="connsiteY186" fmla="*/ 286295 h 504825"/>
                <a:gd name="connsiteX187" fmla="*/ 227163 w 514350"/>
                <a:gd name="connsiteY187" fmla="*/ 289985 h 504825"/>
                <a:gd name="connsiteX188" fmla="*/ 227163 w 514350"/>
                <a:gd name="connsiteY188" fmla="*/ 293676 h 504825"/>
                <a:gd name="connsiteX189" fmla="*/ 245603 w 514350"/>
                <a:gd name="connsiteY189" fmla="*/ 286295 h 504825"/>
                <a:gd name="connsiteX190" fmla="*/ 249290 w 514350"/>
                <a:gd name="connsiteY190" fmla="*/ 286295 h 504825"/>
                <a:gd name="connsiteX191" fmla="*/ 256672 w 514350"/>
                <a:gd name="connsiteY191" fmla="*/ 282604 h 504825"/>
                <a:gd name="connsiteX192" fmla="*/ 267740 w 514350"/>
                <a:gd name="connsiteY192" fmla="*/ 282604 h 504825"/>
                <a:gd name="connsiteX193" fmla="*/ 271426 w 514350"/>
                <a:gd name="connsiteY193" fmla="*/ 282604 h 504825"/>
                <a:gd name="connsiteX194" fmla="*/ 275121 w 514350"/>
                <a:gd name="connsiteY194" fmla="*/ 282604 h 504825"/>
                <a:gd name="connsiteX195" fmla="*/ 278808 w 514350"/>
                <a:gd name="connsiteY195" fmla="*/ 286295 h 504825"/>
                <a:gd name="connsiteX196" fmla="*/ 282494 w 514350"/>
                <a:gd name="connsiteY196" fmla="*/ 286295 h 504825"/>
                <a:gd name="connsiteX197" fmla="*/ 282494 w 514350"/>
                <a:gd name="connsiteY197" fmla="*/ 289985 h 504825"/>
                <a:gd name="connsiteX198" fmla="*/ 297258 w 514350"/>
                <a:gd name="connsiteY198" fmla="*/ 301057 h 504825"/>
                <a:gd name="connsiteX199" fmla="*/ 300944 w 514350"/>
                <a:gd name="connsiteY199" fmla="*/ 308438 h 504825"/>
                <a:gd name="connsiteX200" fmla="*/ 315698 w 514350"/>
                <a:gd name="connsiteY200" fmla="*/ 319510 h 504825"/>
                <a:gd name="connsiteX201" fmla="*/ 315698 w 514350"/>
                <a:gd name="connsiteY201" fmla="*/ 323201 h 504825"/>
                <a:gd name="connsiteX202" fmla="*/ 326766 w 514350"/>
                <a:gd name="connsiteY202" fmla="*/ 334273 h 504825"/>
                <a:gd name="connsiteX203" fmla="*/ 337834 w 514350"/>
                <a:gd name="connsiteY203" fmla="*/ 345344 h 504825"/>
                <a:gd name="connsiteX204" fmla="*/ 356284 w 514350"/>
                <a:gd name="connsiteY204" fmla="*/ 363796 h 504825"/>
                <a:gd name="connsiteX205" fmla="*/ 359970 w 514350"/>
                <a:gd name="connsiteY205" fmla="*/ 367487 h 504825"/>
                <a:gd name="connsiteX206" fmla="*/ 367352 w 514350"/>
                <a:gd name="connsiteY206" fmla="*/ 374868 h 504825"/>
                <a:gd name="connsiteX207" fmla="*/ 374724 w 514350"/>
                <a:gd name="connsiteY207" fmla="*/ 382249 h 504825"/>
                <a:gd name="connsiteX208" fmla="*/ 378410 w 514350"/>
                <a:gd name="connsiteY208" fmla="*/ 385940 h 504825"/>
                <a:gd name="connsiteX209" fmla="*/ 378410 w 514350"/>
                <a:gd name="connsiteY209" fmla="*/ 389631 h 504825"/>
                <a:gd name="connsiteX210" fmla="*/ 382106 w 514350"/>
                <a:gd name="connsiteY210" fmla="*/ 393321 h 504825"/>
                <a:gd name="connsiteX211" fmla="*/ 385792 w 514350"/>
                <a:gd name="connsiteY211" fmla="*/ 397012 h 504825"/>
                <a:gd name="connsiteX212" fmla="*/ 389479 w 514350"/>
                <a:gd name="connsiteY212" fmla="*/ 404393 h 504825"/>
                <a:gd name="connsiteX213" fmla="*/ 393174 w 514350"/>
                <a:gd name="connsiteY213" fmla="*/ 411774 h 504825"/>
                <a:gd name="connsiteX214" fmla="*/ 396861 w 514350"/>
                <a:gd name="connsiteY214" fmla="*/ 411774 h 504825"/>
                <a:gd name="connsiteX215" fmla="*/ 396861 w 514350"/>
                <a:gd name="connsiteY215" fmla="*/ 415465 h 504825"/>
                <a:gd name="connsiteX216" fmla="*/ 400547 w 514350"/>
                <a:gd name="connsiteY216" fmla="*/ 415465 h 504825"/>
                <a:gd name="connsiteX217" fmla="*/ 407928 w 514350"/>
                <a:gd name="connsiteY217" fmla="*/ 426537 h 504825"/>
                <a:gd name="connsiteX218" fmla="*/ 411615 w 514350"/>
                <a:gd name="connsiteY218" fmla="*/ 433917 h 504825"/>
                <a:gd name="connsiteX219" fmla="*/ 415310 w 514350"/>
                <a:gd name="connsiteY219" fmla="*/ 437608 h 504825"/>
                <a:gd name="connsiteX220" fmla="*/ 418997 w 514350"/>
                <a:gd name="connsiteY220" fmla="*/ 441298 h 504825"/>
                <a:gd name="connsiteX221" fmla="*/ 426378 w 514350"/>
                <a:gd name="connsiteY221" fmla="*/ 441298 h 504825"/>
                <a:gd name="connsiteX222" fmla="*/ 426378 w 514350"/>
                <a:gd name="connsiteY222" fmla="*/ 448680 h 504825"/>
                <a:gd name="connsiteX223" fmla="*/ 422683 w 514350"/>
                <a:gd name="connsiteY223" fmla="*/ 452370 h 504825"/>
                <a:gd name="connsiteX224" fmla="*/ 415310 w 514350"/>
                <a:gd name="connsiteY224" fmla="*/ 474514 h 504825"/>
                <a:gd name="connsiteX225" fmla="*/ 415310 w 514350"/>
                <a:gd name="connsiteY225" fmla="*/ 478204 h 504825"/>
                <a:gd name="connsiteX226" fmla="*/ 426378 w 514350"/>
                <a:gd name="connsiteY226" fmla="*/ 478204 h 504825"/>
                <a:gd name="connsiteX227" fmla="*/ 426378 w 514350"/>
                <a:gd name="connsiteY227" fmla="*/ 481895 h 504825"/>
                <a:gd name="connsiteX228" fmla="*/ 430065 w 514350"/>
                <a:gd name="connsiteY228" fmla="*/ 481895 h 504825"/>
                <a:gd name="connsiteX229" fmla="*/ 437447 w 514350"/>
                <a:gd name="connsiteY229" fmla="*/ 492967 h 504825"/>
                <a:gd name="connsiteX230" fmla="*/ 441133 w 514350"/>
                <a:gd name="connsiteY230" fmla="*/ 496657 h 504825"/>
                <a:gd name="connsiteX231" fmla="*/ 444819 w 514350"/>
                <a:gd name="connsiteY231" fmla="*/ 492967 h 504825"/>
                <a:gd name="connsiteX232" fmla="*/ 444819 w 514350"/>
                <a:gd name="connsiteY232" fmla="*/ 496657 h 504825"/>
                <a:gd name="connsiteX233" fmla="*/ 441133 w 514350"/>
                <a:gd name="connsiteY233" fmla="*/ 496657 h 504825"/>
                <a:gd name="connsiteX234" fmla="*/ 441133 w 514350"/>
                <a:gd name="connsiteY234" fmla="*/ 504039 h 504825"/>
                <a:gd name="connsiteX235" fmla="*/ 452201 w 514350"/>
                <a:gd name="connsiteY235" fmla="*/ 504039 h 504825"/>
                <a:gd name="connsiteX236" fmla="*/ 448505 w 514350"/>
                <a:gd name="connsiteY236" fmla="*/ 496657 h 504825"/>
                <a:gd name="connsiteX237" fmla="*/ 448505 w 514350"/>
                <a:gd name="connsiteY237" fmla="*/ 492967 h 504825"/>
                <a:gd name="connsiteX238" fmla="*/ 455887 w 514350"/>
                <a:gd name="connsiteY238" fmla="*/ 481895 h 504825"/>
                <a:gd name="connsiteX239" fmla="*/ 478023 w 514350"/>
                <a:gd name="connsiteY239" fmla="*/ 444989 h 504825"/>
                <a:gd name="connsiteX240" fmla="*/ 492777 w 514350"/>
                <a:gd name="connsiteY240" fmla="*/ 419156 h 504825"/>
                <a:gd name="connsiteX241" fmla="*/ 500159 w 514350"/>
                <a:gd name="connsiteY241" fmla="*/ 389631 h 504825"/>
                <a:gd name="connsiteX242" fmla="*/ 503845 w 514350"/>
                <a:gd name="connsiteY242" fmla="*/ 371178 h 504825"/>
                <a:gd name="connsiteX243" fmla="*/ 507541 w 514350"/>
                <a:gd name="connsiteY243" fmla="*/ 367487 h 504825"/>
                <a:gd name="connsiteX244" fmla="*/ 507541 w 514350"/>
                <a:gd name="connsiteY244" fmla="*/ 363796 h 504825"/>
                <a:gd name="connsiteX245" fmla="*/ 500159 w 514350"/>
                <a:gd name="connsiteY245" fmla="*/ 330582 h 504825"/>
                <a:gd name="connsiteX246" fmla="*/ 500159 w 514350"/>
                <a:gd name="connsiteY246" fmla="*/ 312129 h 504825"/>
                <a:gd name="connsiteX247" fmla="*/ 500159 w 514350"/>
                <a:gd name="connsiteY247" fmla="*/ 308438 h 504825"/>
                <a:gd name="connsiteX248" fmla="*/ 500159 w 514350"/>
                <a:gd name="connsiteY248" fmla="*/ 282604 h 504825"/>
                <a:gd name="connsiteX249" fmla="*/ 489091 w 514350"/>
                <a:gd name="connsiteY249" fmla="*/ 275223 h 504825"/>
                <a:gd name="connsiteX250" fmla="*/ 489091 w 514350"/>
                <a:gd name="connsiteY250" fmla="*/ 267842 h 504825"/>
                <a:gd name="connsiteX251" fmla="*/ 489091 w 514350"/>
                <a:gd name="connsiteY251" fmla="*/ 264151 h 504825"/>
                <a:gd name="connsiteX252" fmla="*/ 489091 w 514350"/>
                <a:gd name="connsiteY252" fmla="*/ 260461 h 504825"/>
                <a:gd name="connsiteX253" fmla="*/ 492777 w 514350"/>
                <a:gd name="connsiteY253" fmla="*/ 256771 h 504825"/>
                <a:gd name="connsiteX254" fmla="*/ 492777 w 514350"/>
                <a:gd name="connsiteY254" fmla="*/ 249389 h 504825"/>
                <a:gd name="connsiteX255" fmla="*/ 492777 w 514350"/>
                <a:gd name="connsiteY255" fmla="*/ 245699 h 504825"/>
                <a:gd name="connsiteX256" fmla="*/ 496473 w 514350"/>
                <a:gd name="connsiteY256" fmla="*/ 234627 h 504825"/>
                <a:gd name="connsiteX257" fmla="*/ 500159 w 514350"/>
                <a:gd name="connsiteY257" fmla="*/ 234627 h 504825"/>
                <a:gd name="connsiteX258" fmla="*/ 503845 w 514350"/>
                <a:gd name="connsiteY258" fmla="*/ 230936 h 504825"/>
                <a:gd name="connsiteX259" fmla="*/ 511227 w 514350"/>
                <a:gd name="connsiteY259" fmla="*/ 230936 h 504825"/>
                <a:gd name="connsiteX260" fmla="*/ 503845 w 514350"/>
                <a:gd name="connsiteY260" fmla="*/ 227246 h 504825"/>
                <a:gd name="connsiteX261" fmla="*/ 500159 w 514350"/>
                <a:gd name="connsiteY261" fmla="*/ 223555 h 504825"/>
                <a:gd name="connsiteX262" fmla="*/ 503845 w 514350"/>
                <a:gd name="connsiteY262" fmla="*/ 219865 h 504825"/>
                <a:gd name="connsiteX263" fmla="*/ 503845 w 514350"/>
                <a:gd name="connsiteY263" fmla="*/ 216174 h 504825"/>
                <a:gd name="connsiteX264" fmla="*/ 503845 w 514350"/>
                <a:gd name="connsiteY264" fmla="*/ 201412 h 504825"/>
                <a:gd name="connsiteX265" fmla="*/ 500159 w 514350"/>
                <a:gd name="connsiteY265" fmla="*/ 190340 h 504825"/>
                <a:gd name="connsiteX266" fmla="*/ 500159 w 514350"/>
                <a:gd name="connsiteY266" fmla="*/ 186649 h 504825"/>
                <a:gd name="connsiteX267" fmla="*/ 496473 w 514350"/>
                <a:gd name="connsiteY267" fmla="*/ 186649 h 504825"/>
                <a:gd name="connsiteX268" fmla="*/ 485405 w 514350"/>
                <a:gd name="connsiteY268" fmla="*/ 182958 h 504825"/>
                <a:gd name="connsiteX269" fmla="*/ 481709 w 514350"/>
                <a:gd name="connsiteY269" fmla="*/ 182958 h 504825"/>
                <a:gd name="connsiteX270" fmla="*/ 481709 w 514350"/>
                <a:gd name="connsiteY270" fmla="*/ 179268 h 504825"/>
                <a:gd name="connsiteX271" fmla="*/ 478023 w 514350"/>
                <a:gd name="connsiteY271" fmla="*/ 179268 h 504825"/>
                <a:gd name="connsiteX272" fmla="*/ 474337 w 514350"/>
                <a:gd name="connsiteY272" fmla="*/ 179268 h 504825"/>
                <a:gd name="connsiteX273" fmla="*/ 470641 w 514350"/>
                <a:gd name="connsiteY273" fmla="*/ 179268 h 504825"/>
                <a:gd name="connsiteX274" fmla="*/ 466955 w 514350"/>
                <a:gd name="connsiteY274" fmla="*/ 179268 h 504825"/>
                <a:gd name="connsiteX275" fmla="*/ 466955 w 514350"/>
                <a:gd name="connsiteY275" fmla="*/ 175578 h 504825"/>
                <a:gd name="connsiteX276" fmla="*/ 463269 w 514350"/>
                <a:gd name="connsiteY276" fmla="*/ 175578 h 504825"/>
                <a:gd name="connsiteX277" fmla="*/ 459573 w 514350"/>
                <a:gd name="connsiteY277" fmla="*/ 175578 h 504825"/>
                <a:gd name="connsiteX278" fmla="*/ 452201 w 514350"/>
                <a:gd name="connsiteY278" fmla="*/ 175578 h 504825"/>
                <a:gd name="connsiteX279" fmla="*/ 448505 w 514350"/>
                <a:gd name="connsiteY279" fmla="*/ 171888 h 504825"/>
                <a:gd name="connsiteX280" fmla="*/ 444819 w 514350"/>
                <a:gd name="connsiteY280" fmla="*/ 171888 h 504825"/>
                <a:gd name="connsiteX281" fmla="*/ 441133 w 514350"/>
                <a:gd name="connsiteY281" fmla="*/ 168197 h 504825"/>
                <a:gd name="connsiteX282" fmla="*/ 437447 w 514350"/>
                <a:gd name="connsiteY282" fmla="*/ 164506 h 504825"/>
                <a:gd name="connsiteX283" fmla="*/ 437447 w 514350"/>
                <a:gd name="connsiteY283" fmla="*/ 160816 h 504825"/>
                <a:gd name="connsiteX284" fmla="*/ 437447 w 514350"/>
                <a:gd name="connsiteY284" fmla="*/ 153435 h 504825"/>
                <a:gd name="connsiteX285" fmla="*/ 441133 w 514350"/>
                <a:gd name="connsiteY285" fmla="*/ 149744 h 504825"/>
                <a:gd name="connsiteX286" fmla="*/ 437447 w 514350"/>
                <a:gd name="connsiteY286" fmla="*/ 142363 h 504825"/>
                <a:gd name="connsiteX287" fmla="*/ 437447 w 514350"/>
                <a:gd name="connsiteY287" fmla="*/ 138672 h 504825"/>
                <a:gd name="connsiteX288" fmla="*/ 441133 w 514350"/>
                <a:gd name="connsiteY288" fmla="*/ 138672 h 504825"/>
                <a:gd name="connsiteX289" fmla="*/ 444819 w 514350"/>
                <a:gd name="connsiteY289" fmla="*/ 131291 h 504825"/>
                <a:gd name="connsiteX290" fmla="*/ 444819 w 514350"/>
                <a:gd name="connsiteY290" fmla="*/ 127600 h 504825"/>
                <a:gd name="connsiteX291" fmla="*/ 437447 w 514350"/>
                <a:gd name="connsiteY291" fmla="*/ 131291 h 504825"/>
                <a:gd name="connsiteX292" fmla="*/ 433751 w 514350"/>
                <a:gd name="connsiteY292" fmla="*/ 134981 h 504825"/>
                <a:gd name="connsiteX293" fmla="*/ 422683 w 514350"/>
                <a:gd name="connsiteY293" fmla="*/ 134981 h 504825"/>
                <a:gd name="connsiteX294" fmla="*/ 418997 w 514350"/>
                <a:gd name="connsiteY294" fmla="*/ 134981 h 504825"/>
                <a:gd name="connsiteX295" fmla="*/ 415310 w 514350"/>
                <a:gd name="connsiteY295" fmla="*/ 134981 h 504825"/>
                <a:gd name="connsiteX296" fmla="*/ 411615 w 514350"/>
                <a:gd name="connsiteY296" fmla="*/ 134981 h 504825"/>
                <a:gd name="connsiteX297" fmla="*/ 404242 w 514350"/>
                <a:gd name="connsiteY297" fmla="*/ 131291 h 504825"/>
                <a:gd name="connsiteX298" fmla="*/ 404242 w 514350"/>
                <a:gd name="connsiteY298" fmla="*/ 127600 h 504825"/>
                <a:gd name="connsiteX299" fmla="*/ 400547 w 514350"/>
                <a:gd name="connsiteY299" fmla="*/ 127600 h 504825"/>
                <a:gd name="connsiteX300" fmla="*/ 396861 w 514350"/>
                <a:gd name="connsiteY300" fmla="*/ 127600 h 504825"/>
                <a:gd name="connsiteX301" fmla="*/ 389479 w 514350"/>
                <a:gd name="connsiteY301" fmla="*/ 123910 h 504825"/>
                <a:gd name="connsiteX302" fmla="*/ 382106 w 514350"/>
                <a:gd name="connsiteY302" fmla="*/ 120219 h 504825"/>
                <a:gd name="connsiteX303" fmla="*/ 382106 w 514350"/>
                <a:gd name="connsiteY303" fmla="*/ 123910 h 504825"/>
                <a:gd name="connsiteX304" fmla="*/ 374724 w 514350"/>
                <a:gd name="connsiteY304" fmla="*/ 120219 h 504825"/>
                <a:gd name="connsiteX305" fmla="*/ 367352 w 514350"/>
                <a:gd name="connsiteY305" fmla="*/ 116528 h 504825"/>
                <a:gd name="connsiteX306" fmla="*/ 363656 w 514350"/>
                <a:gd name="connsiteY306" fmla="*/ 116528 h 504825"/>
                <a:gd name="connsiteX307" fmla="*/ 363656 w 514350"/>
                <a:gd name="connsiteY307" fmla="*/ 112838 h 504825"/>
                <a:gd name="connsiteX308" fmla="*/ 367352 w 514350"/>
                <a:gd name="connsiteY308" fmla="*/ 112838 h 504825"/>
                <a:gd name="connsiteX309" fmla="*/ 363656 w 514350"/>
                <a:gd name="connsiteY309" fmla="*/ 109147 h 504825"/>
                <a:gd name="connsiteX310" fmla="*/ 356284 w 514350"/>
                <a:gd name="connsiteY310" fmla="*/ 101766 h 504825"/>
                <a:gd name="connsiteX311" fmla="*/ 352588 w 514350"/>
                <a:gd name="connsiteY311" fmla="*/ 101766 h 504825"/>
                <a:gd name="connsiteX312" fmla="*/ 348902 w 514350"/>
                <a:gd name="connsiteY312" fmla="*/ 98075 h 504825"/>
                <a:gd name="connsiteX313" fmla="*/ 348902 w 514350"/>
                <a:gd name="connsiteY313" fmla="*/ 94385 h 504825"/>
                <a:gd name="connsiteX314" fmla="*/ 348902 w 514350"/>
                <a:gd name="connsiteY314" fmla="*/ 87005 h 504825"/>
                <a:gd name="connsiteX315" fmla="*/ 348902 w 514350"/>
                <a:gd name="connsiteY315" fmla="*/ 79623 h 504825"/>
                <a:gd name="connsiteX316" fmla="*/ 345216 w 514350"/>
                <a:gd name="connsiteY316" fmla="*/ 75933 h 504825"/>
                <a:gd name="connsiteX317" fmla="*/ 345216 w 514350"/>
                <a:gd name="connsiteY317" fmla="*/ 72242 h 504825"/>
                <a:gd name="connsiteX318" fmla="*/ 345216 w 514350"/>
                <a:gd name="connsiteY318" fmla="*/ 68551 h 504825"/>
                <a:gd name="connsiteX319" fmla="*/ 345216 w 514350"/>
                <a:gd name="connsiteY319" fmla="*/ 61170 h 504825"/>
                <a:gd name="connsiteX320" fmla="*/ 341520 w 514350"/>
                <a:gd name="connsiteY320" fmla="*/ 53789 h 504825"/>
                <a:gd name="connsiteX321" fmla="*/ 337834 w 514350"/>
                <a:gd name="connsiteY321" fmla="*/ 53789 h 504825"/>
                <a:gd name="connsiteX322" fmla="*/ 337834 w 514350"/>
                <a:gd name="connsiteY322" fmla="*/ 42717 h 504825"/>
                <a:gd name="connsiteX323" fmla="*/ 341520 w 514350"/>
                <a:gd name="connsiteY323" fmla="*/ 31645 h 504825"/>
                <a:gd name="connsiteX324" fmla="*/ 341520 w 514350"/>
                <a:gd name="connsiteY324" fmla="*/ 27955 h 504825"/>
                <a:gd name="connsiteX325" fmla="*/ 330452 w 514350"/>
                <a:gd name="connsiteY325" fmla="*/ 16883 h 504825"/>
                <a:gd name="connsiteX326" fmla="*/ 323080 w 514350"/>
                <a:gd name="connsiteY326" fmla="*/ 13193 h 504825"/>
                <a:gd name="connsiteX327" fmla="*/ 319384 w 514350"/>
                <a:gd name="connsiteY327" fmla="*/ 20574 h 504825"/>
                <a:gd name="connsiteX328" fmla="*/ 323080 w 514350"/>
                <a:gd name="connsiteY328" fmla="*/ 24264 h 504825"/>
                <a:gd name="connsiteX329" fmla="*/ 319384 w 514350"/>
                <a:gd name="connsiteY329" fmla="*/ 24264 h 504825"/>
                <a:gd name="connsiteX330" fmla="*/ 315698 w 514350"/>
                <a:gd name="connsiteY330" fmla="*/ 24264 h 504825"/>
                <a:gd name="connsiteX331" fmla="*/ 312012 w 514350"/>
                <a:gd name="connsiteY331" fmla="*/ 24264 h 504825"/>
                <a:gd name="connsiteX332" fmla="*/ 312012 w 514350"/>
                <a:gd name="connsiteY332" fmla="*/ 20574 h 504825"/>
                <a:gd name="connsiteX333" fmla="*/ 315698 w 514350"/>
                <a:gd name="connsiteY333" fmla="*/ 24264 h 504825"/>
                <a:gd name="connsiteX334" fmla="*/ 315698 w 514350"/>
                <a:gd name="connsiteY334" fmla="*/ 20574 h 504825"/>
                <a:gd name="connsiteX335" fmla="*/ 319384 w 514350"/>
                <a:gd name="connsiteY335" fmla="*/ 13193 h 504825"/>
                <a:gd name="connsiteX336" fmla="*/ 315698 w 514350"/>
                <a:gd name="connsiteY336" fmla="*/ 13193 h 504825"/>
                <a:gd name="connsiteX337" fmla="*/ 308316 w 514350"/>
                <a:gd name="connsiteY337" fmla="*/ 9502 h 504825"/>
                <a:gd name="connsiteX338" fmla="*/ 300944 w 514350"/>
                <a:gd name="connsiteY338" fmla="*/ 16883 h 504825"/>
                <a:gd name="connsiteX339" fmla="*/ 297258 w 514350"/>
                <a:gd name="connsiteY339" fmla="*/ 13193 h 504825"/>
                <a:gd name="connsiteX340" fmla="*/ 289876 w 514350"/>
                <a:gd name="connsiteY340" fmla="*/ 9502 h 504825"/>
                <a:gd name="connsiteX341" fmla="*/ 278808 w 514350"/>
                <a:gd name="connsiteY341" fmla="*/ 9502 h 504825"/>
                <a:gd name="connsiteX342" fmla="*/ 275121 w 514350"/>
                <a:gd name="connsiteY342" fmla="*/ 5812 h 504825"/>
                <a:gd name="connsiteX343" fmla="*/ 367352 w 514350"/>
                <a:gd name="connsiteY343" fmla="*/ 112838 h 504825"/>
                <a:gd name="connsiteX344" fmla="*/ 371038 w 514350"/>
                <a:gd name="connsiteY344" fmla="*/ 116528 h 504825"/>
                <a:gd name="connsiteX345" fmla="*/ 371038 w 514350"/>
                <a:gd name="connsiteY345" fmla="*/ 112838 h 504825"/>
                <a:gd name="connsiteX346" fmla="*/ 367352 w 514350"/>
                <a:gd name="connsiteY346" fmla="*/ 112838 h 504825"/>
                <a:gd name="connsiteX347" fmla="*/ 500159 w 514350"/>
                <a:gd name="connsiteY347" fmla="*/ 186649 h 504825"/>
                <a:gd name="connsiteX348" fmla="*/ 500159 w 514350"/>
                <a:gd name="connsiteY348" fmla="*/ 179268 h 504825"/>
                <a:gd name="connsiteX349" fmla="*/ 496473 w 514350"/>
                <a:gd name="connsiteY349" fmla="*/ 182958 h 504825"/>
                <a:gd name="connsiteX350" fmla="*/ 500159 w 514350"/>
                <a:gd name="connsiteY350" fmla="*/ 186649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Lst>
              <a:rect l="l" t="t" r="r" b="b"/>
              <a:pathLst>
                <a:path w="514350" h="504825">
                  <a:moveTo>
                    <a:pt x="275121" y="5812"/>
                  </a:moveTo>
                  <a:lnTo>
                    <a:pt x="267740" y="9502"/>
                  </a:lnTo>
                  <a:lnTo>
                    <a:pt x="238222" y="13193"/>
                  </a:lnTo>
                  <a:lnTo>
                    <a:pt x="234535" y="16883"/>
                  </a:lnTo>
                  <a:lnTo>
                    <a:pt x="223467" y="20574"/>
                  </a:lnTo>
                  <a:lnTo>
                    <a:pt x="219781" y="20574"/>
                  </a:lnTo>
                  <a:lnTo>
                    <a:pt x="216095" y="24264"/>
                  </a:lnTo>
                  <a:lnTo>
                    <a:pt x="208713" y="24264"/>
                  </a:lnTo>
                  <a:lnTo>
                    <a:pt x="201331" y="31645"/>
                  </a:lnTo>
                  <a:lnTo>
                    <a:pt x="197645" y="31645"/>
                  </a:lnTo>
                  <a:lnTo>
                    <a:pt x="193959" y="31645"/>
                  </a:lnTo>
                  <a:lnTo>
                    <a:pt x="190263" y="31645"/>
                  </a:lnTo>
                  <a:lnTo>
                    <a:pt x="182891" y="35336"/>
                  </a:lnTo>
                  <a:lnTo>
                    <a:pt x="175509" y="39027"/>
                  </a:lnTo>
                  <a:lnTo>
                    <a:pt x="171823" y="35336"/>
                  </a:lnTo>
                  <a:lnTo>
                    <a:pt x="168127" y="39027"/>
                  </a:lnTo>
                  <a:lnTo>
                    <a:pt x="149687" y="39027"/>
                  </a:lnTo>
                  <a:lnTo>
                    <a:pt x="138619" y="42717"/>
                  </a:lnTo>
                  <a:lnTo>
                    <a:pt x="123864" y="46408"/>
                  </a:lnTo>
                  <a:lnTo>
                    <a:pt x="116483" y="46408"/>
                  </a:lnTo>
                  <a:lnTo>
                    <a:pt x="109101" y="50098"/>
                  </a:lnTo>
                  <a:lnTo>
                    <a:pt x="101728" y="50098"/>
                  </a:lnTo>
                  <a:lnTo>
                    <a:pt x="90660" y="53789"/>
                  </a:lnTo>
                  <a:lnTo>
                    <a:pt x="79592" y="57480"/>
                  </a:lnTo>
                  <a:lnTo>
                    <a:pt x="75906" y="61170"/>
                  </a:lnTo>
                  <a:lnTo>
                    <a:pt x="75906" y="64861"/>
                  </a:lnTo>
                  <a:lnTo>
                    <a:pt x="68524" y="68551"/>
                  </a:lnTo>
                  <a:lnTo>
                    <a:pt x="64838" y="64861"/>
                  </a:lnTo>
                  <a:lnTo>
                    <a:pt x="61142" y="61170"/>
                  </a:lnTo>
                  <a:lnTo>
                    <a:pt x="42702" y="50098"/>
                  </a:lnTo>
                  <a:lnTo>
                    <a:pt x="39006" y="50098"/>
                  </a:lnTo>
                  <a:lnTo>
                    <a:pt x="24252" y="57480"/>
                  </a:lnTo>
                  <a:lnTo>
                    <a:pt x="24252" y="53789"/>
                  </a:lnTo>
                  <a:lnTo>
                    <a:pt x="20566" y="53789"/>
                  </a:lnTo>
                  <a:lnTo>
                    <a:pt x="20566" y="57480"/>
                  </a:lnTo>
                  <a:lnTo>
                    <a:pt x="16870" y="57480"/>
                  </a:lnTo>
                  <a:lnTo>
                    <a:pt x="16870" y="53789"/>
                  </a:lnTo>
                  <a:lnTo>
                    <a:pt x="13184" y="57480"/>
                  </a:lnTo>
                  <a:lnTo>
                    <a:pt x="16870" y="61170"/>
                  </a:lnTo>
                  <a:lnTo>
                    <a:pt x="20566" y="61170"/>
                  </a:lnTo>
                  <a:lnTo>
                    <a:pt x="24252" y="64861"/>
                  </a:lnTo>
                  <a:lnTo>
                    <a:pt x="27938" y="64861"/>
                  </a:lnTo>
                  <a:lnTo>
                    <a:pt x="31634" y="68551"/>
                  </a:lnTo>
                  <a:lnTo>
                    <a:pt x="35320" y="68551"/>
                  </a:lnTo>
                  <a:lnTo>
                    <a:pt x="35320" y="72242"/>
                  </a:lnTo>
                  <a:lnTo>
                    <a:pt x="31634" y="72242"/>
                  </a:lnTo>
                  <a:lnTo>
                    <a:pt x="27938" y="72242"/>
                  </a:lnTo>
                  <a:lnTo>
                    <a:pt x="24252" y="72242"/>
                  </a:lnTo>
                  <a:lnTo>
                    <a:pt x="24252" y="68551"/>
                  </a:lnTo>
                  <a:lnTo>
                    <a:pt x="16870" y="64861"/>
                  </a:lnTo>
                  <a:lnTo>
                    <a:pt x="16870" y="61170"/>
                  </a:lnTo>
                  <a:lnTo>
                    <a:pt x="9498" y="61170"/>
                  </a:lnTo>
                  <a:lnTo>
                    <a:pt x="5812" y="68551"/>
                  </a:lnTo>
                  <a:lnTo>
                    <a:pt x="9498" y="68551"/>
                  </a:lnTo>
                  <a:lnTo>
                    <a:pt x="13184" y="72242"/>
                  </a:lnTo>
                  <a:lnTo>
                    <a:pt x="16870" y="72242"/>
                  </a:lnTo>
                  <a:lnTo>
                    <a:pt x="16870" y="75933"/>
                  </a:lnTo>
                  <a:lnTo>
                    <a:pt x="13184" y="79623"/>
                  </a:lnTo>
                  <a:lnTo>
                    <a:pt x="9498" y="75933"/>
                  </a:lnTo>
                  <a:lnTo>
                    <a:pt x="9498" y="79623"/>
                  </a:lnTo>
                  <a:lnTo>
                    <a:pt x="13184" y="83314"/>
                  </a:lnTo>
                  <a:lnTo>
                    <a:pt x="16870" y="83314"/>
                  </a:lnTo>
                  <a:lnTo>
                    <a:pt x="20566" y="83314"/>
                  </a:lnTo>
                  <a:lnTo>
                    <a:pt x="24252" y="83314"/>
                  </a:lnTo>
                  <a:lnTo>
                    <a:pt x="27938" y="83314"/>
                  </a:lnTo>
                  <a:lnTo>
                    <a:pt x="31634" y="83314"/>
                  </a:lnTo>
                  <a:lnTo>
                    <a:pt x="31634" y="87005"/>
                  </a:lnTo>
                  <a:lnTo>
                    <a:pt x="24252" y="87005"/>
                  </a:lnTo>
                  <a:lnTo>
                    <a:pt x="20566" y="87005"/>
                  </a:lnTo>
                  <a:lnTo>
                    <a:pt x="20566" y="90695"/>
                  </a:lnTo>
                  <a:lnTo>
                    <a:pt x="24252" y="90695"/>
                  </a:lnTo>
                  <a:lnTo>
                    <a:pt x="27938" y="90695"/>
                  </a:lnTo>
                  <a:lnTo>
                    <a:pt x="31634" y="90695"/>
                  </a:lnTo>
                  <a:lnTo>
                    <a:pt x="35320" y="87005"/>
                  </a:lnTo>
                  <a:lnTo>
                    <a:pt x="35320" y="90695"/>
                  </a:lnTo>
                  <a:lnTo>
                    <a:pt x="35320" y="94385"/>
                  </a:lnTo>
                  <a:lnTo>
                    <a:pt x="31634" y="94385"/>
                  </a:lnTo>
                  <a:lnTo>
                    <a:pt x="35320" y="98075"/>
                  </a:lnTo>
                  <a:lnTo>
                    <a:pt x="39006" y="94385"/>
                  </a:lnTo>
                  <a:lnTo>
                    <a:pt x="42702" y="94385"/>
                  </a:lnTo>
                  <a:lnTo>
                    <a:pt x="42702" y="98075"/>
                  </a:lnTo>
                  <a:lnTo>
                    <a:pt x="39006" y="101766"/>
                  </a:lnTo>
                  <a:lnTo>
                    <a:pt x="31634" y="101766"/>
                  </a:lnTo>
                  <a:lnTo>
                    <a:pt x="31634" y="105457"/>
                  </a:lnTo>
                  <a:lnTo>
                    <a:pt x="35320" y="109147"/>
                  </a:lnTo>
                  <a:lnTo>
                    <a:pt x="39006" y="105457"/>
                  </a:lnTo>
                  <a:lnTo>
                    <a:pt x="42702" y="105457"/>
                  </a:lnTo>
                  <a:lnTo>
                    <a:pt x="46388" y="105457"/>
                  </a:lnTo>
                  <a:lnTo>
                    <a:pt x="50074" y="105457"/>
                  </a:lnTo>
                  <a:lnTo>
                    <a:pt x="53770" y="109147"/>
                  </a:lnTo>
                  <a:lnTo>
                    <a:pt x="57456" y="109147"/>
                  </a:lnTo>
                  <a:lnTo>
                    <a:pt x="57456" y="131291"/>
                  </a:lnTo>
                  <a:lnTo>
                    <a:pt x="57456" y="134981"/>
                  </a:lnTo>
                  <a:lnTo>
                    <a:pt x="61142" y="134981"/>
                  </a:lnTo>
                  <a:lnTo>
                    <a:pt x="61142" y="138672"/>
                  </a:lnTo>
                  <a:lnTo>
                    <a:pt x="57456" y="138672"/>
                  </a:lnTo>
                  <a:lnTo>
                    <a:pt x="53770" y="142363"/>
                  </a:lnTo>
                  <a:lnTo>
                    <a:pt x="53770" y="146053"/>
                  </a:lnTo>
                  <a:lnTo>
                    <a:pt x="50074" y="149744"/>
                  </a:lnTo>
                  <a:lnTo>
                    <a:pt x="46388" y="149744"/>
                  </a:lnTo>
                  <a:lnTo>
                    <a:pt x="42702" y="153435"/>
                  </a:lnTo>
                  <a:lnTo>
                    <a:pt x="42702" y="157125"/>
                  </a:lnTo>
                  <a:lnTo>
                    <a:pt x="42702" y="160816"/>
                  </a:lnTo>
                  <a:lnTo>
                    <a:pt x="42702" y="164506"/>
                  </a:lnTo>
                  <a:lnTo>
                    <a:pt x="46388" y="164506"/>
                  </a:lnTo>
                  <a:lnTo>
                    <a:pt x="42702" y="168197"/>
                  </a:lnTo>
                  <a:lnTo>
                    <a:pt x="39006" y="168197"/>
                  </a:lnTo>
                  <a:lnTo>
                    <a:pt x="39006" y="171888"/>
                  </a:lnTo>
                  <a:lnTo>
                    <a:pt x="35320" y="175578"/>
                  </a:lnTo>
                  <a:lnTo>
                    <a:pt x="35320" y="179268"/>
                  </a:lnTo>
                  <a:lnTo>
                    <a:pt x="35320" y="182958"/>
                  </a:lnTo>
                  <a:lnTo>
                    <a:pt x="31634" y="186649"/>
                  </a:lnTo>
                  <a:lnTo>
                    <a:pt x="27938" y="190340"/>
                  </a:lnTo>
                  <a:lnTo>
                    <a:pt x="24252" y="194030"/>
                  </a:lnTo>
                  <a:lnTo>
                    <a:pt x="24252" y="197721"/>
                  </a:lnTo>
                  <a:lnTo>
                    <a:pt x="27938" y="197721"/>
                  </a:lnTo>
                  <a:lnTo>
                    <a:pt x="31634" y="197721"/>
                  </a:lnTo>
                  <a:lnTo>
                    <a:pt x="31634" y="205102"/>
                  </a:lnTo>
                  <a:lnTo>
                    <a:pt x="31634" y="208793"/>
                  </a:lnTo>
                  <a:lnTo>
                    <a:pt x="31634" y="212483"/>
                  </a:lnTo>
                  <a:lnTo>
                    <a:pt x="27938" y="219865"/>
                  </a:lnTo>
                  <a:lnTo>
                    <a:pt x="24252" y="223555"/>
                  </a:lnTo>
                  <a:lnTo>
                    <a:pt x="20566" y="223555"/>
                  </a:lnTo>
                  <a:lnTo>
                    <a:pt x="16870" y="227246"/>
                  </a:lnTo>
                  <a:lnTo>
                    <a:pt x="16870" y="230936"/>
                  </a:lnTo>
                  <a:lnTo>
                    <a:pt x="13184" y="238318"/>
                  </a:lnTo>
                  <a:lnTo>
                    <a:pt x="9498" y="242008"/>
                  </a:lnTo>
                  <a:lnTo>
                    <a:pt x="9498" y="249389"/>
                  </a:lnTo>
                  <a:lnTo>
                    <a:pt x="9498" y="256771"/>
                  </a:lnTo>
                  <a:lnTo>
                    <a:pt x="9498" y="260461"/>
                  </a:lnTo>
                  <a:lnTo>
                    <a:pt x="9498" y="275223"/>
                  </a:lnTo>
                  <a:lnTo>
                    <a:pt x="13184" y="278913"/>
                  </a:lnTo>
                  <a:lnTo>
                    <a:pt x="16870" y="282604"/>
                  </a:lnTo>
                  <a:lnTo>
                    <a:pt x="20566" y="289985"/>
                  </a:lnTo>
                  <a:lnTo>
                    <a:pt x="24252" y="289985"/>
                  </a:lnTo>
                  <a:lnTo>
                    <a:pt x="31634" y="289985"/>
                  </a:lnTo>
                  <a:lnTo>
                    <a:pt x="39006" y="289985"/>
                  </a:lnTo>
                  <a:lnTo>
                    <a:pt x="46388" y="289985"/>
                  </a:lnTo>
                  <a:lnTo>
                    <a:pt x="50074" y="289985"/>
                  </a:lnTo>
                  <a:lnTo>
                    <a:pt x="53770" y="293676"/>
                  </a:lnTo>
                  <a:lnTo>
                    <a:pt x="61142" y="297366"/>
                  </a:lnTo>
                  <a:lnTo>
                    <a:pt x="64838" y="301057"/>
                  </a:lnTo>
                  <a:lnTo>
                    <a:pt x="64838" y="304748"/>
                  </a:lnTo>
                  <a:lnTo>
                    <a:pt x="75906" y="308438"/>
                  </a:lnTo>
                  <a:lnTo>
                    <a:pt x="86974" y="312129"/>
                  </a:lnTo>
                  <a:lnTo>
                    <a:pt x="90660" y="312129"/>
                  </a:lnTo>
                  <a:lnTo>
                    <a:pt x="94346" y="297366"/>
                  </a:lnTo>
                  <a:lnTo>
                    <a:pt x="98033" y="297366"/>
                  </a:lnTo>
                  <a:lnTo>
                    <a:pt x="98033" y="286295"/>
                  </a:lnTo>
                  <a:lnTo>
                    <a:pt x="98033" y="282604"/>
                  </a:lnTo>
                  <a:lnTo>
                    <a:pt x="105414" y="264151"/>
                  </a:lnTo>
                  <a:lnTo>
                    <a:pt x="105414" y="260461"/>
                  </a:lnTo>
                  <a:lnTo>
                    <a:pt x="109101" y="256771"/>
                  </a:lnTo>
                  <a:lnTo>
                    <a:pt x="112796" y="249389"/>
                  </a:lnTo>
                  <a:lnTo>
                    <a:pt x="116483" y="245699"/>
                  </a:lnTo>
                  <a:lnTo>
                    <a:pt x="116483" y="242008"/>
                  </a:lnTo>
                  <a:lnTo>
                    <a:pt x="120169" y="238318"/>
                  </a:lnTo>
                  <a:lnTo>
                    <a:pt x="127551" y="234627"/>
                  </a:lnTo>
                  <a:lnTo>
                    <a:pt x="134932" y="230936"/>
                  </a:lnTo>
                  <a:lnTo>
                    <a:pt x="134932" y="227246"/>
                  </a:lnTo>
                  <a:lnTo>
                    <a:pt x="138619" y="223555"/>
                  </a:lnTo>
                  <a:lnTo>
                    <a:pt x="146001" y="219865"/>
                  </a:lnTo>
                  <a:lnTo>
                    <a:pt x="153373" y="219865"/>
                  </a:lnTo>
                  <a:lnTo>
                    <a:pt x="157069" y="219865"/>
                  </a:lnTo>
                  <a:lnTo>
                    <a:pt x="160755" y="223555"/>
                  </a:lnTo>
                  <a:lnTo>
                    <a:pt x="164441" y="219865"/>
                  </a:lnTo>
                  <a:lnTo>
                    <a:pt x="168127" y="223555"/>
                  </a:lnTo>
                  <a:lnTo>
                    <a:pt x="175509" y="223555"/>
                  </a:lnTo>
                  <a:lnTo>
                    <a:pt x="179195" y="234627"/>
                  </a:lnTo>
                  <a:lnTo>
                    <a:pt x="182891" y="238318"/>
                  </a:lnTo>
                  <a:lnTo>
                    <a:pt x="186577" y="234627"/>
                  </a:lnTo>
                  <a:lnTo>
                    <a:pt x="190263" y="245699"/>
                  </a:lnTo>
                  <a:lnTo>
                    <a:pt x="190263" y="249389"/>
                  </a:lnTo>
                  <a:lnTo>
                    <a:pt x="193959" y="253080"/>
                  </a:lnTo>
                  <a:lnTo>
                    <a:pt x="201331" y="249389"/>
                  </a:lnTo>
                  <a:lnTo>
                    <a:pt x="201331" y="253080"/>
                  </a:lnTo>
                  <a:lnTo>
                    <a:pt x="201331" y="256771"/>
                  </a:lnTo>
                  <a:lnTo>
                    <a:pt x="205027" y="260461"/>
                  </a:lnTo>
                  <a:lnTo>
                    <a:pt x="205027" y="264151"/>
                  </a:lnTo>
                  <a:lnTo>
                    <a:pt x="212399" y="264151"/>
                  </a:lnTo>
                  <a:lnTo>
                    <a:pt x="212399" y="267842"/>
                  </a:lnTo>
                  <a:lnTo>
                    <a:pt x="216095" y="271532"/>
                  </a:lnTo>
                  <a:lnTo>
                    <a:pt x="219781" y="275223"/>
                  </a:lnTo>
                  <a:lnTo>
                    <a:pt x="223467" y="278913"/>
                  </a:lnTo>
                  <a:lnTo>
                    <a:pt x="223467" y="282604"/>
                  </a:lnTo>
                  <a:lnTo>
                    <a:pt x="227163" y="282604"/>
                  </a:lnTo>
                  <a:lnTo>
                    <a:pt x="223467" y="286295"/>
                  </a:lnTo>
                  <a:lnTo>
                    <a:pt x="227163" y="289985"/>
                  </a:lnTo>
                  <a:lnTo>
                    <a:pt x="227163" y="293676"/>
                  </a:lnTo>
                  <a:lnTo>
                    <a:pt x="245603" y="286295"/>
                  </a:lnTo>
                  <a:lnTo>
                    <a:pt x="249290" y="286295"/>
                  </a:lnTo>
                  <a:lnTo>
                    <a:pt x="256672" y="282604"/>
                  </a:lnTo>
                  <a:lnTo>
                    <a:pt x="267740" y="282604"/>
                  </a:lnTo>
                  <a:lnTo>
                    <a:pt x="271426" y="282604"/>
                  </a:lnTo>
                  <a:lnTo>
                    <a:pt x="275121" y="282604"/>
                  </a:lnTo>
                  <a:lnTo>
                    <a:pt x="278808" y="286295"/>
                  </a:lnTo>
                  <a:lnTo>
                    <a:pt x="282494" y="286295"/>
                  </a:lnTo>
                  <a:lnTo>
                    <a:pt x="282494" y="289985"/>
                  </a:lnTo>
                  <a:lnTo>
                    <a:pt x="297258" y="301057"/>
                  </a:lnTo>
                  <a:lnTo>
                    <a:pt x="300944" y="308438"/>
                  </a:lnTo>
                  <a:lnTo>
                    <a:pt x="315698" y="319510"/>
                  </a:lnTo>
                  <a:lnTo>
                    <a:pt x="315698" y="323201"/>
                  </a:lnTo>
                  <a:lnTo>
                    <a:pt x="326766" y="334273"/>
                  </a:lnTo>
                  <a:lnTo>
                    <a:pt x="337834" y="345344"/>
                  </a:lnTo>
                  <a:lnTo>
                    <a:pt x="356284" y="363796"/>
                  </a:lnTo>
                  <a:lnTo>
                    <a:pt x="359970" y="367487"/>
                  </a:lnTo>
                  <a:lnTo>
                    <a:pt x="367352" y="374868"/>
                  </a:lnTo>
                  <a:lnTo>
                    <a:pt x="374724" y="382249"/>
                  </a:lnTo>
                  <a:lnTo>
                    <a:pt x="378410" y="385940"/>
                  </a:lnTo>
                  <a:lnTo>
                    <a:pt x="378410" y="389631"/>
                  </a:lnTo>
                  <a:lnTo>
                    <a:pt x="382106" y="393321"/>
                  </a:lnTo>
                  <a:lnTo>
                    <a:pt x="385792" y="397012"/>
                  </a:lnTo>
                  <a:lnTo>
                    <a:pt x="389479" y="404393"/>
                  </a:lnTo>
                  <a:lnTo>
                    <a:pt x="393174" y="411774"/>
                  </a:lnTo>
                  <a:lnTo>
                    <a:pt x="396861" y="411774"/>
                  </a:lnTo>
                  <a:lnTo>
                    <a:pt x="396861" y="415465"/>
                  </a:lnTo>
                  <a:lnTo>
                    <a:pt x="400547" y="415465"/>
                  </a:lnTo>
                  <a:lnTo>
                    <a:pt x="407928" y="426537"/>
                  </a:lnTo>
                  <a:lnTo>
                    <a:pt x="411615" y="433917"/>
                  </a:lnTo>
                  <a:lnTo>
                    <a:pt x="415310" y="437608"/>
                  </a:lnTo>
                  <a:lnTo>
                    <a:pt x="418997" y="441298"/>
                  </a:lnTo>
                  <a:lnTo>
                    <a:pt x="426378" y="441298"/>
                  </a:lnTo>
                  <a:lnTo>
                    <a:pt x="426378" y="448680"/>
                  </a:lnTo>
                  <a:lnTo>
                    <a:pt x="422683" y="452370"/>
                  </a:lnTo>
                  <a:lnTo>
                    <a:pt x="415310" y="474514"/>
                  </a:lnTo>
                  <a:lnTo>
                    <a:pt x="415310" y="478204"/>
                  </a:lnTo>
                  <a:lnTo>
                    <a:pt x="426378" y="478204"/>
                  </a:lnTo>
                  <a:lnTo>
                    <a:pt x="426378" y="481895"/>
                  </a:lnTo>
                  <a:lnTo>
                    <a:pt x="430065" y="481895"/>
                  </a:lnTo>
                  <a:lnTo>
                    <a:pt x="437447" y="492967"/>
                  </a:lnTo>
                  <a:lnTo>
                    <a:pt x="441133" y="496657"/>
                  </a:lnTo>
                  <a:lnTo>
                    <a:pt x="444819" y="492967"/>
                  </a:lnTo>
                  <a:lnTo>
                    <a:pt x="444819" y="496657"/>
                  </a:lnTo>
                  <a:lnTo>
                    <a:pt x="441133" y="496657"/>
                  </a:lnTo>
                  <a:lnTo>
                    <a:pt x="441133" y="504039"/>
                  </a:lnTo>
                  <a:lnTo>
                    <a:pt x="452201" y="504039"/>
                  </a:lnTo>
                  <a:lnTo>
                    <a:pt x="448505" y="496657"/>
                  </a:lnTo>
                  <a:lnTo>
                    <a:pt x="448505" y="492967"/>
                  </a:lnTo>
                  <a:lnTo>
                    <a:pt x="455887" y="481895"/>
                  </a:lnTo>
                  <a:lnTo>
                    <a:pt x="478023" y="444989"/>
                  </a:lnTo>
                  <a:lnTo>
                    <a:pt x="492777" y="419156"/>
                  </a:lnTo>
                  <a:lnTo>
                    <a:pt x="500159" y="389631"/>
                  </a:lnTo>
                  <a:lnTo>
                    <a:pt x="503845" y="371178"/>
                  </a:lnTo>
                  <a:lnTo>
                    <a:pt x="507541" y="367487"/>
                  </a:lnTo>
                  <a:lnTo>
                    <a:pt x="507541" y="363796"/>
                  </a:lnTo>
                  <a:lnTo>
                    <a:pt x="500159" y="330582"/>
                  </a:lnTo>
                  <a:lnTo>
                    <a:pt x="500159" y="312129"/>
                  </a:lnTo>
                  <a:lnTo>
                    <a:pt x="500159" y="308438"/>
                  </a:lnTo>
                  <a:lnTo>
                    <a:pt x="500159" y="282604"/>
                  </a:lnTo>
                  <a:lnTo>
                    <a:pt x="489091" y="275223"/>
                  </a:lnTo>
                  <a:lnTo>
                    <a:pt x="489091" y="267842"/>
                  </a:lnTo>
                  <a:lnTo>
                    <a:pt x="489091" y="264151"/>
                  </a:lnTo>
                  <a:lnTo>
                    <a:pt x="489091" y="260461"/>
                  </a:lnTo>
                  <a:lnTo>
                    <a:pt x="492777" y="256771"/>
                  </a:lnTo>
                  <a:lnTo>
                    <a:pt x="492777" y="249389"/>
                  </a:lnTo>
                  <a:lnTo>
                    <a:pt x="492777" y="245699"/>
                  </a:lnTo>
                  <a:lnTo>
                    <a:pt x="496473" y="234627"/>
                  </a:lnTo>
                  <a:lnTo>
                    <a:pt x="500159" y="234627"/>
                  </a:lnTo>
                  <a:lnTo>
                    <a:pt x="503845" y="230936"/>
                  </a:lnTo>
                  <a:lnTo>
                    <a:pt x="511227" y="230936"/>
                  </a:lnTo>
                  <a:lnTo>
                    <a:pt x="503845" y="227246"/>
                  </a:lnTo>
                  <a:lnTo>
                    <a:pt x="500159" y="223555"/>
                  </a:lnTo>
                  <a:lnTo>
                    <a:pt x="503845" y="219865"/>
                  </a:lnTo>
                  <a:lnTo>
                    <a:pt x="503845" y="216174"/>
                  </a:lnTo>
                  <a:lnTo>
                    <a:pt x="503845" y="201412"/>
                  </a:lnTo>
                  <a:lnTo>
                    <a:pt x="500159" y="190340"/>
                  </a:lnTo>
                  <a:lnTo>
                    <a:pt x="500159" y="186649"/>
                  </a:lnTo>
                  <a:lnTo>
                    <a:pt x="496473" y="186649"/>
                  </a:lnTo>
                  <a:lnTo>
                    <a:pt x="485405" y="182958"/>
                  </a:lnTo>
                  <a:lnTo>
                    <a:pt x="481709" y="182958"/>
                  </a:lnTo>
                  <a:lnTo>
                    <a:pt x="481709" y="179268"/>
                  </a:lnTo>
                  <a:lnTo>
                    <a:pt x="478023" y="179268"/>
                  </a:lnTo>
                  <a:lnTo>
                    <a:pt x="474337" y="179268"/>
                  </a:lnTo>
                  <a:lnTo>
                    <a:pt x="470641" y="179268"/>
                  </a:lnTo>
                  <a:lnTo>
                    <a:pt x="466955" y="179268"/>
                  </a:lnTo>
                  <a:lnTo>
                    <a:pt x="466955" y="175578"/>
                  </a:lnTo>
                  <a:lnTo>
                    <a:pt x="463269" y="175578"/>
                  </a:lnTo>
                  <a:lnTo>
                    <a:pt x="459573" y="175578"/>
                  </a:lnTo>
                  <a:lnTo>
                    <a:pt x="452201" y="175578"/>
                  </a:lnTo>
                  <a:lnTo>
                    <a:pt x="448505" y="171888"/>
                  </a:lnTo>
                  <a:lnTo>
                    <a:pt x="444819" y="171888"/>
                  </a:lnTo>
                  <a:lnTo>
                    <a:pt x="441133" y="168197"/>
                  </a:lnTo>
                  <a:lnTo>
                    <a:pt x="437447" y="164506"/>
                  </a:lnTo>
                  <a:lnTo>
                    <a:pt x="437447" y="160816"/>
                  </a:lnTo>
                  <a:lnTo>
                    <a:pt x="437447" y="153435"/>
                  </a:lnTo>
                  <a:lnTo>
                    <a:pt x="441133" y="149744"/>
                  </a:lnTo>
                  <a:lnTo>
                    <a:pt x="437447" y="142363"/>
                  </a:lnTo>
                  <a:lnTo>
                    <a:pt x="437447" y="138672"/>
                  </a:lnTo>
                  <a:lnTo>
                    <a:pt x="441133" y="138672"/>
                  </a:lnTo>
                  <a:lnTo>
                    <a:pt x="444819" y="131291"/>
                  </a:lnTo>
                  <a:lnTo>
                    <a:pt x="444819" y="127600"/>
                  </a:lnTo>
                  <a:lnTo>
                    <a:pt x="437447" y="131291"/>
                  </a:lnTo>
                  <a:lnTo>
                    <a:pt x="433751" y="134981"/>
                  </a:lnTo>
                  <a:lnTo>
                    <a:pt x="422683" y="134981"/>
                  </a:lnTo>
                  <a:lnTo>
                    <a:pt x="418997" y="134981"/>
                  </a:lnTo>
                  <a:lnTo>
                    <a:pt x="415310" y="134981"/>
                  </a:lnTo>
                  <a:lnTo>
                    <a:pt x="411615" y="134981"/>
                  </a:lnTo>
                  <a:lnTo>
                    <a:pt x="404242" y="131291"/>
                  </a:lnTo>
                  <a:lnTo>
                    <a:pt x="404242" y="127600"/>
                  </a:lnTo>
                  <a:lnTo>
                    <a:pt x="400547" y="127600"/>
                  </a:lnTo>
                  <a:lnTo>
                    <a:pt x="396861" y="127600"/>
                  </a:lnTo>
                  <a:lnTo>
                    <a:pt x="389479" y="123910"/>
                  </a:lnTo>
                  <a:lnTo>
                    <a:pt x="382106" y="120219"/>
                  </a:lnTo>
                  <a:lnTo>
                    <a:pt x="382106" y="123910"/>
                  </a:lnTo>
                  <a:lnTo>
                    <a:pt x="374724" y="120219"/>
                  </a:lnTo>
                  <a:lnTo>
                    <a:pt x="367352" y="116528"/>
                  </a:lnTo>
                  <a:lnTo>
                    <a:pt x="363656" y="116528"/>
                  </a:lnTo>
                  <a:lnTo>
                    <a:pt x="363656" y="112838"/>
                  </a:lnTo>
                  <a:lnTo>
                    <a:pt x="367352" y="112838"/>
                  </a:lnTo>
                  <a:lnTo>
                    <a:pt x="363656" y="109147"/>
                  </a:lnTo>
                  <a:lnTo>
                    <a:pt x="356284" y="101766"/>
                  </a:lnTo>
                  <a:lnTo>
                    <a:pt x="352588" y="101766"/>
                  </a:lnTo>
                  <a:lnTo>
                    <a:pt x="348902" y="98075"/>
                  </a:lnTo>
                  <a:lnTo>
                    <a:pt x="348902" y="94385"/>
                  </a:lnTo>
                  <a:lnTo>
                    <a:pt x="348902" y="87005"/>
                  </a:lnTo>
                  <a:lnTo>
                    <a:pt x="348902" y="79623"/>
                  </a:lnTo>
                  <a:lnTo>
                    <a:pt x="345216" y="75933"/>
                  </a:lnTo>
                  <a:lnTo>
                    <a:pt x="345216" y="72242"/>
                  </a:lnTo>
                  <a:lnTo>
                    <a:pt x="345216" y="68551"/>
                  </a:lnTo>
                  <a:lnTo>
                    <a:pt x="345216" y="61170"/>
                  </a:lnTo>
                  <a:lnTo>
                    <a:pt x="341520" y="53789"/>
                  </a:lnTo>
                  <a:lnTo>
                    <a:pt x="337834" y="53789"/>
                  </a:lnTo>
                  <a:lnTo>
                    <a:pt x="337834" y="42717"/>
                  </a:lnTo>
                  <a:lnTo>
                    <a:pt x="341520" y="31645"/>
                  </a:lnTo>
                  <a:lnTo>
                    <a:pt x="341520" y="27955"/>
                  </a:lnTo>
                  <a:lnTo>
                    <a:pt x="330452" y="16883"/>
                  </a:lnTo>
                  <a:lnTo>
                    <a:pt x="323080" y="13193"/>
                  </a:lnTo>
                  <a:lnTo>
                    <a:pt x="319384" y="20574"/>
                  </a:lnTo>
                  <a:lnTo>
                    <a:pt x="323080" y="24264"/>
                  </a:lnTo>
                  <a:lnTo>
                    <a:pt x="319384" y="24264"/>
                  </a:lnTo>
                  <a:lnTo>
                    <a:pt x="315698" y="24264"/>
                  </a:lnTo>
                  <a:lnTo>
                    <a:pt x="312012" y="24264"/>
                  </a:lnTo>
                  <a:lnTo>
                    <a:pt x="312012" y="20574"/>
                  </a:lnTo>
                  <a:lnTo>
                    <a:pt x="315698" y="24264"/>
                  </a:lnTo>
                  <a:lnTo>
                    <a:pt x="315698" y="20574"/>
                  </a:lnTo>
                  <a:lnTo>
                    <a:pt x="319384" y="13193"/>
                  </a:lnTo>
                  <a:lnTo>
                    <a:pt x="315698" y="13193"/>
                  </a:lnTo>
                  <a:lnTo>
                    <a:pt x="308316" y="9502"/>
                  </a:lnTo>
                  <a:lnTo>
                    <a:pt x="300944" y="16883"/>
                  </a:lnTo>
                  <a:lnTo>
                    <a:pt x="297258" y="13193"/>
                  </a:lnTo>
                  <a:lnTo>
                    <a:pt x="289876" y="9502"/>
                  </a:lnTo>
                  <a:lnTo>
                    <a:pt x="278808" y="9502"/>
                  </a:lnTo>
                  <a:lnTo>
                    <a:pt x="275121" y="5812"/>
                  </a:lnTo>
                  <a:close/>
                  <a:moveTo>
                    <a:pt x="367352" y="112838"/>
                  </a:moveTo>
                  <a:lnTo>
                    <a:pt x="371038" y="116528"/>
                  </a:lnTo>
                  <a:lnTo>
                    <a:pt x="371038" y="112838"/>
                  </a:lnTo>
                  <a:lnTo>
                    <a:pt x="367352" y="112838"/>
                  </a:lnTo>
                  <a:close/>
                  <a:moveTo>
                    <a:pt x="500159" y="186649"/>
                  </a:moveTo>
                  <a:lnTo>
                    <a:pt x="500159" y="179268"/>
                  </a:lnTo>
                  <a:lnTo>
                    <a:pt x="496473" y="182958"/>
                  </a:lnTo>
                  <a:lnTo>
                    <a:pt x="500159" y="186649"/>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grpSp>
          <p:nvGrpSpPr>
            <p:cNvPr id="112" name="Group 111">
              <a:extLst>
                <a:ext uri="{FF2B5EF4-FFF2-40B4-BE49-F238E27FC236}">
                  <a16:creationId xmlns:a16="http://schemas.microsoft.com/office/drawing/2014/main" id="{1640B874-04CC-45F3-90EB-1F756493D743}"/>
                </a:ext>
              </a:extLst>
            </p:cNvPr>
            <p:cNvGrpSpPr/>
            <p:nvPr/>
          </p:nvGrpSpPr>
          <p:grpSpPr>
            <a:xfrm>
              <a:off x="5261483" y="1196975"/>
              <a:ext cx="1877167" cy="1362209"/>
              <a:chOff x="2763225" y="1070068"/>
              <a:chExt cx="1910612" cy="1386478"/>
            </a:xfrm>
            <a:grpFill/>
          </p:grpSpPr>
          <p:sp>
            <p:nvSpPr>
              <p:cNvPr id="138" name="Freeform: Shape 137">
                <a:extLst>
                  <a:ext uri="{FF2B5EF4-FFF2-40B4-BE49-F238E27FC236}">
                    <a16:creationId xmlns:a16="http://schemas.microsoft.com/office/drawing/2014/main" id="{6A03AA1B-68C0-4F81-A479-554B0F2CE799}"/>
                  </a:ext>
                </a:extLst>
              </p:cNvPr>
              <p:cNvSpPr/>
              <p:nvPr/>
            </p:nvSpPr>
            <p:spPr>
              <a:xfrm>
                <a:off x="3283354" y="1330229"/>
                <a:ext cx="1212958" cy="1126317"/>
              </a:xfrm>
              <a:custGeom>
                <a:avLst/>
                <a:gdLst>
                  <a:gd name="connsiteX0" fmla="*/ 407938 w 533400"/>
                  <a:gd name="connsiteY0" fmla="*/ 5812 h 495300"/>
                  <a:gd name="connsiteX1" fmla="*/ 389488 w 533400"/>
                  <a:gd name="connsiteY1" fmla="*/ 13192 h 495300"/>
                  <a:gd name="connsiteX2" fmla="*/ 385802 w 533400"/>
                  <a:gd name="connsiteY2" fmla="*/ 13192 h 495300"/>
                  <a:gd name="connsiteX3" fmla="*/ 378420 w 533400"/>
                  <a:gd name="connsiteY3" fmla="*/ 9502 h 495300"/>
                  <a:gd name="connsiteX4" fmla="*/ 367352 w 533400"/>
                  <a:gd name="connsiteY4" fmla="*/ 9502 h 495300"/>
                  <a:gd name="connsiteX5" fmla="*/ 367352 w 533400"/>
                  <a:gd name="connsiteY5" fmla="*/ 13192 h 495300"/>
                  <a:gd name="connsiteX6" fmla="*/ 363666 w 533400"/>
                  <a:gd name="connsiteY6" fmla="*/ 13192 h 495300"/>
                  <a:gd name="connsiteX7" fmla="*/ 359970 w 533400"/>
                  <a:gd name="connsiteY7" fmla="*/ 13192 h 495300"/>
                  <a:gd name="connsiteX8" fmla="*/ 356284 w 533400"/>
                  <a:gd name="connsiteY8" fmla="*/ 9502 h 495300"/>
                  <a:gd name="connsiteX9" fmla="*/ 341530 w 533400"/>
                  <a:gd name="connsiteY9" fmla="*/ 13192 h 495300"/>
                  <a:gd name="connsiteX10" fmla="*/ 334148 w 533400"/>
                  <a:gd name="connsiteY10" fmla="*/ 13192 h 495300"/>
                  <a:gd name="connsiteX11" fmla="*/ 330462 w 533400"/>
                  <a:gd name="connsiteY11" fmla="*/ 13192 h 495300"/>
                  <a:gd name="connsiteX12" fmla="*/ 326775 w 533400"/>
                  <a:gd name="connsiteY12" fmla="*/ 16883 h 495300"/>
                  <a:gd name="connsiteX13" fmla="*/ 312012 w 533400"/>
                  <a:gd name="connsiteY13" fmla="*/ 20573 h 495300"/>
                  <a:gd name="connsiteX14" fmla="*/ 308326 w 533400"/>
                  <a:gd name="connsiteY14" fmla="*/ 20573 h 495300"/>
                  <a:gd name="connsiteX15" fmla="*/ 304639 w 533400"/>
                  <a:gd name="connsiteY15" fmla="*/ 20573 h 495300"/>
                  <a:gd name="connsiteX16" fmla="*/ 289876 w 533400"/>
                  <a:gd name="connsiteY16" fmla="*/ 27955 h 495300"/>
                  <a:gd name="connsiteX17" fmla="*/ 282503 w 533400"/>
                  <a:gd name="connsiteY17" fmla="*/ 27955 h 495300"/>
                  <a:gd name="connsiteX18" fmla="*/ 278808 w 533400"/>
                  <a:gd name="connsiteY18" fmla="*/ 27955 h 495300"/>
                  <a:gd name="connsiteX19" fmla="*/ 275121 w 533400"/>
                  <a:gd name="connsiteY19" fmla="*/ 27955 h 495300"/>
                  <a:gd name="connsiteX20" fmla="*/ 271435 w 533400"/>
                  <a:gd name="connsiteY20" fmla="*/ 27955 h 495300"/>
                  <a:gd name="connsiteX21" fmla="*/ 271435 w 533400"/>
                  <a:gd name="connsiteY21" fmla="*/ 24264 h 495300"/>
                  <a:gd name="connsiteX22" fmla="*/ 267749 w 533400"/>
                  <a:gd name="connsiteY22" fmla="*/ 20573 h 495300"/>
                  <a:gd name="connsiteX23" fmla="*/ 267749 w 533400"/>
                  <a:gd name="connsiteY23" fmla="*/ 27955 h 495300"/>
                  <a:gd name="connsiteX24" fmla="*/ 260367 w 533400"/>
                  <a:gd name="connsiteY24" fmla="*/ 31645 h 495300"/>
                  <a:gd name="connsiteX25" fmla="*/ 252985 w 533400"/>
                  <a:gd name="connsiteY25" fmla="*/ 35336 h 495300"/>
                  <a:gd name="connsiteX26" fmla="*/ 249299 w 533400"/>
                  <a:gd name="connsiteY26" fmla="*/ 39027 h 495300"/>
                  <a:gd name="connsiteX27" fmla="*/ 241917 w 533400"/>
                  <a:gd name="connsiteY27" fmla="*/ 42717 h 495300"/>
                  <a:gd name="connsiteX28" fmla="*/ 238231 w 533400"/>
                  <a:gd name="connsiteY28" fmla="*/ 46408 h 495300"/>
                  <a:gd name="connsiteX29" fmla="*/ 230849 w 533400"/>
                  <a:gd name="connsiteY29" fmla="*/ 50098 h 495300"/>
                  <a:gd name="connsiteX30" fmla="*/ 223477 w 533400"/>
                  <a:gd name="connsiteY30" fmla="*/ 50098 h 495300"/>
                  <a:gd name="connsiteX31" fmla="*/ 212409 w 533400"/>
                  <a:gd name="connsiteY31" fmla="*/ 57480 h 495300"/>
                  <a:gd name="connsiteX32" fmla="*/ 197655 w 533400"/>
                  <a:gd name="connsiteY32" fmla="*/ 64861 h 495300"/>
                  <a:gd name="connsiteX33" fmla="*/ 190273 w 533400"/>
                  <a:gd name="connsiteY33" fmla="*/ 68551 h 495300"/>
                  <a:gd name="connsiteX34" fmla="*/ 171823 w 533400"/>
                  <a:gd name="connsiteY34" fmla="*/ 79623 h 495300"/>
                  <a:gd name="connsiteX35" fmla="*/ 160755 w 533400"/>
                  <a:gd name="connsiteY35" fmla="*/ 79623 h 495300"/>
                  <a:gd name="connsiteX36" fmla="*/ 157069 w 533400"/>
                  <a:gd name="connsiteY36" fmla="*/ 83314 h 495300"/>
                  <a:gd name="connsiteX37" fmla="*/ 149687 w 533400"/>
                  <a:gd name="connsiteY37" fmla="*/ 87004 h 495300"/>
                  <a:gd name="connsiteX38" fmla="*/ 146000 w 533400"/>
                  <a:gd name="connsiteY38" fmla="*/ 87004 h 495300"/>
                  <a:gd name="connsiteX39" fmla="*/ 142314 w 533400"/>
                  <a:gd name="connsiteY39" fmla="*/ 90695 h 495300"/>
                  <a:gd name="connsiteX40" fmla="*/ 134932 w 533400"/>
                  <a:gd name="connsiteY40" fmla="*/ 94385 h 495300"/>
                  <a:gd name="connsiteX41" fmla="*/ 127560 w 533400"/>
                  <a:gd name="connsiteY41" fmla="*/ 98075 h 495300"/>
                  <a:gd name="connsiteX42" fmla="*/ 123864 w 533400"/>
                  <a:gd name="connsiteY42" fmla="*/ 101766 h 495300"/>
                  <a:gd name="connsiteX43" fmla="*/ 116492 w 533400"/>
                  <a:gd name="connsiteY43" fmla="*/ 109147 h 495300"/>
                  <a:gd name="connsiteX44" fmla="*/ 112796 w 533400"/>
                  <a:gd name="connsiteY44" fmla="*/ 116528 h 495300"/>
                  <a:gd name="connsiteX45" fmla="*/ 109110 w 533400"/>
                  <a:gd name="connsiteY45" fmla="*/ 120219 h 495300"/>
                  <a:gd name="connsiteX46" fmla="*/ 109110 w 533400"/>
                  <a:gd name="connsiteY46" fmla="*/ 123910 h 495300"/>
                  <a:gd name="connsiteX47" fmla="*/ 105424 w 533400"/>
                  <a:gd name="connsiteY47" fmla="*/ 123910 h 495300"/>
                  <a:gd name="connsiteX48" fmla="*/ 105424 w 533400"/>
                  <a:gd name="connsiteY48" fmla="*/ 127600 h 495300"/>
                  <a:gd name="connsiteX49" fmla="*/ 98042 w 533400"/>
                  <a:gd name="connsiteY49" fmla="*/ 131291 h 495300"/>
                  <a:gd name="connsiteX50" fmla="*/ 94356 w 533400"/>
                  <a:gd name="connsiteY50" fmla="*/ 134981 h 495300"/>
                  <a:gd name="connsiteX51" fmla="*/ 90660 w 533400"/>
                  <a:gd name="connsiteY51" fmla="*/ 134981 h 495300"/>
                  <a:gd name="connsiteX52" fmla="*/ 83288 w 533400"/>
                  <a:gd name="connsiteY52" fmla="*/ 142363 h 495300"/>
                  <a:gd name="connsiteX53" fmla="*/ 79592 w 533400"/>
                  <a:gd name="connsiteY53" fmla="*/ 146053 h 495300"/>
                  <a:gd name="connsiteX54" fmla="*/ 75906 w 533400"/>
                  <a:gd name="connsiteY54" fmla="*/ 146053 h 495300"/>
                  <a:gd name="connsiteX55" fmla="*/ 72220 w 533400"/>
                  <a:gd name="connsiteY55" fmla="*/ 149744 h 495300"/>
                  <a:gd name="connsiteX56" fmla="*/ 68524 w 533400"/>
                  <a:gd name="connsiteY56" fmla="*/ 157125 h 495300"/>
                  <a:gd name="connsiteX57" fmla="*/ 64838 w 533400"/>
                  <a:gd name="connsiteY57" fmla="*/ 157125 h 495300"/>
                  <a:gd name="connsiteX58" fmla="*/ 61152 w 533400"/>
                  <a:gd name="connsiteY58" fmla="*/ 160816 h 495300"/>
                  <a:gd name="connsiteX59" fmla="*/ 57466 w 533400"/>
                  <a:gd name="connsiteY59" fmla="*/ 168197 h 495300"/>
                  <a:gd name="connsiteX60" fmla="*/ 53770 w 533400"/>
                  <a:gd name="connsiteY60" fmla="*/ 179268 h 495300"/>
                  <a:gd name="connsiteX61" fmla="*/ 50084 w 533400"/>
                  <a:gd name="connsiteY61" fmla="*/ 182958 h 495300"/>
                  <a:gd name="connsiteX62" fmla="*/ 50084 w 533400"/>
                  <a:gd name="connsiteY62" fmla="*/ 186649 h 495300"/>
                  <a:gd name="connsiteX63" fmla="*/ 53770 w 533400"/>
                  <a:gd name="connsiteY63" fmla="*/ 186649 h 495300"/>
                  <a:gd name="connsiteX64" fmla="*/ 50084 w 533400"/>
                  <a:gd name="connsiteY64" fmla="*/ 190340 h 495300"/>
                  <a:gd name="connsiteX65" fmla="*/ 46398 w 533400"/>
                  <a:gd name="connsiteY65" fmla="*/ 194030 h 495300"/>
                  <a:gd name="connsiteX66" fmla="*/ 42702 w 533400"/>
                  <a:gd name="connsiteY66" fmla="*/ 197721 h 495300"/>
                  <a:gd name="connsiteX67" fmla="*/ 42702 w 533400"/>
                  <a:gd name="connsiteY67" fmla="*/ 201411 h 495300"/>
                  <a:gd name="connsiteX68" fmla="*/ 46398 w 533400"/>
                  <a:gd name="connsiteY68" fmla="*/ 201411 h 495300"/>
                  <a:gd name="connsiteX69" fmla="*/ 46398 w 533400"/>
                  <a:gd name="connsiteY69" fmla="*/ 208793 h 495300"/>
                  <a:gd name="connsiteX70" fmla="*/ 42702 w 533400"/>
                  <a:gd name="connsiteY70" fmla="*/ 216174 h 495300"/>
                  <a:gd name="connsiteX71" fmla="*/ 42702 w 533400"/>
                  <a:gd name="connsiteY71" fmla="*/ 227246 h 495300"/>
                  <a:gd name="connsiteX72" fmla="*/ 42702 w 533400"/>
                  <a:gd name="connsiteY72" fmla="*/ 234627 h 495300"/>
                  <a:gd name="connsiteX73" fmla="*/ 42702 w 533400"/>
                  <a:gd name="connsiteY73" fmla="*/ 238318 h 495300"/>
                  <a:gd name="connsiteX74" fmla="*/ 39016 w 533400"/>
                  <a:gd name="connsiteY74" fmla="*/ 242008 h 495300"/>
                  <a:gd name="connsiteX75" fmla="*/ 39016 w 533400"/>
                  <a:gd name="connsiteY75" fmla="*/ 245699 h 495300"/>
                  <a:gd name="connsiteX76" fmla="*/ 31634 w 533400"/>
                  <a:gd name="connsiteY76" fmla="*/ 249389 h 495300"/>
                  <a:gd name="connsiteX77" fmla="*/ 27948 w 533400"/>
                  <a:gd name="connsiteY77" fmla="*/ 249389 h 495300"/>
                  <a:gd name="connsiteX78" fmla="*/ 31634 w 533400"/>
                  <a:gd name="connsiteY78" fmla="*/ 253080 h 495300"/>
                  <a:gd name="connsiteX79" fmla="*/ 27948 w 533400"/>
                  <a:gd name="connsiteY79" fmla="*/ 256771 h 495300"/>
                  <a:gd name="connsiteX80" fmla="*/ 27948 w 533400"/>
                  <a:gd name="connsiteY80" fmla="*/ 260461 h 495300"/>
                  <a:gd name="connsiteX81" fmla="*/ 24261 w 533400"/>
                  <a:gd name="connsiteY81" fmla="*/ 264151 h 495300"/>
                  <a:gd name="connsiteX82" fmla="*/ 27948 w 533400"/>
                  <a:gd name="connsiteY82" fmla="*/ 264151 h 495300"/>
                  <a:gd name="connsiteX83" fmla="*/ 31634 w 533400"/>
                  <a:gd name="connsiteY83" fmla="*/ 267841 h 495300"/>
                  <a:gd name="connsiteX84" fmla="*/ 35330 w 533400"/>
                  <a:gd name="connsiteY84" fmla="*/ 275223 h 495300"/>
                  <a:gd name="connsiteX85" fmla="*/ 35330 w 533400"/>
                  <a:gd name="connsiteY85" fmla="*/ 278913 h 495300"/>
                  <a:gd name="connsiteX86" fmla="*/ 35330 w 533400"/>
                  <a:gd name="connsiteY86" fmla="*/ 282604 h 495300"/>
                  <a:gd name="connsiteX87" fmla="*/ 35330 w 533400"/>
                  <a:gd name="connsiteY87" fmla="*/ 286295 h 495300"/>
                  <a:gd name="connsiteX88" fmla="*/ 39016 w 533400"/>
                  <a:gd name="connsiteY88" fmla="*/ 293676 h 495300"/>
                  <a:gd name="connsiteX89" fmla="*/ 35330 w 533400"/>
                  <a:gd name="connsiteY89" fmla="*/ 293676 h 495300"/>
                  <a:gd name="connsiteX90" fmla="*/ 39016 w 533400"/>
                  <a:gd name="connsiteY90" fmla="*/ 297366 h 495300"/>
                  <a:gd name="connsiteX91" fmla="*/ 35330 w 533400"/>
                  <a:gd name="connsiteY91" fmla="*/ 297366 h 495300"/>
                  <a:gd name="connsiteX92" fmla="*/ 35330 w 533400"/>
                  <a:gd name="connsiteY92" fmla="*/ 293676 h 495300"/>
                  <a:gd name="connsiteX93" fmla="*/ 27948 w 533400"/>
                  <a:gd name="connsiteY93" fmla="*/ 293676 h 495300"/>
                  <a:gd name="connsiteX94" fmla="*/ 27948 w 533400"/>
                  <a:gd name="connsiteY94" fmla="*/ 297366 h 495300"/>
                  <a:gd name="connsiteX95" fmla="*/ 27948 w 533400"/>
                  <a:gd name="connsiteY95" fmla="*/ 301057 h 495300"/>
                  <a:gd name="connsiteX96" fmla="*/ 31634 w 533400"/>
                  <a:gd name="connsiteY96" fmla="*/ 301057 h 495300"/>
                  <a:gd name="connsiteX97" fmla="*/ 35330 w 533400"/>
                  <a:gd name="connsiteY97" fmla="*/ 301057 h 495300"/>
                  <a:gd name="connsiteX98" fmla="*/ 35330 w 533400"/>
                  <a:gd name="connsiteY98" fmla="*/ 308438 h 495300"/>
                  <a:gd name="connsiteX99" fmla="*/ 35330 w 533400"/>
                  <a:gd name="connsiteY99" fmla="*/ 312129 h 495300"/>
                  <a:gd name="connsiteX100" fmla="*/ 39016 w 533400"/>
                  <a:gd name="connsiteY100" fmla="*/ 308438 h 495300"/>
                  <a:gd name="connsiteX101" fmla="*/ 39016 w 533400"/>
                  <a:gd name="connsiteY101" fmla="*/ 312129 h 495300"/>
                  <a:gd name="connsiteX102" fmla="*/ 35330 w 533400"/>
                  <a:gd name="connsiteY102" fmla="*/ 312129 h 495300"/>
                  <a:gd name="connsiteX103" fmla="*/ 35330 w 533400"/>
                  <a:gd name="connsiteY103" fmla="*/ 315819 h 495300"/>
                  <a:gd name="connsiteX104" fmla="*/ 39016 w 533400"/>
                  <a:gd name="connsiteY104" fmla="*/ 315819 h 495300"/>
                  <a:gd name="connsiteX105" fmla="*/ 42702 w 533400"/>
                  <a:gd name="connsiteY105" fmla="*/ 319510 h 495300"/>
                  <a:gd name="connsiteX106" fmla="*/ 42702 w 533400"/>
                  <a:gd name="connsiteY106" fmla="*/ 323201 h 495300"/>
                  <a:gd name="connsiteX107" fmla="*/ 42702 w 533400"/>
                  <a:gd name="connsiteY107" fmla="*/ 326891 h 495300"/>
                  <a:gd name="connsiteX108" fmla="*/ 42702 w 533400"/>
                  <a:gd name="connsiteY108" fmla="*/ 330582 h 495300"/>
                  <a:gd name="connsiteX109" fmla="*/ 39016 w 533400"/>
                  <a:gd name="connsiteY109" fmla="*/ 334272 h 495300"/>
                  <a:gd name="connsiteX110" fmla="*/ 39016 w 533400"/>
                  <a:gd name="connsiteY110" fmla="*/ 341654 h 495300"/>
                  <a:gd name="connsiteX111" fmla="*/ 42702 w 533400"/>
                  <a:gd name="connsiteY111" fmla="*/ 352725 h 495300"/>
                  <a:gd name="connsiteX112" fmla="*/ 42702 w 533400"/>
                  <a:gd name="connsiteY112" fmla="*/ 360106 h 495300"/>
                  <a:gd name="connsiteX113" fmla="*/ 46398 w 533400"/>
                  <a:gd name="connsiteY113" fmla="*/ 363796 h 495300"/>
                  <a:gd name="connsiteX114" fmla="*/ 46398 w 533400"/>
                  <a:gd name="connsiteY114" fmla="*/ 365065 h 495300"/>
                  <a:gd name="connsiteX115" fmla="*/ 53770 w 533400"/>
                  <a:gd name="connsiteY115" fmla="*/ 360106 h 495300"/>
                  <a:gd name="connsiteX116" fmla="*/ 46398 w 533400"/>
                  <a:gd name="connsiteY116" fmla="*/ 367487 h 495300"/>
                  <a:gd name="connsiteX117" fmla="*/ 46398 w 533400"/>
                  <a:gd name="connsiteY117" fmla="*/ 365065 h 495300"/>
                  <a:gd name="connsiteX118" fmla="*/ 42702 w 533400"/>
                  <a:gd name="connsiteY118" fmla="*/ 367487 h 495300"/>
                  <a:gd name="connsiteX119" fmla="*/ 42702 w 533400"/>
                  <a:gd name="connsiteY119" fmla="*/ 371178 h 495300"/>
                  <a:gd name="connsiteX120" fmla="*/ 42702 w 533400"/>
                  <a:gd name="connsiteY120" fmla="*/ 378559 h 495300"/>
                  <a:gd name="connsiteX121" fmla="*/ 39016 w 533400"/>
                  <a:gd name="connsiteY121" fmla="*/ 378559 h 495300"/>
                  <a:gd name="connsiteX122" fmla="*/ 35330 w 533400"/>
                  <a:gd name="connsiteY122" fmla="*/ 382249 h 495300"/>
                  <a:gd name="connsiteX123" fmla="*/ 39016 w 533400"/>
                  <a:gd name="connsiteY123" fmla="*/ 385940 h 495300"/>
                  <a:gd name="connsiteX124" fmla="*/ 42702 w 533400"/>
                  <a:gd name="connsiteY124" fmla="*/ 393321 h 495300"/>
                  <a:gd name="connsiteX125" fmla="*/ 42702 w 533400"/>
                  <a:gd name="connsiteY125" fmla="*/ 397012 h 495300"/>
                  <a:gd name="connsiteX126" fmla="*/ 42702 w 533400"/>
                  <a:gd name="connsiteY126" fmla="*/ 404393 h 495300"/>
                  <a:gd name="connsiteX127" fmla="*/ 42702 w 533400"/>
                  <a:gd name="connsiteY127" fmla="*/ 408084 h 495300"/>
                  <a:gd name="connsiteX128" fmla="*/ 39016 w 533400"/>
                  <a:gd name="connsiteY128" fmla="*/ 411774 h 495300"/>
                  <a:gd name="connsiteX129" fmla="*/ 35330 w 533400"/>
                  <a:gd name="connsiteY129" fmla="*/ 411774 h 495300"/>
                  <a:gd name="connsiteX130" fmla="*/ 31634 w 533400"/>
                  <a:gd name="connsiteY130" fmla="*/ 411774 h 495300"/>
                  <a:gd name="connsiteX131" fmla="*/ 24261 w 533400"/>
                  <a:gd name="connsiteY131" fmla="*/ 419156 h 495300"/>
                  <a:gd name="connsiteX132" fmla="*/ 20566 w 533400"/>
                  <a:gd name="connsiteY132" fmla="*/ 422846 h 495300"/>
                  <a:gd name="connsiteX133" fmla="*/ 16880 w 533400"/>
                  <a:gd name="connsiteY133" fmla="*/ 426537 h 495300"/>
                  <a:gd name="connsiteX134" fmla="*/ 20566 w 533400"/>
                  <a:gd name="connsiteY134" fmla="*/ 430227 h 495300"/>
                  <a:gd name="connsiteX135" fmla="*/ 20566 w 533400"/>
                  <a:gd name="connsiteY135" fmla="*/ 433917 h 495300"/>
                  <a:gd name="connsiteX136" fmla="*/ 20566 w 533400"/>
                  <a:gd name="connsiteY136" fmla="*/ 437608 h 495300"/>
                  <a:gd name="connsiteX137" fmla="*/ 27948 w 533400"/>
                  <a:gd name="connsiteY137" fmla="*/ 437608 h 495300"/>
                  <a:gd name="connsiteX138" fmla="*/ 27948 w 533400"/>
                  <a:gd name="connsiteY138" fmla="*/ 441298 h 495300"/>
                  <a:gd name="connsiteX139" fmla="*/ 31634 w 533400"/>
                  <a:gd name="connsiteY139" fmla="*/ 441298 h 495300"/>
                  <a:gd name="connsiteX140" fmla="*/ 39016 w 533400"/>
                  <a:gd name="connsiteY140" fmla="*/ 448679 h 495300"/>
                  <a:gd name="connsiteX141" fmla="*/ 46398 w 533400"/>
                  <a:gd name="connsiteY141" fmla="*/ 456061 h 495300"/>
                  <a:gd name="connsiteX142" fmla="*/ 50084 w 533400"/>
                  <a:gd name="connsiteY142" fmla="*/ 456061 h 495300"/>
                  <a:gd name="connsiteX143" fmla="*/ 53770 w 533400"/>
                  <a:gd name="connsiteY143" fmla="*/ 456061 h 495300"/>
                  <a:gd name="connsiteX144" fmla="*/ 57466 w 533400"/>
                  <a:gd name="connsiteY144" fmla="*/ 456061 h 495300"/>
                  <a:gd name="connsiteX145" fmla="*/ 64838 w 533400"/>
                  <a:gd name="connsiteY145" fmla="*/ 456061 h 495300"/>
                  <a:gd name="connsiteX146" fmla="*/ 64838 w 533400"/>
                  <a:gd name="connsiteY146" fmla="*/ 452370 h 495300"/>
                  <a:gd name="connsiteX147" fmla="*/ 75906 w 533400"/>
                  <a:gd name="connsiteY147" fmla="*/ 456061 h 495300"/>
                  <a:gd name="connsiteX148" fmla="*/ 83288 w 533400"/>
                  <a:gd name="connsiteY148" fmla="*/ 456061 h 495300"/>
                  <a:gd name="connsiteX149" fmla="*/ 86974 w 533400"/>
                  <a:gd name="connsiteY149" fmla="*/ 459751 h 495300"/>
                  <a:gd name="connsiteX150" fmla="*/ 101728 w 533400"/>
                  <a:gd name="connsiteY150" fmla="*/ 467133 h 495300"/>
                  <a:gd name="connsiteX151" fmla="*/ 109110 w 533400"/>
                  <a:gd name="connsiteY151" fmla="*/ 467133 h 495300"/>
                  <a:gd name="connsiteX152" fmla="*/ 109110 w 533400"/>
                  <a:gd name="connsiteY152" fmla="*/ 470823 h 495300"/>
                  <a:gd name="connsiteX153" fmla="*/ 116492 w 533400"/>
                  <a:gd name="connsiteY153" fmla="*/ 470823 h 495300"/>
                  <a:gd name="connsiteX154" fmla="*/ 120178 w 533400"/>
                  <a:gd name="connsiteY154" fmla="*/ 467133 h 495300"/>
                  <a:gd name="connsiteX155" fmla="*/ 123864 w 533400"/>
                  <a:gd name="connsiteY155" fmla="*/ 467133 h 495300"/>
                  <a:gd name="connsiteX156" fmla="*/ 123864 w 533400"/>
                  <a:gd name="connsiteY156" fmla="*/ 463442 h 495300"/>
                  <a:gd name="connsiteX157" fmla="*/ 127560 w 533400"/>
                  <a:gd name="connsiteY157" fmla="*/ 459751 h 495300"/>
                  <a:gd name="connsiteX158" fmla="*/ 127560 w 533400"/>
                  <a:gd name="connsiteY158" fmla="*/ 456061 h 495300"/>
                  <a:gd name="connsiteX159" fmla="*/ 134932 w 533400"/>
                  <a:gd name="connsiteY159" fmla="*/ 452370 h 495300"/>
                  <a:gd name="connsiteX160" fmla="*/ 142314 w 533400"/>
                  <a:gd name="connsiteY160" fmla="*/ 456061 h 495300"/>
                  <a:gd name="connsiteX161" fmla="*/ 146000 w 533400"/>
                  <a:gd name="connsiteY161" fmla="*/ 452370 h 495300"/>
                  <a:gd name="connsiteX162" fmla="*/ 153382 w 533400"/>
                  <a:gd name="connsiteY162" fmla="*/ 448679 h 495300"/>
                  <a:gd name="connsiteX163" fmla="*/ 157069 w 533400"/>
                  <a:gd name="connsiteY163" fmla="*/ 448679 h 495300"/>
                  <a:gd name="connsiteX164" fmla="*/ 160755 w 533400"/>
                  <a:gd name="connsiteY164" fmla="*/ 452370 h 495300"/>
                  <a:gd name="connsiteX165" fmla="*/ 160755 w 533400"/>
                  <a:gd name="connsiteY165" fmla="*/ 459751 h 495300"/>
                  <a:gd name="connsiteX166" fmla="*/ 164450 w 533400"/>
                  <a:gd name="connsiteY166" fmla="*/ 459751 h 495300"/>
                  <a:gd name="connsiteX167" fmla="*/ 168137 w 533400"/>
                  <a:gd name="connsiteY167" fmla="*/ 459751 h 495300"/>
                  <a:gd name="connsiteX168" fmla="*/ 175518 w 533400"/>
                  <a:gd name="connsiteY168" fmla="*/ 459751 h 495300"/>
                  <a:gd name="connsiteX169" fmla="*/ 179205 w 533400"/>
                  <a:gd name="connsiteY169" fmla="*/ 459751 h 495300"/>
                  <a:gd name="connsiteX170" fmla="*/ 182891 w 533400"/>
                  <a:gd name="connsiteY170" fmla="*/ 459751 h 495300"/>
                  <a:gd name="connsiteX171" fmla="*/ 182891 w 533400"/>
                  <a:gd name="connsiteY171" fmla="*/ 463442 h 495300"/>
                  <a:gd name="connsiteX172" fmla="*/ 186587 w 533400"/>
                  <a:gd name="connsiteY172" fmla="*/ 463442 h 495300"/>
                  <a:gd name="connsiteX173" fmla="*/ 190273 w 533400"/>
                  <a:gd name="connsiteY173" fmla="*/ 459751 h 495300"/>
                  <a:gd name="connsiteX174" fmla="*/ 190273 w 533400"/>
                  <a:gd name="connsiteY174" fmla="*/ 463442 h 495300"/>
                  <a:gd name="connsiteX175" fmla="*/ 197655 w 533400"/>
                  <a:gd name="connsiteY175" fmla="*/ 467133 h 495300"/>
                  <a:gd name="connsiteX176" fmla="*/ 193959 w 533400"/>
                  <a:gd name="connsiteY176" fmla="*/ 459751 h 495300"/>
                  <a:gd name="connsiteX177" fmla="*/ 205027 w 533400"/>
                  <a:gd name="connsiteY177" fmla="*/ 463442 h 495300"/>
                  <a:gd name="connsiteX178" fmla="*/ 208713 w 533400"/>
                  <a:gd name="connsiteY178" fmla="*/ 463442 h 495300"/>
                  <a:gd name="connsiteX179" fmla="*/ 223477 w 533400"/>
                  <a:gd name="connsiteY179" fmla="*/ 481895 h 495300"/>
                  <a:gd name="connsiteX180" fmla="*/ 227163 w 533400"/>
                  <a:gd name="connsiteY180" fmla="*/ 489276 h 495300"/>
                  <a:gd name="connsiteX181" fmla="*/ 227163 w 533400"/>
                  <a:gd name="connsiteY181" fmla="*/ 492967 h 495300"/>
                  <a:gd name="connsiteX182" fmla="*/ 230849 w 533400"/>
                  <a:gd name="connsiteY182" fmla="*/ 489276 h 495300"/>
                  <a:gd name="connsiteX183" fmla="*/ 238231 w 533400"/>
                  <a:gd name="connsiteY183" fmla="*/ 481895 h 495300"/>
                  <a:gd name="connsiteX184" fmla="*/ 241917 w 533400"/>
                  <a:gd name="connsiteY184" fmla="*/ 481895 h 495300"/>
                  <a:gd name="connsiteX185" fmla="*/ 241917 w 533400"/>
                  <a:gd name="connsiteY185" fmla="*/ 485586 h 495300"/>
                  <a:gd name="connsiteX186" fmla="*/ 245613 w 533400"/>
                  <a:gd name="connsiteY186" fmla="*/ 485586 h 495300"/>
                  <a:gd name="connsiteX187" fmla="*/ 249299 w 533400"/>
                  <a:gd name="connsiteY187" fmla="*/ 485586 h 495300"/>
                  <a:gd name="connsiteX188" fmla="*/ 249299 w 533400"/>
                  <a:gd name="connsiteY188" fmla="*/ 489276 h 495300"/>
                  <a:gd name="connsiteX189" fmla="*/ 252985 w 533400"/>
                  <a:gd name="connsiteY189" fmla="*/ 489276 h 495300"/>
                  <a:gd name="connsiteX190" fmla="*/ 256681 w 533400"/>
                  <a:gd name="connsiteY190" fmla="*/ 489276 h 495300"/>
                  <a:gd name="connsiteX191" fmla="*/ 260367 w 533400"/>
                  <a:gd name="connsiteY191" fmla="*/ 492967 h 495300"/>
                  <a:gd name="connsiteX192" fmla="*/ 264053 w 533400"/>
                  <a:gd name="connsiteY192" fmla="*/ 492967 h 495300"/>
                  <a:gd name="connsiteX193" fmla="*/ 267749 w 533400"/>
                  <a:gd name="connsiteY193" fmla="*/ 492967 h 495300"/>
                  <a:gd name="connsiteX194" fmla="*/ 271435 w 533400"/>
                  <a:gd name="connsiteY194" fmla="*/ 492967 h 495300"/>
                  <a:gd name="connsiteX195" fmla="*/ 275121 w 533400"/>
                  <a:gd name="connsiteY195" fmla="*/ 489276 h 495300"/>
                  <a:gd name="connsiteX196" fmla="*/ 278808 w 533400"/>
                  <a:gd name="connsiteY196" fmla="*/ 489276 h 495300"/>
                  <a:gd name="connsiteX197" fmla="*/ 278808 w 533400"/>
                  <a:gd name="connsiteY197" fmla="*/ 485586 h 495300"/>
                  <a:gd name="connsiteX198" fmla="*/ 282503 w 533400"/>
                  <a:gd name="connsiteY198" fmla="*/ 485586 h 495300"/>
                  <a:gd name="connsiteX199" fmla="*/ 286189 w 533400"/>
                  <a:gd name="connsiteY199" fmla="*/ 481895 h 495300"/>
                  <a:gd name="connsiteX200" fmla="*/ 286189 w 533400"/>
                  <a:gd name="connsiteY200" fmla="*/ 478204 h 495300"/>
                  <a:gd name="connsiteX201" fmla="*/ 289876 w 533400"/>
                  <a:gd name="connsiteY201" fmla="*/ 474514 h 495300"/>
                  <a:gd name="connsiteX202" fmla="*/ 289876 w 533400"/>
                  <a:gd name="connsiteY202" fmla="*/ 470823 h 495300"/>
                  <a:gd name="connsiteX203" fmla="*/ 293571 w 533400"/>
                  <a:gd name="connsiteY203" fmla="*/ 467133 h 495300"/>
                  <a:gd name="connsiteX204" fmla="*/ 300944 w 533400"/>
                  <a:gd name="connsiteY204" fmla="*/ 467133 h 495300"/>
                  <a:gd name="connsiteX205" fmla="*/ 300944 w 533400"/>
                  <a:gd name="connsiteY205" fmla="*/ 463442 h 495300"/>
                  <a:gd name="connsiteX206" fmla="*/ 308326 w 533400"/>
                  <a:gd name="connsiteY206" fmla="*/ 467133 h 495300"/>
                  <a:gd name="connsiteX207" fmla="*/ 308326 w 533400"/>
                  <a:gd name="connsiteY207" fmla="*/ 463442 h 495300"/>
                  <a:gd name="connsiteX208" fmla="*/ 315707 w 533400"/>
                  <a:gd name="connsiteY208" fmla="*/ 459751 h 495300"/>
                  <a:gd name="connsiteX209" fmla="*/ 315707 w 533400"/>
                  <a:gd name="connsiteY209" fmla="*/ 467133 h 495300"/>
                  <a:gd name="connsiteX210" fmla="*/ 319394 w 533400"/>
                  <a:gd name="connsiteY210" fmla="*/ 474514 h 495300"/>
                  <a:gd name="connsiteX211" fmla="*/ 323080 w 533400"/>
                  <a:gd name="connsiteY211" fmla="*/ 478204 h 495300"/>
                  <a:gd name="connsiteX212" fmla="*/ 326775 w 533400"/>
                  <a:gd name="connsiteY212" fmla="*/ 478204 h 495300"/>
                  <a:gd name="connsiteX213" fmla="*/ 326775 w 533400"/>
                  <a:gd name="connsiteY213" fmla="*/ 481895 h 495300"/>
                  <a:gd name="connsiteX214" fmla="*/ 330462 w 533400"/>
                  <a:gd name="connsiteY214" fmla="*/ 478204 h 495300"/>
                  <a:gd name="connsiteX215" fmla="*/ 341530 w 533400"/>
                  <a:gd name="connsiteY215" fmla="*/ 474514 h 495300"/>
                  <a:gd name="connsiteX216" fmla="*/ 341530 w 533400"/>
                  <a:gd name="connsiteY216" fmla="*/ 481895 h 495300"/>
                  <a:gd name="connsiteX217" fmla="*/ 348912 w 533400"/>
                  <a:gd name="connsiteY217" fmla="*/ 478204 h 495300"/>
                  <a:gd name="connsiteX218" fmla="*/ 352598 w 533400"/>
                  <a:gd name="connsiteY218" fmla="*/ 474514 h 495300"/>
                  <a:gd name="connsiteX219" fmla="*/ 356284 w 533400"/>
                  <a:gd name="connsiteY219" fmla="*/ 474514 h 495300"/>
                  <a:gd name="connsiteX220" fmla="*/ 356284 w 533400"/>
                  <a:gd name="connsiteY220" fmla="*/ 470823 h 495300"/>
                  <a:gd name="connsiteX221" fmla="*/ 352598 w 533400"/>
                  <a:gd name="connsiteY221" fmla="*/ 463442 h 495300"/>
                  <a:gd name="connsiteX222" fmla="*/ 356284 w 533400"/>
                  <a:gd name="connsiteY222" fmla="*/ 463442 h 495300"/>
                  <a:gd name="connsiteX223" fmla="*/ 367352 w 533400"/>
                  <a:gd name="connsiteY223" fmla="*/ 463442 h 495300"/>
                  <a:gd name="connsiteX224" fmla="*/ 371038 w 533400"/>
                  <a:gd name="connsiteY224" fmla="*/ 459751 h 495300"/>
                  <a:gd name="connsiteX225" fmla="*/ 374734 w 533400"/>
                  <a:gd name="connsiteY225" fmla="*/ 456061 h 495300"/>
                  <a:gd name="connsiteX226" fmla="*/ 385802 w 533400"/>
                  <a:gd name="connsiteY226" fmla="*/ 448679 h 495300"/>
                  <a:gd name="connsiteX227" fmla="*/ 396870 w 533400"/>
                  <a:gd name="connsiteY227" fmla="*/ 441298 h 495300"/>
                  <a:gd name="connsiteX228" fmla="*/ 404242 w 533400"/>
                  <a:gd name="connsiteY228" fmla="*/ 433917 h 495300"/>
                  <a:gd name="connsiteX229" fmla="*/ 418996 w 533400"/>
                  <a:gd name="connsiteY229" fmla="*/ 426537 h 495300"/>
                  <a:gd name="connsiteX230" fmla="*/ 422692 w 533400"/>
                  <a:gd name="connsiteY230" fmla="*/ 422846 h 495300"/>
                  <a:gd name="connsiteX231" fmla="*/ 426378 w 533400"/>
                  <a:gd name="connsiteY231" fmla="*/ 419156 h 495300"/>
                  <a:gd name="connsiteX232" fmla="*/ 437446 w 533400"/>
                  <a:gd name="connsiteY232" fmla="*/ 404393 h 495300"/>
                  <a:gd name="connsiteX233" fmla="*/ 444828 w 533400"/>
                  <a:gd name="connsiteY233" fmla="*/ 400703 h 495300"/>
                  <a:gd name="connsiteX234" fmla="*/ 444828 w 533400"/>
                  <a:gd name="connsiteY234" fmla="*/ 397012 h 495300"/>
                  <a:gd name="connsiteX235" fmla="*/ 444828 w 533400"/>
                  <a:gd name="connsiteY235" fmla="*/ 393321 h 495300"/>
                  <a:gd name="connsiteX236" fmla="*/ 452201 w 533400"/>
                  <a:gd name="connsiteY236" fmla="*/ 389631 h 495300"/>
                  <a:gd name="connsiteX237" fmla="*/ 463269 w 533400"/>
                  <a:gd name="connsiteY237" fmla="*/ 393321 h 495300"/>
                  <a:gd name="connsiteX238" fmla="*/ 474337 w 533400"/>
                  <a:gd name="connsiteY238" fmla="*/ 393321 h 495300"/>
                  <a:gd name="connsiteX239" fmla="*/ 489100 w 533400"/>
                  <a:gd name="connsiteY239" fmla="*/ 408084 h 495300"/>
                  <a:gd name="connsiteX240" fmla="*/ 503855 w 533400"/>
                  <a:gd name="connsiteY240" fmla="*/ 397012 h 495300"/>
                  <a:gd name="connsiteX241" fmla="*/ 514923 w 533400"/>
                  <a:gd name="connsiteY241" fmla="*/ 385940 h 495300"/>
                  <a:gd name="connsiteX242" fmla="*/ 518609 w 533400"/>
                  <a:gd name="connsiteY242" fmla="*/ 382249 h 495300"/>
                  <a:gd name="connsiteX243" fmla="*/ 522295 w 533400"/>
                  <a:gd name="connsiteY243" fmla="*/ 378559 h 495300"/>
                  <a:gd name="connsiteX244" fmla="*/ 522295 w 533400"/>
                  <a:gd name="connsiteY244" fmla="*/ 374868 h 495300"/>
                  <a:gd name="connsiteX245" fmla="*/ 533363 w 533400"/>
                  <a:gd name="connsiteY245" fmla="*/ 356415 h 495300"/>
                  <a:gd name="connsiteX246" fmla="*/ 529677 w 533400"/>
                  <a:gd name="connsiteY246" fmla="*/ 352725 h 495300"/>
                  <a:gd name="connsiteX247" fmla="*/ 525991 w 533400"/>
                  <a:gd name="connsiteY247" fmla="*/ 345344 h 495300"/>
                  <a:gd name="connsiteX248" fmla="*/ 522295 w 533400"/>
                  <a:gd name="connsiteY248" fmla="*/ 337963 h 495300"/>
                  <a:gd name="connsiteX249" fmla="*/ 507541 w 533400"/>
                  <a:gd name="connsiteY249" fmla="*/ 315819 h 495300"/>
                  <a:gd name="connsiteX250" fmla="*/ 500159 w 533400"/>
                  <a:gd name="connsiteY250" fmla="*/ 304748 h 495300"/>
                  <a:gd name="connsiteX251" fmla="*/ 500159 w 533400"/>
                  <a:gd name="connsiteY251" fmla="*/ 301057 h 495300"/>
                  <a:gd name="connsiteX252" fmla="*/ 500159 w 533400"/>
                  <a:gd name="connsiteY252" fmla="*/ 289985 h 495300"/>
                  <a:gd name="connsiteX253" fmla="*/ 503855 w 533400"/>
                  <a:gd name="connsiteY253" fmla="*/ 278913 h 495300"/>
                  <a:gd name="connsiteX254" fmla="*/ 496473 w 533400"/>
                  <a:gd name="connsiteY254" fmla="*/ 275223 h 495300"/>
                  <a:gd name="connsiteX255" fmla="*/ 485405 w 533400"/>
                  <a:gd name="connsiteY255" fmla="*/ 275223 h 495300"/>
                  <a:gd name="connsiteX256" fmla="*/ 474337 w 533400"/>
                  <a:gd name="connsiteY256" fmla="*/ 267841 h 495300"/>
                  <a:gd name="connsiteX257" fmla="*/ 478033 w 533400"/>
                  <a:gd name="connsiteY257" fmla="*/ 260461 h 495300"/>
                  <a:gd name="connsiteX258" fmla="*/ 466964 w 533400"/>
                  <a:gd name="connsiteY258" fmla="*/ 256771 h 495300"/>
                  <a:gd name="connsiteX259" fmla="*/ 466964 w 533400"/>
                  <a:gd name="connsiteY259" fmla="*/ 253080 h 495300"/>
                  <a:gd name="connsiteX260" fmla="*/ 463269 w 533400"/>
                  <a:gd name="connsiteY260" fmla="*/ 249389 h 495300"/>
                  <a:gd name="connsiteX261" fmla="*/ 455896 w 533400"/>
                  <a:gd name="connsiteY261" fmla="*/ 245699 h 495300"/>
                  <a:gd name="connsiteX262" fmla="*/ 452201 w 533400"/>
                  <a:gd name="connsiteY262" fmla="*/ 242008 h 495300"/>
                  <a:gd name="connsiteX263" fmla="*/ 448515 w 533400"/>
                  <a:gd name="connsiteY263" fmla="*/ 242008 h 495300"/>
                  <a:gd name="connsiteX264" fmla="*/ 441133 w 533400"/>
                  <a:gd name="connsiteY264" fmla="*/ 242008 h 495300"/>
                  <a:gd name="connsiteX265" fmla="*/ 433760 w 533400"/>
                  <a:gd name="connsiteY265" fmla="*/ 242008 h 495300"/>
                  <a:gd name="connsiteX266" fmla="*/ 426378 w 533400"/>
                  <a:gd name="connsiteY266" fmla="*/ 242008 h 495300"/>
                  <a:gd name="connsiteX267" fmla="*/ 422692 w 533400"/>
                  <a:gd name="connsiteY267" fmla="*/ 242008 h 495300"/>
                  <a:gd name="connsiteX268" fmla="*/ 418996 w 533400"/>
                  <a:gd name="connsiteY268" fmla="*/ 234627 h 495300"/>
                  <a:gd name="connsiteX269" fmla="*/ 415310 w 533400"/>
                  <a:gd name="connsiteY269" fmla="*/ 230936 h 495300"/>
                  <a:gd name="connsiteX270" fmla="*/ 411624 w 533400"/>
                  <a:gd name="connsiteY270" fmla="*/ 227246 h 495300"/>
                  <a:gd name="connsiteX271" fmla="*/ 411624 w 533400"/>
                  <a:gd name="connsiteY271" fmla="*/ 212483 h 495300"/>
                  <a:gd name="connsiteX272" fmla="*/ 411624 w 533400"/>
                  <a:gd name="connsiteY272" fmla="*/ 208793 h 495300"/>
                  <a:gd name="connsiteX273" fmla="*/ 411624 w 533400"/>
                  <a:gd name="connsiteY273" fmla="*/ 201411 h 495300"/>
                  <a:gd name="connsiteX274" fmla="*/ 411624 w 533400"/>
                  <a:gd name="connsiteY274" fmla="*/ 194030 h 495300"/>
                  <a:gd name="connsiteX275" fmla="*/ 415310 w 533400"/>
                  <a:gd name="connsiteY275" fmla="*/ 190340 h 495300"/>
                  <a:gd name="connsiteX276" fmla="*/ 418996 w 533400"/>
                  <a:gd name="connsiteY276" fmla="*/ 182958 h 495300"/>
                  <a:gd name="connsiteX277" fmla="*/ 418996 w 533400"/>
                  <a:gd name="connsiteY277" fmla="*/ 179268 h 495300"/>
                  <a:gd name="connsiteX278" fmla="*/ 422692 w 533400"/>
                  <a:gd name="connsiteY278" fmla="*/ 175578 h 495300"/>
                  <a:gd name="connsiteX279" fmla="*/ 426378 w 533400"/>
                  <a:gd name="connsiteY279" fmla="*/ 175578 h 495300"/>
                  <a:gd name="connsiteX280" fmla="*/ 430065 w 533400"/>
                  <a:gd name="connsiteY280" fmla="*/ 171888 h 495300"/>
                  <a:gd name="connsiteX281" fmla="*/ 433760 w 533400"/>
                  <a:gd name="connsiteY281" fmla="*/ 164506 h 495300"/>
                  <a:gd name="connsiteX282" fmla="*/ 433760 w 533400"/>
                  <a:gd name="connsiteY282" fmla="*/ 160816 h 495300"/>
                  <a:gd name="connsiteX283" fmla="*/ 433760 w 533400"/>
                  <a:gd name="connsiteY283" fmla="*/ 157125 h 495300"/>
                  <a:gd name="connsiteX284" fmla="*/ 433760 w 533400"/>
                  <a:gd name="connsiteY284" fmla="*/ 149744 h 495300"/>
                  <a:gd name="connsiteX285" fmla="*/ 430065 w 533400"/>
                  <a:gd name="connsiteY285" fmla="*/ 149744 h 495300"/>
                  <a:gd name="connsiteX286" fmla="*/ 426378 w 533400"/>
                  <a:gd name="connsiteY286" fmla="*/ 149744 h 495300"/>
                  <a:gd name="connsiteX287" fmla="*/ 426378 w 533400"/>
                  <a:gd name="connsiteY287" fmla="*/ 146053 h 495300"/>
                  <a:gd name="connsiteX288" fmla="*/ 430065 w 533400"/>
                  <a:gd name="connsiteY288" fmla="*/ 142363 h 495300"/>
                  <a:gd name="connsiteX289" fmla="*/ 433760 w 533400"/>
                  <a:gd name="connsiteY289" fmla="*/ 138672 h 495300"/>
                  <a:gd name="connsiteX290" fmla="*/ 437446 w 533400"/>
                  <a:gd name="connsiteY290" fmla="*/ 134981 h 495300"/>
                  <a:gd name="connsiteX291" fmla="*/ 437446 w 533400"/>
                  <a:gd name="connsiteY291" fmla="*/ 131291 h 495300"/>
                  <a:gd name="connsiteX292" fmla="*/ 437446 w 533400"/>
                  <a:gd name="connsiteY292" fmla="*/ 127600 h 495300"/>
                  <a:gd name="connsiteX293" fmla="*/ 441133 w 533400"/>
                  <a:gd name="connsiteY293" fmla="*/ 123910 h 495300"/>
                  <a:gd name="connsiteX294" fmla="*/ 441133 w 533400"/>
                  <a:gd name="connsiteY294" fmla="*/ 120219 h 495300"/>
                  <a:gd name="connsiteX295" fmla="*/ 444828 w 533400"/>
                  <a:gd name="connsiteY295" fmla="*/ 120219 h 495300"/>
                  <a:gd name="connsiteX296" fmla="*/ 448515 w 533400"/>
                  <a:gd name="connsiteY296" fmla="*/ 116528 h 495300"/>
                  <a:gd name="connsiteX297" fmla="*/ 444828 w 533400"/>
                  <a:gd name="connsiteY297" fmla="*/ 116528 h 495300"/>
                  <a:gd name="connsiteX298" fmla="*/ 444828 w 533400"/>
                  <a:gd name="connsiteY298" fmla="*/ 112838 h 495300"/>
                  <a:gd name="connsiteX299" fmla="*/ 444828 w 533400"/>
                  <a:gd name="connsiteY299" fmla="*/ 109147 h 495300"/>
                  <a:gd name="connsiteX300" fmla="*/ 444828 w 533400"/>
                  <a:gd name="connsiteY300" fmla="*/ 105457 h 495300"/>
                  <a:gd name="connsiteX301" fmla="*/ 448515 w 533400"/>
                  <a:gd name="connsiteY301" fmla="*/ 101766 h 495300"/>
                  <a:gd name="connsiteX302" fmla="*/ 452201 w 533400"/>
                  <a:gd name="connsiteY302" fmla="*/ 101766 h 495300"/>
                  <a:gd name="connsiteX303" fmla="*/ 455896 w 533400"/>
                  <a:gd name="connsiteY303" fmla="*/ 98075 h 495300"/>
                  <a:gd name="connsiteX304" fmla="*/ 455896 w 533400"/>
                  <a:gd name="connsiteY304" fmla="*/ 94385 h 495300"/>
                  <a:gd name="connsiteX305" fmla="*/ 459582 w 533400"/>
                  <a:gd name="connsiteY305" fmla="*/ 90695 h 495300"/>
                  <a:gd name="connsiteX306" fmla="*/ 463269 w 533400"/>
                  <a:gd name="connsiteY306" fmla="*/ 90695 h 495300"/>
                  <a:gd name="connsiteX307" fmla="*/ 463269 w 533400"/>
                  <a:gd name="connsiteY307" fmla="*/ 87004 h 495300"/>
                  <a:gd name="connsiteX308" fmla="*/ 459582 w 533400"/>
                  <a:gd name="connsiteY308" fmla="*/ 87004 h 495300"/>
                  <a:gd name="connsiteX309" fmla="*/ 459582 w 533400"/>
                  <a:gd name="connsiteY309" fmla="*/ 83314 h 495300"/>
                  <a:gd name="connsiteX310" fmla="*/ 459582 w 533400"/>
                  <a:gd name="connsiteY310" fmla="*/ 61170 h 495300"/>
                  <a:gd name="connsiteX311" fmla="*/ 455896 w 533400"/>
                  <a:gd name="connsiteY311" fmla="*/ 61170 h 495300"/>
                  <a:gd name="connsiteX312" fmla="*/ 455896 w 533400"/>
                  <a:gd name="connsiteY312" fmla="*/ 57480 h 495300"/>
                  <a:gd name="connsiteX313" fmla="*/ 448515 w 533400"/>
                  <a:gd name="connsiteY313" fmla="*/ 57480 h 495300"/>
                  <a:gd name="connsiteX314" fmla="*/ 444828 w 533400"/>
                  <a:gd name="connsiteY314" fmla="*/ 57480 h 495300"/>
                  <a:gd name="connsiteX315" fmla="*/ 441133 w 533400"/>
                  <a:gd name="connsiteY315" fmla="*/ 61170 h 495300"/>
                  <a:gd name="connsiteX316" fmla="*/ 437446 w 533400"/>
                  <a:gd name="connsiteY316" fmla="*/ 61170 h 495300"/>
                  <a:gd name="connsiteX317" fmla="*/ 433760 w 533400"/>
                  <a:gd name="connsiteY317" fmla="*/ 61170 h 495300"/>
                  <a:gd name="connsiteX318" fmla="*/ 437446 w 533400"/>
                  <a:gd name="connsiteY318" fmla="*/ 64861 h 495300"/>
                  <a:gd name="connsiteX319" fmla="*/ 437446 w 533400"/>
                  <a:gd name="connsiteY319" fmla="*/ 68551 h 495300"/>
                  <a:gd name="connsiteX320" fmla="*/ 433760 w 533400"/>
                  <a:gd name="connsiteY320" fmla="*/ 68551 h 495300"/>
                  <a:gd name="connsiteX321" fmla="*/ 433760 w 533400"/>
                  <a:gd name="connsiteY321" fmla="*/ 64861 h 495300"/>
                  <a:gd name="connsiteX322" fmla="*/ 430065 w 533400"/>
                  <a:gd name="connsiteY322" fmla="*/ 61170 h 495300"/>
                  <a:gd name="connsiteX323" fmla="*/ 430065 w 533400"/>
                  <a:gd name="connsiteY323" fmla="*/ 57480 h 495300"/>
                  <a:gd name="connsiteX324" fmla="*/ 426378 w 533400"/>
                  <a:gd name="connsiteY324" fmla="*/ 57480 h 495300"/>
                  <a:gd name="connsiteX325" fmla="*/ 430065 w 533400"/>
                  <a:gd name="connsiteY325" fmla="*/ 53789 h 495300"/>
                  <a:gd name="connsiteX326" fmla="*/ 426378 w 533400"/>
                  <a:gd name="connsiteY326" fmla="*/ 53789 h 495300"/>
                  <a:gd name="connsiteX327" fmla="*/ 422692 w 533400"/>
                  <a:gd name="connsiteY327" fmla="*/ 50098 h 495300"/>
                  <a:gd name="connsiteX328" fmla="*/ 422692 w 533400"/>
                  <a:gd name="connsiteY328" fmla="*/ 53789 h 495300"/>
                  <a:gd name="connsiteX329" fmla="*/ 418996 w 533400"/>
                  <a:gd name="connsiteY329" fmla="*/ 61170 h 495300"/>
                  <a:gd name="connsiteX330" fmla="*/ 418996 w 533400"/>
                  <a:gd name="connsiteY330" fmla="*/ 57480 h 495300"/>
                  <a:gd name="connsiteX331" fmla="*/ 418996 w 533400"/>
                  <a:gd name="connsiteY331" fmla="*/ 53789 h 495300"/>
                  <a:gd name="connsiteX332" fmla="*/ 411624 w 533400"/>
                  <a:gd name="connsiteY332" fmla="*/ 50098 h 495300"/>
                  <a:gd name="connsiteX333" fmla="*/ 407938 w 533400"/>
                  <a:gd name="connsiteY333" fmla="*/ 53789 h 495300"/>
                  <a:gd name="connsiteX334" fmla="*/ 407938 w 533400"/>
                  <a:gd name="connsiteY334" fmla="*/ 57480 h 495300"/>
                  <a:gd name="connsiteX335" fmla="*/ 415310 w 533400"/>
                  <a:gd name="connsiteY335" fmla="*/ 64861 h 495300"/>
                  <a:gd name="connsiteX336" fmla="*/ 415310 w 533400"/>
                  <a:gd name="connsiteY336" fmla="*/ 68551 h 495300"/>
                  <a:gd name="connsiteX337" fmla="*/ 411624 w 533400"/>
                  <a:gd name="connsiteY337" fmla="*/ 68551 h 495300"/>
                  <a:gd name="connsiteX338" fmla="*/ 411624 w 533400"/>
                  <a:gd name="connsiteY338" fmla="*/ 64861 h 495300"/>
                  <a:gd name="connsiteX339" fmla="*/ 407938 w 533400"/>
                  <a:gd name="connsiteY339" fmla="*/ 68551 h 495300"/>
                  <a:gd name="connsiteX340" fmla="*/ 407938 w 533400"/>
                  <a:gd name="connsiteY340" fmla="*/ 64861 h 495300"/>
                  <a:gd name="connsiteX341" fmla="*/ 404242 w 533400"/>
                  <a:gd name="connsiteY341" fmla="*/ 61170 h 495300"/>
                  <a:gd name="connsiteX342" fmla="*/ 404242 w 533400"/>
                  <a:gd name="connsiteY342" fmla="*/ 57480 h 495300"/>
                  <a:gd name="connsiteX343" fmla="*/ 404242 w 533400"/>
                  <a:gd name="connsiteY343" fmla="*/ 53789 h 495300"/>
                  <a:gd name="connsiteX344" fmla="*/ 404242 w 533400"/>
                  <a:gd name="connsiteY344" fmla="*/ 46408 h 495300"/>
                  <a:gd name="connsiteX345" fmla="*/ 400556 w 533400"/>
                  <a:gd name="connsiteY345" fmla="*/ 42717 h 495300"/>
                  <a:gd name="connsiteX346" fmla="*/ 400556 w 533400"/>
                  <a:gd name="connsiteY346" fmla="*/ 39027 h 495300"/>
                  <a:gd name="connsiteX347" fmla="*/ 404242 w 533400"/>
                  <a:gd name="connsiteY347" fmla="*/ 35336 h 495300"/>
                  <a:gd name="connsiteX348" fmla="*/ 400556 w 533400"/>
                  <a:gd name="connsiteY348" fmla="*/ 35336 h 495300"/>
                  <a:gd name="connsiteX349" fmla="*/ 400556 w 533400"/>
                  <a:gd name="connsiteY349" fmla="*/ 31645 h 495300"/>
                  <a:gd name="connsiteX350" fmla="*/ 400556 w 533400"/>
                  <a:gd name="connsiteY350" fmla="*/ 27955 h 495300"/>
                  <a:gd name="connsiteX351" fmla="*/ 396870 w 533400"/>
                  <a:gd name="connsiteY351" fmla="*/ 24264 h 495300"/>
                  <a:gd name="connsiteX352" fmla="*/ 400556 w 533400"/>
                  <a:gd name="connsiteY352" fmla="*/ 16883 h 495300"/>
                  <a:gd name="connsiteX353" fmla="*/ 400556 w 533400"/>
                  <a:gd name="connsiteY353" fmla="*/ 13192 h 495300"/>
                  <a:gd name="connsiteX354" fmla="*/ 400556 w 533400"/>
                  <a:gd name="connsiteY354" fmla="*/ 9502 h 495300"/>
                  <a:gd name="connsiteX355" fmla="*/ 407938 w 533400"/>
                  <a:gd name="connsiteY355" fmla="*/ 5812 h 495300"/>
                  <a:gd name="connsiteX356" fmla="*/ 430065 w 533400"/>
                  <a:gd name="connsiteY356" fmla="*/ 53789 h 495300"/>
                  <a:gd name="connsiteX357" fmla="*/ 430065 w 533400"/>
                  <a:gd name="connsiteY357" fmla="*/ 57480 h 495300"/>
                  <a:gd name="connsiteX358" fmla="*/ 433760 w 533400"/>
                  <a:gd name="connsiteY358" fmla="*/ 61170 h 495300"/>
                  <a:gd name="connsiteX359" fmla="*/ 430065 w 533400"/>
                  <a:gd name="connsiteY359" fmla="*/ 53789 h 495300"/>
                  <a:gd name="connsiteX360" fmla="*/ 24261 w 533400"/>
                  <a:gd name="connsiteY360" fmla="*/ 264151 h 495300"/>
                  <a:gd name="connsiteX361" fmla="*/ 13193 w 533400"/>
                  <a:gd name="connsiteY361" fmla="*/ 275223 h 495300"/>
                  <a:gd name="connsiteX362" fmla="*/ 9498 w 533400"/>
                  <a:gd name="connsiteY362" fmla="*/ 275223 h 495300"/>
                  <a:gd name="connsiteX363" fmla="*/ 5812 w 533400"/>
                  <a:gd name="connsiteY363" fmla="*/ 275223 h 495300"/>
                  <a:gd name="connsiteX364" fmla="*/ 9498 w 533400"/>
                  <a:gd name="connsiteY364" fmla="*/ 278913 h 495300"/>
                  <a:gd name="connsiteX365" fmla="*/ 13193 w 533400"/>
                  <a:gd name="connsiteY365" fmla="*/ 278913 h 495300"/>
                  <a:gd name="connsiteX366" fmla="*/ 16880 w 533400"/>
                  <a:gd name="connsiteY366" fmla="*/ 275223 h 495300"/>
                  <a:gd name="connsiteX367" fmla="*/ 24261 w 533400"/>
                  <a:gd name="connsiteY367" fmla="*/ 264151 h 495300"/>
                  <a:gd name="connsiteX368" fmla="*/ 50084 w 533400"/>
                  <a:gd name="connsiteY368" fmla="*/ 190340 h 495300"/>
                  <a:gd name="connsiteX369" fmla="*/ 50084 w 533400"/>
                  <a:gd name="connsiteY369" fmla="*/ 186649 h 495300"/>
                  <a:gd name="connsiteX370" fmla="*/ 46398 w 533400"/>
                  <a:gd name="connsiteY370" fmla="*/ 190340 h 495300"/>
                  <a:gd name="connsiteX371" fmla="*/ 50084 w 533400"/>
                  <a:gd name="connsiteY371" fmla="*/ 190340 h 495300"/>
                  <a:gd name="connsiteX372" fmla="*/ 407938 w 533400"/>
                  <a:gd name="connsiteY372" fmla="*/ 75933 h 495300"/>
                  <a:gd name="connsiteX373" fmla="*/ 411624 w 533400"/>
                  <a:gd name="connsiteY373" fmla="*/ 75933 h 495300"/>
                  <a:gd name="connsiteX374" fmla="*/ 411624 w 533400"/>
                  <a:gd name="connsiteY374" fmla="*/ 79623 h 495300"/>
                  <a:gd name="connsiteX375" fmla="*/ 407938 w 533400"/>
                  <a:gd name="connsiteY375" fmla="*/ 75933 h 495300"/>
                  <a:gd name="connsiteX376" fmla="*/ 400556 w 533400"/>
                  <a:gd name="connsiteY376" fmla="*/ 79623 h 495300"/>
                  <a:gd name="connsiteX377" fmla="*/ 404242 w 533400"/>
                  <a:gd name="connsiteY377" fmla="*/ 79623 h 495300"/>
                  <a:gd name="connsiteX378" fmla="*/ 400556 w 533400"/>
                  <a:gd name="connsiteY378" fmla="*/ 83314 h 495300"/>
                  <a:gd name="connsiteX379" fmla="*/ 400556 w 533400"/>
                  <a:gd name="connsiteY379" fmla="*/ 79623 h 495300"/>
                  <a:gd name="connsiteX380" fmla="*/ 39016 w 533400"/>
                  <a:gd name="connsiteY380" fmla="*/ 301057 h 495300"/>
                  <a:gd name="connsiteX381" fmla="*/ 42702 w 533400"/>
                  <a:gd name="connsiteY381" fmla="*/ 301057 h 495300"/>
                  <a:gd name="connsiteX382" fmla="*/ 39016 w 533400"/>
                  <a:gd name="connsiteY382" fmla="*/ 304748 h 495300"/>
                  <a:gd name="connsiteX383" fmla="*/ 39016 w 533400"/>
                  <a:gd name="connsiteY383" fmla="*/ 301057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Lst>
                <a:rect l="l" t="t" r="r" b="b"/>
                <a:pathLst>
                  <a:path w="533400" h="495300">
                    <a:moveTo>
                      <a:pt x="407938" y="5812"/>
                    </a:moveTo>
                    <a:lnTo>
                      <a:pt x="389488" y="13192"/>
                    </a:lnTo>
                    <a:lnTo>
                      <a:pt x="385802" y="13192"/>
                    </a:lnTo>
                    <a:lnTo>
                      <a:pt x="378420" y="9502"/>
                    </a:lnTo>
                    <a:lnTo>
                      <a:pt x="367352" y="9502"/>
                    </a:lnTo>
                    <a:lnTo>
                      <a:pt x="367352" y="13192"/>
                    </a:lnTo>
                    <a:lnTo>
                      <a:pt x="363666" y="13192"/>
                    </a:lnTo>
                    <a:lnTo>
                      <a:pt x="359970" y="13192"/>
                    </a:lnTo>
                    <a:lnTo>
                      <a:pt x="356284" y="9502"/>
                    </a:lnTo>
                    <a:lnTo>
                      <a:pt x="341530" y="13192"/>
                    </a:lnTo>
                    <a:lnTo>
                      <a:pt x="334148" y="13192"/>
                    </a:lnTo>
                    <a:lnTo>
                      <a:pt x="330462" y="13192"/>
                    </a:lnTo>
                    <a:lnTo>
                      <a:pt x="326775" y="16883"/>
                    </a:lnTo>
                    <a:lnTo>
                      <a:pt x="312012" y="20573"/>
                    </a:lnTo>
                    <a:lnTo>
                      <a:pt x="308326" y="20573"/>
                    </a:lnTo>
                    <a:lnTo>
                      <a:pt x="304639" y="20573"/>
                    </a:lnTo>
                    <a:lnTo>
                      <a:pt x="289876" y="27955"/>
                    </a:lnTo>
                    <a:lnTo>
                      <a:pt x="282503" y="27955"/>
                    </a:lnTo>
                    <a:lnTo>
                      <a:pt x="278808" y="27955"/>
                    </a:lnTo>
                    <a:lnTo>
                      <a:pt x="275121" y="27955"/>
                    </a:lnTo>
                    <a:lnTo>
                      <a:pt x="271435" y="27955"/>
                    </a:lnTo>
                    <a:lnTo>
                      <a:pt x="271435" y="24264"/>
                    </a:lnTo>
                    <a:lnTo>
                      <a:pt x="267749" y="20573"/>
                    </a:lnTo>
                    <a:lnTo>
                      <a:pt x="267749" y="27955"/>
                    </a:lnTo>
                    <a:lnTo>
                      <a:pt x="260367" y="31645"/>
                    </a:lnTo>
                    <a:lnTo>
                      <a:pt x="252985" y="35336"/>
                    </a:lnTo>
                    <a:lnTo>
                      <a:pt x="249299" y="39027"/>
                    </a:lnTo>
                    <a:lnTo>
                      <a:pt x="241917" y="42717"/>
                    </a:lnTo>
                    <a:lnTo>
                      <a:pt x="238231" y="46408"/>
                    </a:lnTo>
                    <a:lnTo>
                      <a:pt x="230849" y="50098"/>
                    </a:lnTo>
                    <a:lnTo>
                      <a:pt x="223477" y="50098"/>
                    </a:lnTo>
                    <a:lnTo>
                      <a:pt x="212409" y="57480"/>
                    </a:lnTo>
                    <a:lnTo>
                      <a:pt x="197655" y="64861"/>
                    </a:lnTo>
                    <a:lnTo>
                      <a:pt x="190273" y="68551"/>
                    </a:lnTo>
                    <a:lnTo>
                      <a:pt x="171823" y="79623"/>
                    </a:lnTo>
                    <a:lnTo>
                      <a:pt x="160755" y="79623"/>
                    </a:lnTo>
                    <a:lnTo>
                      <a:pt x="157069" y="83314"/>
                    </a:lnTo>
                    <a:lnTo>
                      <a:pt x="149687" y="87004"/>
                    </a:lnTo>
                    <a:lnTo>
                      <a:pt x="146000" y="87004"/>
                    </a:lnTo>
                    <a:lnTo>
                      <a:pt x="142314" y="90695"/>
                    </a:lnTo>
                    <a:lnTo>
                      <a:pt x="134932" y="94385"/>
                    </a:lnTo>
                    <a:lnTo>
                      <a:pt x="127560" y="98075"/>
                    </a:lnTo>
                    <a:lnTo>
                      <a:pt x="123864" y="101766"/>
                    </a:lnTo>
                    <a:lnTo>
                      <a:pt x="116492" y="109147"/>
                    </a:lnTo>
                    <a:lnTo>
                      <a:pt x="112796" y="116528"/>
                    </a:lnTo>
                    <a:lnTo>
                      <a:pt x="109110" y="120219"/>
                    </a:lnTo>
                    <a:lnTo>
                      <a:pt x="109110" y="123910"/>
                    </a:lnTo>
                    <a:lnTo>
                      <a:pt x="105424" y="123910"/>
                    </a:lnTo>
                    <a:lnTo>
                      <a:pt x="105424" y="127600"/>
                    </a:lnTo>
                    <a:lnTo>
                      <a:pt x="98042" y="131291"/>
                    </a:lnTo>
                    <a:lnTo>
                      <a:pt x="94356" y="134981"/>
                    </a:lnTo>
                    <a:lnTo>
                      <a:pt x="90660" y="134981"/>
                    </a:lnTo>
                    <a:lnTo>
                      <a:pt x="83288" y="142363"/>
                    </a:lnTo>
                    <a:lnTo>
                      <a:pt x="79592" y="146053"/>
                    </a:lnTo>
                    <a:lnTo>
                      <a:pt x="75906" y="146053"/>
                    </a:lnTo>
                    <a:lnTo>
                      <a:pt x="72220" y="149744"/>
                    </a:lnTo>
                    <a:lnTo>
                      <a:pt x="68524" y="157125"/>
                    </a:lnTo>
                    <a:lnTo>
                      <a:pt x="64838" y="157125"/>
                    </a:lnTo>
                    <a:lnTo>
                      <a:pt x="61152" y="160816"/>
                    </a:lnTo>
                    <a:lnTo>
                      <a:pt x="57466" y="168197"/>
                    </a:lnTo>
                    <a:lnTo>
                      <a:pt x="53770" y="179268"/>
                    </a:lnTo>
                    <a:lnTo>
                      <a:pt x="50084" y="182958"/>
                    </a:lnTo>
                    <a:lnTo>
                      <a:pt x="50084" y="186649"/>
                    </a:lnTo>
                    <a:lnTo>
                      <a:pt x="53770" y="186649"/>
                    </a:lnTo>
                    <a:lnTo>
                      <a:pt x="50084" y="190340"/>
                    </a:lnTo>
                    <a:lnTo>
                      <a:pt x="46398" y="194030"/>
                    </a:lnTo>
                    <a:lnTo>
                      <a:pt x="42702" y="197721"/>
                    </a:lnTo>
                    <a:lnTo>
                      <a:pt x="42702" y="201411"/>
                    </a:lnTo>
                    <a:lnTo>
                      <a:pt x="46398" y="201411"/>
                    </a:lnTo>
                    <a:lnTo>
                      <a:pt x="46398" y="208793"/>
                    </a:lnTo>
                    <a:lnTo>
                      <a:pt x="42702" y="216174"/>
                    </a:lnTo>
                    <a:lnTo>
                      <a:pt x="42702" y="227246"/>
                    </a:lnTo>
                    <a:lnTo>
                      <a:pt x="42702" y="234627"/>
                    </a:lnTo>
                    <a:lnTo>
                      <a:pt x="42702" y="238318"/>
                    </a:lnTo>
                    <a:lnTo>
                      <a:pt x="39016" y="242008"/>
                    </a:lnTo>
                    <a:lnTo>
                      <a:pt x="39016" y="245699"/>
                    </a:lnTo>
                    <a:lnTo>
                      <a:pt x="31634" y="249389"/>
                    </a:lnTo>
                    <a:lnTo>
                      <a:pt x="27948" y="249389"/>
                    </a:lnTo>
                    <a:lnTo>
                      <a:pt x="31634" y="253080"/>
                    </a:lnTo>
                    <a:lnTo>
                      <a:pt x="27948" y="256771"/>
                    </a:lnTo>
                    <a:lnTo>
                      <a:pt x="27948" y="260461"/>
                    </a:lnTo>
                    <a:lnTo>
                      <a:pt x="24261" y="264151"/>
                    </a:lnTo>
                    <a:lnTo>
                      <a:pt x="27948" y="264151"/>
                    </a:lnTo>
                    <a:lnTo>
                      <a:pt x="31634" y="267841"/>
                    </a:lnTo>
                    <a:lnTo>
                      <a:pt x="35330" y="275223"/>
                    </a:lnTo>
                    <a:lnTo>
                      <a:pt x="35330" y="278913"/>
                    </a:lnTo>
                    <a:lnTo>
                      <a:pt x="35330" y="282604"/>
                    </a:lnTo>
                    <a:lnTo>
                      <a:pt x="35330" y="286295"/>
                    </a:lnTo>
                    <a:lnTo>
                      <a:pt x="39016" y="293676"/>
                    </a:lnTo>
                    <a:lnTo>
                      <a:pt x="35330" y="293676"/>
                    </a:lnTo>
                    <a:lnTo>
                      <a:pt x="39016" y="297366"/>
                    </a:lnTo>
                    <a:lnTo>
                      <a:pt x="35330" y="297366"/>
                    </a:lnTo>
                    <a:lnTo>
                      <a:pt x="35330" y="293676"/>
                    </a:lnTo>
                    <a:lnTo>
                      <a:pt x="27948" y="293676"/>
                    </a:lnTo>
                    <a:lnTo>
                      <a:pt x="27948" y="297366"/>
                    </a:lnTo>
                    <a:lnTo>
                      <a:pt x="27948" y="301057"/>
                    </a:lnTo>
                    <a:lnTo>
                      <a:pt x="31634" y="301057"/>
                    </a:lnTo>
                    <a:lnTo>
                      <a:pt x="35330" y="301057"/>
                    </a:lnTo>
                    <a:lnTo>
                      <a:pt x="35330" y="308438"/>
                    </a:lnTo>
                    <a:lnTo>
                      <a:pt x="35330" y="312129"/>
                    </a:lnTo>
                    <a:lnTo>
                      <a:pt x="39016" y="308438"/>
                    </a:lnTo>
                    <a:lnTo>
                      <a:pt x="39016" y="312129"/>
                    </a:lnTo>
                    <a:lnTo>
                      <a:pt x="35330" y="312129"/>
                    </a:lnTo>
                    <a:lnTo>
                      <a:pt x="35330" y="315819"/>
                    </a:lnTo>
                    <a:lnTo>
                      <a:pt x="39016" y="315819"/>
                    </a:lnTo>
                    <a:lnTo>
                      <a:pt x="42702" y="319510"/>
                    </a:lnTo>
                    <a:lnTo>
                      <a:pt x="42702" y="323201"/>
                    </a:lnTo>
                    <a:lnTo>
                      <a:pt x="42702" y="326891"/>
                    </a:lnTo>
                    <a:lnTo>
                      <a:pt x="42702" y="330582"/>
                    </a:lnTo>
                    <a:lnTo>
                      <a:pt x="39016" y="334272"/>
                    </a:lnTo>
                    <a:lnTo>
                      <a:pt x="39016" y="341654"/>
                    </a:lnTo>
                    <a:lnTo>
                      <a:pt x="42702" y="352725"/>
                    </a:lnTo>
                    <a:lnTo>
                      <a:pt x="42702" y="360106"/>
                    </a:lnTo>
                    <a:lnTo>
                      <a:pt x="46398" y="363796"/>
                    </a:lnTo>
                    <a:lnTo>
                      <a:pt x="46398" y="365065"/>
                    </a:lnTo>
                    <a:lnTo>
                      <a:pt x="53770" y="360106"/>
                    </a:lnTo>
                    <a:lnTo>
                      <a:pt x="46398" y="367487"/>
                    </a:lnTo>
                    <a:lnTo>
                      <a:pt x="46398" y="365065"/>
                    </a:lnTo>
                    <a:lnTo>
                      <a:pt x="42702" y="367487"/>
                    </a:lnTo>
                    <a:lnTo>
                      <a:pt x="42702" y="371178"/>
                    </a:lnTo>
                    <a:lnTo>
                      <a:pt x="42702" y="378559"/>
                    </a:lnTo>
                    <a:lnTo>
                      <a:pt x="39016" y="378559"/>
                    </a:lnTo>
                    <a:lnTo>
                      <a:pt x="35330" y="382249"/>
                    </a:lnTo>
                    <a:lnTo>
                      <a:pt x="39016" y="385940"/>
                    </a:lnTo>
                    <a:lnTo>
                      <a:pt x="42702" y="393321"/>
                    </a:lnTo>
                    <a:lnTo>
                      <a:pt x="42702" y="397012"/>
                    </a:lnTo>
                    <a:lnTo>
                      <a:pt x="42702" y="404393"/>
                    </a:lnTo>
                    <a:lnTo>
                      <a:pt x="42702" y="408084"/>
                    </a:lnTo>
                    <a:lnTo>
                      <a:pt x="39016" y="411774"/>
                    </a:lnTo>
                    <a:lnTo>
                      <a:pt x="35330" y="411774"/>
                    </a:lnTo>
                    <a:lnTo>
                      <a:pt x="31634" y="411774"/>
                    </a:lnTo>
                    <a:lnTo>
                      <a:pt x="24261" y="419156"/>
                    </a:lnTo>
                    <a:lnTo>
                      <a:pt x="20566" y="422846"/>
                    </a:lnTo>
                    <a:lnTo>
                      <a:pt x="16880" y="426537"/>
                    </a:lnTo>
                    <a:lnTo>
                      <a:pt x="20566" y="430227"/>
                    </a:lnTo>
                    <a:lnTo>
                      <a:pt x="20566" y="433917"/>
                    </a:lnTo>
                    <a:lnTo>
                      <a:pt x="20566" y="437608"/>
                    </a:lnTo>
                    <a:lnTo>
                      <a:pt x="27948" y="437608"/>
                    </a:lnTo>
                    <a:lnTo>
                      <a:pt x="27948" y="441298"/>
                    </a:lnTo>
                    <a:lnTo>
                      <a:pt x="31634" y="441298"/>
                    </a:lnTo>
                    <a:lnTo>
                      <a:pt x="39016" y="448679"/>
                    </a:lnTo>
                    <a:lnTo>
                      <a:pt x="46398" y="456061"/>
                    </a:lnTo>
                    <a:lnTo>
                      <a:pt x="50084" y="456061"/>
                    </a:lnTo>
                    <a:lnTo>
                      <a:pt x="53770" y="456061"/>
                    </a:lnTo>
                    <a:lnTo>
                      <a:pt x="57466" y="456061"/>
                    </a:lnTo>
                    <a:lnTo>
                      <a:pt x="64838" y="456061"/>
                    </a:lnTo>
                    <a:lnTo>
                      <a:pt x="64838" y="452370"/>
                    </a:lnTo>
                    <a:lnTo>
                      <a:pt x="75906" y="456061"/>
                    </a:lnTo>
                    <a:lnTo>
                      <a:pt x="83288" y="456061"/>
                    </a:lnTo>
                    <a:lnTo>
                      <a:pt x="86974" y="459751"/>
                    </a:lnTo>
                    <a:lnTo>
                      <a:pt x="101728" y="467133"/>
                    </a:lnTo>
                    <a:lnTo>
                      <a:pt x="109110" y="467133"/>
                    </a:lnTo>
                    <a:lnTo>
                      <a:pt x="109110" y="470823"/>
                    </a:lnTo>
                    <a:lnTo>
                      <a:pt x="116492" y="470823"/>
                    </a:lnTo>
                    <a:lnTo>
                      <a:pt x="120178" y="467133"/>
                    </a:lnTo>
                    <a:lnTo>
                      <a:pt x="123864" y="467133"/>
                    </a:lnTo>
                    <a:lnTo>
                      <a:pt x="123864" y="463442"/>
                    </a:lnTo>
                    <a:lnTo>
                      <a:pt x="127560" y="459751"/>
                    </a:lnTo>
                    <a:lnTo>
                      <a:pt x="127560" y="456061"/>
                    </a:lnTo>
                    <a:lnTo>
                      <a:pt x="134932" y="452370"/>
                    </a:lnTo>
                    <a:lnTo>
                      <a:pt x="142314" y="456061"/>
                    </a:lnTo>
                    <a:lnTo>
                      <a:pt x="146000" y="452370"/>
                    </a:lnTo>
                    <a:lnTo>
                      <a:pt x="153382" y="448679"/>
                    </a:lnTo>
                    <a:lnTo>
                      <a:pt x="157069" y="448679"/>
                    </a:lnTo>
                    <a:lnTo>
                      <a:pt x="160755" y="452370"/>
                    </a:lnTo>
                    <a:lnTo>
                      <a:pt x="160755" y="459751"/>
                    </a:lnTo>
                    <a:lnTo>
                      <a:pt x="164450" y="459751"/>
                    </a:lnTo>
                    <a:lnTo>
                      <a:pt x="168137" y="459751"/>
                    </a:lnTo>
                    <a:lnTo>
                      <a:pt x="175518" y="459751"/>
                    </a:lnTo>
                    <a:lnTo>
                      <a:pt x="179205" y="459751"/>
                    </a:lnTo>
                    <a:lnTo>
                      <a:pt x="182891" y="459751"/>
                    </a:lnTo>
                    <a:lnTo>
                      <a:pt x="182891" y="463442"/>
                    </a:lnTo>
                    <a:lnTo>
                      <a:pt x="186587" y="463442"/>
                    </a:lnTo>
                    <a:lnTo>
                      <a:pt x="190273" y="459751"/>
                    </a:lnTo>
                    <a:lnTo>
                      <a:pt x="190273" y="463442"/>
                    </a:lnTo>
                    <a:lnTo>
                      <a:pt x="197655" y="467133"/>
                    </a:lnTo>
                    <a:lnTo>
                      <a:pt x="193959" y="459751"/>
                    </a:lnTo>
                    <a:lnTo>
                      <a:pt x="205027" y="463442"/>
                    </a:lnTo>
                    <a:lnTo>
                      <a:pt x="208713" y="463442"/>
                    </a:lnTo>
                    <a:lnTo>
                      <a:pt x="223477" y="481895"/>
                    </a:lnTo>
                    <a:lnTo>
                      <a:pt x="227163" y="489276"/>
                    </a:lnTo>
                    <a:lnTo>
                      <a:pt x="227163" y="492967"/>
                    </a:lnTo>
                    <a:lnTo>
                      <a:pt x="230849" y="489276"/>
                    </a:lnTo>
                    <a:lnTo>
                      <a:pt x="238231" y="481895"/>
                    </a:lnTo>
                    <a:lnTo>
                      <a:pt x="241917" y="481895"/>
                    </a:lnTo>
                    <a:lnTo>
                      <a:pt x="241917" y="485586"/>
                    </a:lnTo>
                    <a:lnTo>
                      <a:pt x="245613" y="485586"/>
                    </a:lnTo>
                    <a:lnTo>
                      <a:pt x="249299" y="485586"/>
                    </a:lnTo>
                    <a:lnTo>
                      <a:pt x="249299" y="489276"/>
                    </a:lnTo>
                    <a:lnTo>
                      <a:pt x="252985" y="489276"/>
                    </a:lnTo>
                    <a:lnTo>
                      <a:pt x="256681" y="489276"/>
                    </a:lnTo>
                    <a:lnTo>
                      <a:pt x="260367" y="492967"/>
                    </a:lnTo>
                    <a:lnTo>
                      <a:pt x="264053" y="492967"/>
                    </a:lnTo>
                    <a:lnTo>
                      <a:pt x="267749" y="492967"/>
                    </a:lnTo>
                    <a:lnTo>
                      <a:pt x="271435" y="492967"/>
                    </a:lnTo>
                    <a:lnTo>
                      <a:pt x="275121" y="489276"/>
                    </a:lnTo>
                    <a:lnTo>
                      <a:pt x="278808" y="489276"/>
                    </a:lnTo>
                    <a:lnTo>
                      <a:pt x="278808" y="485586"/>
                    </a:lnTo>
                    <a:lnTo>
                      <a:pt x="282503" y="485586"/>
                    </a:lnTo>
                    <a:lnTo>
                      <a:pt x="286189" y="481895"/>
                    </a:lnTo>
                    <a:lnTo>
                      <a:pt x="286189" y="478204"/>
                    </a:lnTo>
                    <a:lnTo>
                      <a:pt x="289876" y="474514"/>
                    </a:lnTo>
                    <a:lnTo>
                      <a:pt x="289876" y="470823"/>
                    </a:lnTo>
                    <a:lnTo>
                      <a:pt x="293571" y="467133"/>
                    </a:lnTo>
                    <a:lnTo>
                      <a:pt x="300944" y="467133"/>
                    </a:lnTo>
                    <a:lnTo>
                      <a:pt x="300944" y="463442"/>
                    </a:lnTo>
                    <a:lnTo>
                      <a:pt x="308326" y="467133"/>
                    </a:lnTo>
                    <a:lnTo>
                      <a:pt x="308326" y="463442"/>
                    </a:lnTo>
                    <a:lnTo>
                      <a:pt x="315707" y="459751"/>
                    </a:lnTo>
                    <a:lnTo>
                      <a:pt x="315707" y="467133"/>
                    </a:lnTo>
                    <a:lnTo>
                      <a:pt x="319394" y="474514"/>
                    </a:lnTo>
                    <a:lnTo>
                      <a:pt x="323080" y="478204"/>
                    </a:lnTo>
                    <a:lnTo>
                      <a:pt x="326775" y="478204"/>
                    </a:lnTo>
                    <a:lnTo>
                      <a:pt x="326775" y="481895"/>
                    </a:lnTo>
                    <a:lnTo>
                      <a:pt x="330462" y="478204"/>
                    </a:lnTo>
                    <a:lnTo>
                      <a:pt x="341530" y="474514"/>
                    </a:lnTo>
                    <a:lnTo>
                      <a:pt x="341530" y="481895"/>
                    </a:lnTo>
                    <a:lnTo>
                      <a:pt x="348912" y="478204"/>
                    </a:lnTo>
                    <a:lnTo>
                      <a:pt x="352598" y="474514"/>
                    </a:lnTo>
                    <a:lnTo>
                      <a:pt x="356284" y="474514"/>
                    </a:lnTo>
                    <a:lnTo>
                      <a:pt x="356284" y="470823"/>
                    </a:lnTo>
                    <a:lnTo>
                      <a:pt x="352598" y="463442"/>
                    </a:lnTo>
                    <a:lnTo>
                      <a:pt x="356284" y="463442"/>
                    </a:lnTo>
                    <a:lnTo>
                      <a:pt x="367352" y="463442"/>
                    </a:lnTo>
                    <a:lnTo>
                      <a:pt x="371038" y="459751"/>
                    </a:lnTo>
                    <a:lnTo>
                      <a:pt x="374734" y="456061"/>
                    </a:lnTo>
                    <a:lnTo>
                      <a:pt x="385802" y="448679"/>
                    </a:lnTo>
                    <a:lnTo>
                      <a:pt x="396870" y="441298"/>
                    </a:lnTo>
                    <a:lnTo>
                      <a:pt x="404242" y="433917"/>
                    </a:lnTo>
                    <a:lnTo>
                      <a:pt x="418996" y="426537"/>
                    </a:lnTo>
                    <a:lnTo>
                      <a:pt x="422692" y="422846"/>
                    </a:lnTo>
                    <a:lnTo>
                      <a:pt x="426378" y="419156"/>
                    </a:lnTo>
                    <a:lnTo>
                      <a:pt x="437446" y="404393"/>
                    </a:lnTo>
                    <a:lnTo>
                      <a:pt x="444828" y="400703"/>
                    </a:lnTo>
                    <a:lnTo>
                      <a:pt x="444828" y="397012"/>
                    </a:lnTo>
                    <a:lnTo>
                      <a:pt x="444828" y="393321"/>
                    </a:lnTo>
                    <a:lnTo>
                      <a:pt x="452201" y="389631"/>
                    </a:lnTo>
                    <a:lnTo>
                      <a:pt x="463269" y="393321"/>
                    </a:lnTo>
                    <a:lnTo>
                      <a:pt x="474337" y="393321"/>
                    </a:lnTo>
                    <a:lnTo>
                      <a:pt x="489100" y="408084"/>
                    </a:lnTo>
                    <a:lnTo>
                      <a:pt x="503855" y="397012"/>
                    </a:lnTo>
                    <a:lnTo>
                      <a:pt x="514923" y="385940"/>
                    </a:lnTo>
                    <a:lnTo>
                      <a:pt x="518609" y="382249"/>
                    </a:lnTo>
                    <a:lnTo>
                      <a:pt x="522295" y="378559"/>
                    </a:lnTo>
                    <a:lnTo>
                      <a:pt x="522295" y="374868"/>
                    </a:lnTo>
                    <a:lnTo>
                      <a:pt x="533363" y="356415"/>
                    </a:lnTo>
                    <a:lnTo>
                      <a:pt x="529677" y="352725"/>
                    </a:lnTo>
                    <a:lnTo>
                      <a:pt x="525991" y="345344"/>
                    </a:lnTo>
                    <a:lnTo>
                      <a:pt x="522295" y="337963"/>
                    </a:lnTo>
                    <a:lnTo>
                      <a:pt x="507541" y="315819"/>
                    </a:lnTo>
                    <a:lnTo>
                      <a:pt x="500159" y="304748"/>
                    </a:lnTo>
                    <a:lnTo>
                      <a:pt x="500159" y="301057"/>
                    </a:lnTo>
                    <a:lnTo>
                      <a:pt x="500159" y="289985"/>
                    </a:lnTo>
                    <a:lnTo>
                      <a:pt x="503855" y="278913"/>
                    </a:lnTo>
                    <a:lnTo>
                      <a:pt x="496473" y="275223"/>
                    </a:lnTo>
                    <a:lnTo>
                      <a:pt x="485405" y="275223"/>
                    </a:lnTo>
                    <a:lnTo>
                      <a:pt x="474337" y="267841"/>
                    </a:lnTo>
                    <a:lnTo>
                      <a:pt x="478033" y="260461"/>
                    </a:lnTo>
                    <a:lnTo>
                      <a:pt x="466964" y="256771"/>
                    </a:lnTo>
                    <a:lnTo>
                      <a:pt x="466964" y="253080"/>
                    </a:lnTo>
                    <a:lnTo>
                      <a:pt x="463269" y="249389"/>
                    </a:lnTo>
                    <a:lnTo>
                      <a:pt x="455896" y="245699"/>
                    </a:lnTo>
                    <a:lnTo>
                      <a:pt x="452201" y="242008"/>
                    </a:lnTo>
                    <a:lnTo>
                      <a:pt x="448515" y="242008"/>
                    </a:lnTo>
                    <a:lnTo>
                      <a:pt x="441133" y="242008"/>
                    </a:lnTo>
                    <a:lnTo>
                      <a:pt x="433760" y="242008"/>
                    </a:lnTo>
                    <a:lnTo>
                      <a:pt x="426378" y="242008"/>
                    </a:lnTo>
                    <a:lnTo>
                      <a:pt x="422692" y="242008"/>
                    </a:lnTo>
                    <a:lnTo>
                      <a:pt x="418996" y="234627"/>
                    </a:lnTo>
                    <a:lnTo>
                      <a:pt x="415310" y="230936"/>
                    </a:lnTo>
                    <a:lnTo>
                      <a:pt x="411624" y="227246"/>
                    </a:lnTo>
                    <a:lnTo>
                      <a:pt x="411624" y="212483"/>
                    </a:lnTo>
                    <a:lnTo>
                      <a:pt x="411624" y="208793"/>
                    </a:lnTo>
                    <a:lnTo>
                      <a:pt x="411624" y="201411"/>
                    </a:lnTo>
                    <a:lnTo>
                      <a:pt x="411624" y="194030"/>
                    </a:lnTo>
                    <a:lnTo>
                      <a:pt x="415310" y="190340"/>
                    </a:lnTo>
                    <a:lnTo>
                      <a:pt x="418996" y="182958"/>
                    </a:lnTo>
                    <a:lnTo>
                      <a:pt x="418996" y="179268"/>
                    </a:lnTo>
                    <a:lnTo>
                      <a:pt x="422692" y="175578"/>
                    </a:lnTo>
                    <a:lnTo>
                      <a:pt x="426378" y="175578"/>
                    </a:lnTo>
                    <a:lnTo>
                      <a:pt x="430065" y="171888"/>
                    </a:lnTo>
                    <a:lnTo>
                      <a:pt x="433760" y="164506"/>
                    </a:lnTo>
                    <a:lnTo>
                      <a:pt x="433760" y="160816"/>
                    </a:lnTo>
                    <a:lnTo>
                      <a:pt x="433760" y="157125"/>
                    </a:lnTo>
                    <a:lnTo>
                      <a:pt x="433760" y="149744"/>
                    </a:lnTo>
                    <a:lnTo>
                      <a:pt x="430065" y="149744"/>
                    </a:lnTo>
                    <a:lnTo>
                      <a:pt x="426378" y="149744"/>
                    </a:lnTo>
                    <a:lnTo>
                      <a:pt x="426378" y="146053"/>
                    </a:lnTo>
                    <a:lnTo>
                      <a:pt x="430065" y="142363"/>
                    </a:lnTo>
                    <a:lnTo>
                      <a:pt x="433760" y="138672"/>
                    </a:lnTo>
                    <a:lnTo>
                      <a:pt x="437446" y="134981"/>
                    </a:lnTo>
                    <a:lnTo>
                      <a:pt x="437446" y="131291"/>
                    </a:lnTo>
                    <a:lnTo>
                      <a:pt x="437446" y="127600"/>
                    </a:lnTo>
                    <a:lnTo>
                      <a:pt x="441133" y="123910"/>
                    </a:lnTo>
                    <a:lnTo>
                      <a:pt x="441133" y="120219"/>
                    </a:lnTo>
                    <a:lnTo>
                      <a:pt x="444828" y="120219"/>
                    </a:lnTo>
                    <a:lnTo>
                      <a:pt x="448515" y="116528"/>
                    </a:lnTo>
                    <a:lnTo>
                      <a:pt x="444828" y="116528"/>
                    </a:lnTo>
                    <a:lnTo>
                      <a:pt x="444828" y="112838"/>
                    </a:lnTo>
                    <a:lnTo>
                      <a:pt x="444828" y="109147"/>
                    </a:lnTo>
                    <a:lnTo>
                      <a:pt x="444828" y="105457"/>
                    </a:lnTo>
                    <a:lnTo>
                      <a:pt x="448515" y="101766"/>
                    </a:lnTo>
                    <a:lnTo>
                      <a:pt x="452201" y="101766"/>
                    </a:lnTo>
                    <a:lnTo>
                      <a:pt x="455896" y="98075"/>
                    </a:lnTo>
                    <a:lnTo>
                      <a:pt x="455896" y="94385"/>
                    </a:lnTo>
                    <a:lnTo>
                      <a:pt x="459582" y="90695"/>
                    </a:lnTo>
                    <a:lnTo>
                      <a:pt x="463269" y="90695"/>
                    </a:lnTo>
                    <a:lnTo>
                      <a:pt x="463269" y="87004"/>
                    </a:lnTo>
                    <a:lnTo>
                      <a:pt x="459582" y="87004"/>
                    </a:lnTo>
                    <a:lnTo>
                      <a:pt x="459582" y="83314"/>
                    </a:lnTo>
                    <a:lnTo>
                      <a:pt x="459582" y="61170"/>
                    </a:lnTo>
                    <a:lnTo>
                      <a:pt x="455896" y="61170"/>
                    </a:lnTo>
                    <a:lnTo>
                      <a:pt x="455896" y="57480"/>
                    </a:lnTo>
                    <a:lnTo>
                      <a:pt x="448515" y="57480"/>
                    </a:lnTo>
                    <a:lnTo>
                      <a:pt x="444828" y="57480"/>
                    </a:lnTo>
                    <a:lnTo>
                      <a:pt x="441133" y="61170"/>
                    </a:lnTo>
                    <a:lnTo>
                      <a:pt x="437446" y="61170"/>
                    </a:lnTo>
                    <a:lnTo>
                      <a:pt x="433760" y="61170"/>
                    </a:lnTo>
                    <a:lnTo>
                      <a:pt x="437446" y="64861"/>
                    </a:lnTo>
                    <a:lnTo>
                      <a:pt x="437446" y="68551"/>
                    </a:lnTo>
                    <a:lnTo>
                      <a:pt x="433760" y="68551"/>
                    </a:lnTo>
                    <a:lnTo>
                      <a:pt x="433760" y="64861"/>
                    </a:lnTo>
                    <a:lnTo>
                      <a:pt x="430065" y="61170"/>
                    </a:lnTo>
                    <a:lnTo>
                      <a:pt x="430065" y="57480"/>
                    </a:lnTo>
                    <a:lnTo>
                      <a:pt x="426378" y="57480"/>
                    </a:lnTo>
                    <a:lnTo>
                      <a:pt x="430065" y="53789"/>
                    </a:lnTo>
                    <a:lnTo>
                      <a:pt x="426378" y="53789"/>
                    </a:lnTo>
                    <a:lnTo>
                      <a:pt x="422692" y="50098"/>
                    </a:lnTo>
                    <a:lnTo>
                      <a:pt x="422692" y="53789"/>
                    </a:lnTo>
                    <a:lnTo>
                      <a:pt x="418996" y="61170"/>
                    </a:lnTo>
                    <a:lnTo>
                      <a:pt x="418996" y="57480"/>
                    </a:lnTo>
                    <a:lnTo>
                      <a:pt x="418996" y="53789"/>
                    </a:lnTo>
                    <a:lnTo>
                      <a:pt x="411624" y="50098"/>
                    </a:lnTo>
                    <a:lnTo>
                      <a:pt x="407938" y="53789"/>
                    </a:lnTo>
                    <a:lnTo>
                      <a:pt x="407938" y="57480"/>
                    </a:lnTo>
                    <a:lnTo>
                      <a:pt x="415310" y="64861"/>
                    </a:lnTo>
                    <a:lnTo>
                      <a:pt x="415310" y="68551"/>
                    </a:lnTo>
                    <a:lnTo>
                      <a:pt x="411624" y="68551"/>
                    </a:lnTo>
                    <a:lnTo>
                      <a:pt x="411624" y="64861"/>
                    </a:lnTo>
                    <a:lnTo>
                      <a:pt x="407938" y="68551"/>
                    </a:lnTo>
                    <a:lnTo>
                      <a:pt x="407938" y="64861"/>
                    </a:lnTo>
                    <a:lnTo>
                      <a:pt x="404242" y="61170"/>
                    </a:lnTo>
                    <a:lnTo>
                      <a:pt x="404242" y="57480"/>
                    </a:lnTo>
                    <a:lnTo>
                      <a:pt x="404242" y="53789"/>
                    </a:lnTo>
                    <a:lnTo>
                      <a:pt x="404242" y="46408"/>
                    </a:lnTo>
                    <a:lnTo>
                      <a:pt x="400556" y="42717"/>
                    </a:lnTo>
                    <a:lnTo>
                      <a:pt x="400556" y="39027"/>
                    </a:lnTo>
                    <a:lnTo>
                      <a:pt x="404242" y="35336"/>
                    </a:lnTo>
                    <a:lnTo>
                      <a:pt x="400556" y="35336"/>
                    </a:lnTo>
                    <a:lnTo>
                      <a:pt x="400556" y="31645"/>
                    </a:lnTo>
                    <a:lnTo>
                      <a:pt x="400556" y="27955"/>
                    </a:lnTo>
                    <a:lnTo>
                      <a:pt x="396870" y="24264"/>
                    </a:lnTo>
                    <a:lnTo>
                      <a:pt x="400556" y="16883"/>
                    </a:lnTo>
                    <a:lnTo>
                      <a:pt x="400556" y="13192"/>
                    </a:lnTo>
                    <a:lnTo>
                      <a:pt x="400556" y="9502"/>
                    </a:lnTo>
                    <a:lnTo>
                      <a:pt x="407938" y="5812"/>
                    </a:lnTo>
                    <a:close/>
                    <a:moveTo>
                      <a:pt x="430065" y="53789"/>
                    </a:moveTo>
                    <a:lnTo>
                      <a:pt x="430065" y="57480"/>
                    </a:lnTo>
                    <a:lnTo>
                      <a:pt x="433760" y="61170"/>
                    </a:lnTo>
                    <a:lnTo>
                      <a:pt x="430065" y="53789"/>
                    </a:lnTo>
                    <a:close/>
                    <a:moveTo>
                      <a:pt x="24261" y="264151"/>
                    </a:moveTo>
                    <a:lnTo>
                      <a:pt x="13193" y="275223"/>
                    </a:lnTo>
                    <a:lnTo>
                      <a:pt x="9498" y="275223"/>
                    </a:lnTo>
                    <a:lnTo>
                      <a:pt x="5812" y="275223"/>
                    </a:lnTo>
                    <a:lnTo>
                      <a:pt x="9498" y="278913"/>
                    </a:lnTo>
                    <a:lnTo>
                      <a:pt x="13193" y="278913"/>
                    </a:lnTo>
                    <a:lnTo>
                      <a:pt x="16880" y="275223"/>
                    </a:lnTo>
                    <a:lnTo>
                      <a:pt x="24261" y="264151"/>
                    </a:lnTo>
                    <a:close/>
                    <a:moveTo>
                      <a:pt x="50084" y="190340"/>
                    </a:moveTo>
                    <a:lnTo>
                      <a:pt x="50084" y="186649"/>
                    </a:lnTo>
                    <a:lnTo>
                      <a:pt x="46398" y="190340"/>
                    </a:lnTo>
                    <a:lnTo>
                      <a:pt x="50084" y="190340"/>
                    </a:lnTo>
                    <a:close/>
                    <a:moveTo>
                      <a:pt x="407938" y="75933"/>
                    </a:moveTo>
                    <a:lnTo>
                      <a:pt x="411624" y="75933"/>
                    </a:lnTo>
                    <a:lnTo>
                      <a:pt x="411624" y="79623"/>
                    </a:lnTo>
                    <a:lnTo>
                      <a:pt x="407938" y="75933"/>
                    </a:lnTo>
                    <a:close/>
                    <a:moveTo>
                      <a:pt x="400556" y="79623"/>
                    </a:moveTo>
                    <a:lnTo>
                      <a:pt x="404242" y="79623"/>
                    </a:lnTo>
                    <a:lnTo>
                      <a:pt x="400556" y="83314"/>
                    </a:lnTo>
                    <a:lnTo>
                      <a:pt x="400556" y="79623"/>
                    </a:lnTo>
                    <a:close/>
                    <a:moveTo>
                      <a:pt x="39016" y="301057"/>
                    </a:moveTo>
                    <a:lnTo>
                      <a:pt x="42702" y="301057"/>
                    </a:lnTo>
                    <a:lnTo>
                      <a:pt x="39016" y="304748"/>
                    </a:lnTo>
                    <a:lnTo>
                      <a:pt x="39016" y="301057"/>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39" name="Freeform: Shape 138">
                <a:extLst>
                  <a:ext uri="{FF2B5EF4-FFF2-40B4-BE49-F238E27FC236}">
                    <a16:creationId xmlns:a16="http://schemas.microsoft.com/office/drawing/2014/main" id="{70B7C4B4-93F7-4D34-9411-C73D4E5C9C2E}"/>
                  </a:ext>
                </a:extLst>
              </p:cNvPr>
              <p:cNvSpPr/>
              <p:nvPr/>
            </p:nvSpPr>
            <p:spPr>
              <a:xfrm>
                <a:off x="4055166" y="1246309"/>
                <a:ext cx="21660" cy="43320"/>
              </a:xfrm>
              <a:custGeom>
                <a:avLst/>
                <a:gdLst>
                  <a:gd name="connsiteX0" fmla="*/ 13193 w 9525"/>
                  <a:gd name="connsiteY0" fmla="*/ 9502 h 19050"/>
                  <a:gd name="connsiteX1" fmla="*/ 13193 w 9525"/>
                  <a:gd name="connsiteY1" fmla="*/ 13193 h 19050"/>
                  <a:gd name="connsiteX2" fmla="*/ 9507 w 9525"/>
                  <a:gd name="connsiteY2" fmla="*/ 16884 h 19050"/>
                  <a:gd name="connsiteX3" fmla="*/ 5812 w 9525"/>
                  <a:gd name="connsiteY3" fmla="*/ 16884 h 19050"/>
                  <a:gd name="connsiteX4" fmla="*/ 5812 w 9525"/>
                  <a:gd name="connsiteY4" fmla="*/ 16884 h 19050"/>
                  <a:gd name="connsiteX5" fmla="*/ 5812 w 9525"/>
                  <a:gd name="connsiteY5" fmla="*/ 13193 h 19050"/>
                  <a:gd name="connsiteX6" fmla="*/ 5812 w 9525"/>
                  <a:gd name="connsiteY6" fmla="*/ 9502 h 19050"/>
                  <a:gd name="connsiteX7" fmla="*/ 5812 w 9525"/>
                  <a:gd name="connsiteY7" fmla="*/ 9502 h 19050"/>
                  <a:gd name="connsiteX8" fmla="*/ 9507 w 9525"/>
                  <a:gd name="connsiteY8" fmla="*/ 5812 h 19050"/>
                  <a:gd name="connsiteX9" fmla="*/ 9507 w 9525"/>
                  <a:gd name="connsiteY9" fmla="*/ 5812 h 19050"/>
                  <a:gd name="connsiteX10" fmla="*/ 13193 w 9525"/>
                  <a:gd name="connsiteY10" fmla="*/ 5812 h 19050"/>
                  <a:gd name="connsiteX11" fmla="*/ 13193 w 9525"/>
                  <a:gd name="connsiteY11" fmla="*/ 950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25" h="19050">
                    <a:moveTo>
                      <a:pt x="13193" y="9502"/>
                    </a:moveTo>
                    <a:lnTo>
                      <a:pt x="13193" y="13193"/>
                    </a:lnTo>
                    <a:lnTo>
                      <a:pt x="9507" y="16884"/>
                    </a:lnTo>
                    <a:lnTo>
                      <a:pt x="5812" y="16884"/>
                    </a:lnTo>
                    <a:lnTo>
                      <a:pt x="5812" y="16884"/>
                    </a:lnTo>
                    <a:lnTo>
                      <a:pt x="5812" y="13193"/>
                    </a:lnTo>
                    <a:lnTo>
                      <a:pt x="5812" y="9502"/>
                    </a:lnTo>
                    <a:lnTo>
                      <a:pt x="5812" y="9502"/>
                    </a:lnTo>
                    <a:lnTo>
                      <a:pt x="9507" y="5812"/>
                    </a:lnTo>
                    <a:lnTo>
                      <a:pt x="9507" y="5812"/>
                    </a:lnTo>
                    <a:lnTo>
                      <a:pt x="13193" y="5812"/>
                    </a:lnTo>
                    <a:lnTo>
                      <a:pt x="13193" y="9502"/>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40" name="Freeform: Shape 139">
                <a:extLst>
                  <a:ext uri="{FF2B5EF4-FFF2-40B4-BE49-F238E27FC236}">
                    <a16:creationId xmlns:a16="http://schemas.microsoft.com/office/drawing/2014/main" id="{83C856D9-F37D-4584-88FD-5E09BC76CE18}"/>
                  </a:ext>
                </a:extLst>
              </p:cNvPr>
              <p:cNvSpPr/>
              <p:nvPr/>
            </p:nvSpPr>
            <p:spPr>
              <a:xfrm>
                <a:off x="3585361" y="1221131"/>
                <a:ext cx="411540" cy="108300"/>
              </a:xfrm>
              <a:custGeom>
                <a:avLst/>
                <a:gdLst>
                  <a:gd name="connsiteX0" fmla="*/ 64847 w 180975"/>
                  <a:gd name="connsiteY0" fmla="*/ 16883 h 47625"/>
                  <a:gd name="connsiteX1" fmla="*/ 75906 w 180975"/>
                  <a:gd name="connsiteY1" fmla="*/ 16883 h 47625"/>
                  <a:gd name="connsiteX2" fmla="*/ 86974 w 180975"/>
                  <a:gd name="connsiteY2" fmla="*/ 16883 h 47625"/>
                  <a:gd name="connsiteX3" fmla="*/ 134942 w 180975"/>
                  <a:gd name="connsiteY3" fmla="*/ 13193 h 47625"/>
                  <a:gd name="connsiteX4" fmla="*/ 157068 w 180975"/>
                  <a:gd name="connsiteY4" fmla="*/ 9502 h 47625"/>
                  <a:gd name="connsiteX5" fmla="*/ 168137 w 180975"/>
                  <a:gd name="connsiteY5" fmla="*/ 9502 h 47625"/>
                  <a:gd name="connsiteX6" fmla="*/ 175519 w 180975"/>
                  <a:gd name="connsiteY6" fmla="*/ 13193 h 47625"/>
                  <a:gd name="connsiteX7" fmla="*/ 179205 w 180975"/>
                  <a:gd name="connsiteY7" fmla="*/ 13193 h 47625"/>
                  <a:gd name="connsiteX8" fmla="*/ 179205 w 180975"/>
                  <a:gd name="connsiteY8" fmla="*/ 16883 h 47625"/>
                  <a:gd name="connsiteX9" fmla="*/ 179205 w 180975"/>
                  <a:gd name="connsiteY9" fmla="*/ 16883 h 47625"/>
                  <a:gd name="connsiteX10" fmla="*/ 179205 w 180975"/>
                  <a:gd name="connsiteY10" fmla="*/ 20574 h 47625"/>
                  <a:gd name="connsiteX11" fmla="*/ 175519 w 180975"/>
                  <a:gd name="connsiteY11" fmla="*/ 20574 h 47625"/>
                  <a:gd name="connsiteX12" fmla="*/ 164450 w 180975"/>
                  <a:gd name="connsiteY12" fmla="*/ 20574 h 47625"/>
                  <a:gd name="connsiteX13" fmla="*/ 157068 w 180975"/>
                  <a:gd name="connsiteY13" fmla="*/ 20574 h 47625"/>
                  <a:gd name="connsiteX14" fmla="*/ 146001 w 180975"/>
                  <a:gd name="connsiteY14" fmla="*/ 20574 h 47625"/>
                  <a:gd name="connsiteX15" fmla="*/ 138628 w 180975"/>
                  <a:gd name="connsiteY15" fmla="*/ 24264 h 47625"/>
                  <a:gd name="connsiteX16" fmla="*/ 138628 w 180975"/>
                  <a:gd name="connsiteY16" fmla="*/ 24264 h 47625"/>
                  <a:gd name="connsiteX17" fmla="*/ 131246 w 180975"/>
                  <a:gd name="connsiteY17" fmla="*/ 27955 h 47625"/>
                  <a:gd name="connsiteX18" fmla="*/ 127560 w 180975"/>
                  <a:gd name="connsiteY18" fmla="*/ 27955 h 47625"/>
                  <a:gd name="connsiteX19" fmla="*/ 127560 w 180975"/>
                  <a:gd name="connsiteY19" fmla="*/ 27955 h 47625"/>
                  <a:gd name="connsiteX20" fmla="*/ 127560 w 180975"/>
                  <a:gd name="connsiteY20" fmla="*/ 27955 h 47625"/>
                  <a:gd name="connsiteX21" fmla="*/ 112806 w 180975"/>
                  <a:gd name="connsiteY21" fmla="*/ 31645 h 47625"/>
                  <a:gd name="connsiteX22" fmla="*/ 98042 w 180975"/>
                  <a:gd name="connsiteY22" fmla="*/ 35336 h 47625"/>
                  <a:gd name="connsiteX23" fmla="*/ 90670 w 180975"/>
                  <a:gd name="connsiteY23" fmla="*/ 35336 h 47625"/>
                  <a:gd name="connsiteX24" fmla="*/ 86974 w 180975"/>
                  <a:gd name="connsiteY24" fmla="*/ 35336 h 47625"/>
                  <a:gd name="connsiteX25" fmla="*/ 83288 w 180975"/>
                  <a:gd name="connsiteY25" fmla="*/ 35336 h 47625"/>
                  <a:gd name="connsiteX26" fmla="*/ 72220 w 180975"/>
                  <a:gd name="connsiteY26" fmla="*/ 31645 h 47625"/>
                  <a:gd name="connsiteX27" fmla="*/ 68534 w 180975"/>
                  <a:gd name="connsiteY27" fmla="*/ 31645 h 47625"/>
                  <a:gd name="connsiteX28" fmla="*/ 61152 w 180975"/>
                  <a:gd name="connsiteY28" fmla="*/ 31645 h 47625"/>
                  <a:gd name="connsiteX29" fmla="*/ 57466 w 180975"/>
                  <a:gd name="connsiteY29" fmla="*/ 31645 h 47625"/>
                  <a:gd name="connsiteX30" fmla="*/ 57466 w 180975"/>
                  <a:gd name="connsiteY30" fmla="*/ 35336 h 47625"/>
                  <a:gd name="connsiteX31" fmla="*/ 53779 w 180975"/>
                  <a:gd name="connsiteY31" fmla="*/ 39027 h 47625"/>
                  <a:gd name="connsiteX32" fmla="*/ 50084 w 180975"/>
                  <a:gd name="connsiteY32" fmla="*/ 42717 h 47625"/>
                  <a:gd name="connsiteX33" fmla="*/ 42711 w 180975"/>
                  <a:gd name="connsiteY33" fmla="*/ 42717 h 47625"/>
                  <a:gd name="connsiteX34" fmla="*/ 39016 w 180975"/>
                  <a:gd name="connsiteY34" fmla="*/ 46408 h 47625"/>
                  <a:gd name="connsiteX35" fmla="*/ 35330 w 180975"/>
                  <a:gd name="connsiteY35" fmla="*/ 46408 h 47625"/>
                  <a:gd name="connsiteX36" fmla="*/ 31643 w 180975"/>
                  <a:gd name="connsiteY36" fmla="*/ 46408 h 47625"/>
                  <a:gd name="connsiteX37" fmla="*/ 35330 w 180975"/>
                  <a:gd name="connsiteY37" fmla="*/ 46408 h 47625"/>
                  <a:gd name="connsiteX38" fmla="*/ 31643 w 180975"/>
                  <a:gd name="connsiteY38" fmla="*/ 50098 h 47625"/>
                  <a:gd name="connsiteX39" fmla="*/ 27948 w 180975"/>
                  <a:gd name="connsiteY39" fmla="*/ 46408 h 47625"/>
                  <a:gd name="connsiteX40" fmla="*/ 20575 w 180975"/>
                  <a:gd name="connsiteY40" fmla="*/ 46408 h 47625"/>
                  <a:gd name="connsiteX41" fmla="*/ 16880 w 180975"/>
                  <a:gd name="connsiteY41" fmla="*/ 42717 h 47625"/>
                  <a:gd name="connsiteX42" fmla="*/ 9507 w 180975"/>
                  <a:gd name="connsiteY42" fmla="*/ 39027 h 47625"/>
                  <a:gd name="connsiteX43" fmla="*/ 5812 w 180975"/>
                  <a:gd name="connsiteY43" fmla="*/ 31645 h 47625"/>
                  <a:gd name="connsiteX44" fmla="*/ 5812 w 180975"/>
                  <a:gd name="connsiteY44" fmla="*/ 27955 h 47625"/>
                  <a:gd name="connsiteX45" fmla="*/ 9507 w 180975"/>
                  <a:gd name="connsiteY45" fmla="*/ 24264 h 47625"/>
                  <a:gd name="connsiteX46" fmla="*/ 13193 w 180975"/>
                  <a:gd name="connsiteY46" fmla="*/ 16883 h 47625"/>
                  <a:gd name="connsiteX47" fmla="*/ 16880 w 180975"/>
                  <a:gd name="connsiteY47" fmla="*/ 13193 h 47625"/>
                  <a:gd name="connsiteX48" fmla="*/ 24261 w 180975"/>
                  <a:gd name="connsiteY48" fmla="*/ 5812 h 47625"/>
                  <a:gd name="connsiteX49" fmla="*/ 27948 w 180975"/>
                  <a:gd name="connsiteY49" fmla="*/ 5812 h 47625"/>
                  <a:gd name="connsiteX50" fmla="*/ 31643 w 180975"/>
                  <a:gd name="connsiteY50" fmla="*/ 5812 h 47625"/>
                  <a:gd name="connsiteX51" fmla="*/ 35330 w 180975"/>
                  <a:gd name="connsiteY51" fmla="*/ 9502 h 47625"/>
                  <a:gd name="connsiteX52" fmla="*/ 39016 w 180975"/>
                  <a:gd name="connsiteY52" fmla="*/ 9502 h 47625"/>
                  <a:gd name="connsiteX53" fmla="*/ 42711 w 180975"/>
                  <a:gd name="connsiteY53" fmla="*/ 13193 h 47625"/>
                  <a:gd name="connsiteX54" fmla="*/ 39016 w 180975"/>
                  <a:gd name="connsiteY54" fmla="*/ 13193 h 47625"/>
                  <a:gd name="connsiteX55" fmla="*/ 39016 w 180975"/>
                  <a:gd name="connsiteY55" fmla="*/ 13193 h 47625"/>
                  <a:gd name="connsiteX56" fmla="*/ 35330 w 180975"/>
                  <a:gd name="connsiteY56" fmla="*/ 9502 h 47625"/>
                  <a:gd name="connsiteX57" fmla="*/ 35330 w 180975"/>
                  <a:gd name="connsiteY57" fmla="*/ 9502 h 47625"/>
                  <a:gd name="connsiteX58" fmla="*/ 31643 w 180975"/>
                  <a:gd name="connsiteY58" fmla="*/ 9502 h 47625"/>
                  <a:gd name="connsiteX59" fmla="*/ 24261 w 180975"/>
                  <a:gd name="connsiteY59" fmla="*/ 9502 h 47625"/>
                  <a:gd name="connsiteX60" fmla="*/ 20575 w 180975"/>
                  <a:gd name="connsiteY60" fmla="*/ 13193 h 47625"/>
                  <a:gd name="connsiteX61" fmla="*/ 27948 w 180975"/>
                  <a:gd name="connsiteY61" fmla="*/ 13193 h 47625"/>
                  <a:gd name="connsiteX62" fmla="*/ 31643 w 180975"/>
                  <a:gd name="connsiteY62" fmla="*/ 13193 h 47625"/>
                  <a:gd name="connsiteX63" fmla="*/ 31643 w 180975"/>
                  <a:gd name="connsiteY63" fmla="*/ 13193 h 47625"/>
                  <a:gd name="connsiteX64" fmla="*/ 46398 w 180975"/>
                  <a:gd name="connsiteY64" fmla="*/ 16883 h 47625"/>
                  <a:gd name="connsiteX65" fmla="*/ 64847 w 180975"/>
                  <a:gd name="connsiteY65" fmla="*/ 1688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80975" h="47625">
                    <a:moveTo>
                      <a:pt x="64847" y="16883"/>
                    </a:moveTo>
                    <a:lnTo>
                      <a:pt x="75906" y="16883"/>
                    </a:lnTo>
                    <a:lnTo>
                      <a:pt x="86974" y="16883"/>
                    </a:lnTo>
                    <a:lnTo>
                      <a:pt x="134942" y="13193"/>
                    </a:lnTo>
                    <a:lnTo>
                      <a:pt x="157068" y="9502"/>
                    </a:lnTo>
                    <a:lnTo>
                      <a:pt x="168137" y="9502"/>
                    </a:lnTo>
                    <a:lnTo>
                      <a:pt x="175519" y="13193"/>
                    </a:lnTo>
                    <a:lnTo>
                      <a:pt x="179205" y="13193"/>
                    </a:lnTo>
                    <a:lnTo>
                      <a:pt x="179205" y="16883"/>
                    </a:lnTo>
                    <a:lnTo>
                      <a:pt x="179205" y="16883"/>
                    </a:lnTo>
                    <a:lnTo>
                      <a:pt x="179205" y="20574"/>
                    </a:lnTo>
                    <a:lnTo>
                      <a:pt x="175519" y="20574"/>
                    </a:lnTo>
                    <a:lnTo>
                      <a:pt x="164450" y="20574"/>
                    </a:lnTo>
                    <a:lnTo>
                      <a:pt x="157068" y="20574"/>
                    </a:lnTo>
                    <a:lnTo>
                      <a:pt x="146001" y="20574"/>
                    </a:lnTo>
                    <a:lnTo>
                      <a:pt x="138628" y="24264"/>
                    </a:lnTo>
                    <a:lnTo>
                      <a:pt x="138628" y="24264"/>
                    </a:lnTo>
                    <a:lnTo>
                      <a:pt x="131246" y="27955"/>
                    </a:lnTo>
                    <a:lnTo>
                      <a:pt x="127560" y="27955"/>
                    </a:lnTo>
                    <a:lnTo>
                      <a:pt x="127560" y="27955"/>
                    </a:lnTo>
                    <a:lnTo>
                      <a:pt x="127560" y="27955"/>
                    </a:lnTo>
                    <a:lnTo>
                      <a:pt x="112806" y="31645"/>
                    </a:lnTo>
                    <a:lnTo>
                      <a:pt x="98042" y="35336"/>
                    </a:lnTo>
                    <a:lnTo>
                      <a:pt x="90670" y="35336"/>
                    </a:lnTo>
                    <a:lnTo>
                      <a:pt x="86974" y="35336"/>
                    </a:lnTo>
                    <a:lnTo>
                      <a:pt x="83288" y="35336"/>
                    </a:lnTo>
                    <a:lnTo>
                      <a:pt x="72220" y="31645"/>
                    </a:lnTo>
                    <a:lnTo>
                      <a:pt x="68534" y="31645"/>
                    </a:lnTo>
                    <a:lnTo>
                      <a:pt x="61152" y="31645"/>
                    </a:lnTo>
                    <a:lnTo>
                      <a:pt x="57466" y="31645"/>
                    </a:lnTo>
                    <a:lnTo>
                      <a:pt x="57466" y="35336"/>
                    </a:lnTo>
                    <a:lnTo>
                      <a:pt x="53779" y="39027"/>
                    </a:lnTo>
                    <a:lnTo>
                      <a:pt x="50084" y="42717"/>
                    </a:lnTo>
                    <a:lnTo>
                      <a:pt x="42711" y="42717"/>
                    </a:lnTo>
                    <a:lnTo>
                      <a:pt x="39016" y="46408"/>
                    </a:lnTo>
                    <a:lnTo>
                      <a:pt x="35330" y="46408"/>
                    </a:lnTo>
                    <a:lnTo>
                      <a:pt x="31643" y="46408"/>
                    </a:lnTo>
                    <a:lnTo>
                      <a:pt x="35330" y="46408"/>
                    </a:lnTo>
                    <a:lnTo>
                      <a:pt x="31643" y="50098"/>
                    </a:lnTo>
                    <a:lnTo>
                      <a:pt x="27948" y="46408"/>
                    </a:lnTo>
                    <a:lnTo>
                      <a:pt x="20575" y="46408"/>
                    </a:lnTo>
                    <a:lnTo>
                      <a:pt x="16880" y="42717"/>
                    </a:lnTo>
                    <a:lnTo>
                      <a:pt x="9507" y="39027"/>
                    </a:lnTo>
                    <a:lnTo>
                      <a:pt x="5812" y="31645"/>
                    </a:lnTo>
                    <a:lnTo>
                      <a:pt x="5812" y="27955"/>
                    </a:lnTo>
                    <a:lnTo>
                      <a:pt x="9507" y="24264"/>
                    </a:lnTo>
                    <a:lnTo>
                      <a:pt x="13193" y="16883"/>
                    </a:lnTo>
                    <a:lnTo>
                      <a:pt x="16880" y="13193"/>
                    </a:lnTo>
                    <a:lnTo>
                      <a:pt x="24261" y="5812"/>
                    </a:lnTo>
                    <a:lnTo>
                      <a:pt x="27948" y="5812"/>
                    </a:lnTo>
                    <a:lnTo>
                      <a:pt x="31643" y="5812"/>
                    </a:lnTo>
                    <a:lnTo>
                      <a:pt x="35330" y="9502"/>
                    </a:lnTo>
                    <a:lnTo>
                      <a:pt x="39016" y="9502"/>
                    </a:lnTo>
                    <a:lnTo>
                      <a:pt x="42711" y="13193"/>
                    </a:lnTo>
                    <a:lnTo>
                      <a:pt x="39016" y="13193"/>
                    </a:lnTo>
                    <a:lnTo>
                      <a:pt x="39016" y="13193"/>
                    </a:lnTo>
                    <a:lnTo>
                      <a:pt x="35330" y="9502"/>
                    </a:lnTo>
                    <a:lnTo>
                      <a:pt x="35330" y="9502"/>
                    </a:lnTo>
                    <a:lnTo>
                      <a:pt x="31643" y="9502"/>
                    </a:lnTo>
                    <a:lnTo>
                      <a:pt x="24261" y="9502"/>
                    </a:lnTo>
                    <a:lnTo>
                      <a:pt x="20575" y="13193"/>
                    </a:lnTo>
                    <a:lnTo>
                      <a:pt x="27948" y="13193"/>
                    </a:lnTo>
                    <a:lnTo>
                      <a:pt x="31643" y="13193"/>
                    </a:lnTo>
                    <a:lnTo>
                      <a:pt x="31643" y="13193"/>
                    </a:lnTo>
                    <a:lnTo>
                      <a:pt x="46398" y="16883"/>
                    </a:lnTo>
                    <a:lnTo>
                      <a:pt x="64847" y="16883"/>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41" name="Freeform: Shape 140">
                <a:extLst>
                  <a:ext uri="{FF2B5EF4-FFF2-40B4-BE49-F238E27FC236}">
                    <a16:creationId xmlns:a16="http://schemas.microsoft.com/office/drawing/2014/main" id="{9427AB2E-0F8D-4113-8AFB-CE176BD4A306}"/>
                  </a:ext>
                </a:extLst>
              </p:cNvPr>
              <p:cNvSpPr/>
              <p:nvPr/>
            </p:nvSpPr>
            <p:spPr>
              <a:xfrm>
                <a:off x="4139055" y="1145599"/>
                <a:ext cx="259920" cy="129960"/>
              </a:xfrm>
              <a:custGeom>
                <a:avLst/>
                <a:gdLst>
                  <a:gd name="connsiteX0" fmla="*/ 112806 w 114300"/>
                  <a:gd name="connsiteY0" fmla="*/ 9502 h 57150"/>
                  <a:gd name="connsiteX1" fmla="*/ 112806 w 114300"/>
                  <a:gd name="connsiteY1" fmla="*/ 16883 h 57150"/>
                  <a:gd name="connsiteX2" fmla="*/ 109110 w 114300"/>
                  <a:gd name="connsiteY2" fmla="*/ 16883 h 57150"/>
                  <a:gd name="connsiteX3" fmla="*/ 105424 w 114300"/>
                  <a:gd name="connsiteY3" fmla="*/ 16883 h 57150"/>
                  <a:gd name="connsiteX4" fmla="*/ 101738 w 114300"/>
                  <a:gd name="connsiteY4" fmla="*/ 16883 h 57150"/>
                  <a:gd name="connsiteX5" fmla="*/ 98042 w 114300"/>
                  <a:gd name="connsiteY5" fmla="*/ 16883 h 57150"/>
                  <a:gd name="connsiteX6" fmla="*/ 90670 w 114300"/>
                  <a:gd name="connsiteY6" fmla="*/ 20574 h 57150"/>
                  <a:gd name="connsiteX7" fmla="*/ 90670 w 114300"/>
                  <a:gd name="connsiteY7" fmla="*/ 20574 h 57150"/>
                  <a:gd name="connsiteX8" fmla="*/ 79602 w 114300"/>
                  <a:gd name="connsiteY8" fmla="*/ 24264 h 57150"/>
                  <a:gd name="connsiteX9" fmla="*/ 75906 w 114300"/>
                  <a:gd name="connsiteY9" fmla="*/ 27955 h 57150"/>
                  <a:gd name="connsiteX10" fmla="*/ 75906 w 114300"/>
                  <a:gd name="connsiteY10" fmla="*/ 31646 h 57150"/>
                  <a:gd name="connsiteX11" fmla="*/ 68534 w 114300"/>
                  <a:gd name="connsiteY11" fmla="*/ 35336 h 57150"/>
                  <a:gd name="connsiteX12" fmla="*/ 64838 w 114300"/>
                  <a:gd name="connsiteY12" fmla="*/ 35336 h 57150"/>
                  <a:gd name="connsiteX13" fmla="*/ 57466 w 114300"/>
                  <a:gd name="connsiteY13" fmla="*/ 35336 h 57150"/>
                  <a:gd name="connsiteX14" fmla="*/ 57466 w 114300"/>
                  <a:gd name="connsiteY14" fmla="*/ 35336 h 57150"/>
                  <a:gd name="connsiteX15" fmla="*/ 53770 w 114300"/>
                  <a:gd name="connsiteY15" fmla="*/ 35336 h 57150"/>
                  <a:gd name="connsiteX16" fmla="*/ 53770 w 114300"/>
                  <a:gd name="connsiteY16" fmla="*/ 35336 h 57150"/>
                  <a:gd name="connsiteX17" fmla="*/ 42702 w 114300"/>
                  <a:gd name="connsiteY17" fmla="*/ 39027 h 57150"/>
                  <a:gd name="connsiteX18" fmla="*/ 39016 w 114300"/>
                  <a:gd name="connsiteY18" fmla="*/ 39027 h 57150"/>
                  <a:gd name="connsiteX19" fmla="*/ 39016 w 114300"/>
                  <a:gd name="connsiteY19" fmla="*/ 39027 h 57150"/>
                  <a:gd name="connsiteX20" fmla="*/ 27948 w 114300"/>
                  <a:gd name="connsiteY20" fmla="*/ 39027 h 57150"/>
                  <a:gd name="connsiteX21" fmla="*/ 24261 w 114300"/>
                  <a:gd name="connsiteY21" fmla="*/ 39027 h 57150"/>
                  <a:gd name="connsiteX22" fmla="*/ 20575 w 114300"/>
                  <a:gd name="connsiteY22" fmla="*/ 46408 h 57150"/>
                  <a:gd name="connsiteX23" fmla="*/ 20575 w 114300"/>
                  <a:gd name="connsiteY23" fmla="*/ 50098 h 57150"/>
                  <a:gd name="connsiteX24" fmla="*/ 16879 w 114300"/>
                  <a:gd name="connsiteY24" fmla="*/ 50098 h 57150"/>
                  <a:gd name="connsiteX25" fmla="*/ 16879 w 114300"/>
                  <a:gd name="connsiteY25" fmla="*/ 53789 h 57150"/>
                  <a:gd name="connsiteX26" fmla="*/ 16879 w 114300"/>
                  <a:gd name="connsiteY26" fmla="*/ 53789 h 57150"/>
                  <a:gd name="connsiteX27" fmla="*/ 13193 w 114300"/>
                  <a:gd name="connsiteY27" fmla="*/ 53789 h 57150"/>
                  <a:gd name="connsiteX28" fmla="*/ 13193 w 114300"/>
                  <a:gd name="connsiteY28" fmla="*/ 53789 h 57150"/>
                  <a:gd name="connsiteX29" fmla="*/ 9507 w 114300"/>
                  <a:gd name="connsiteY29" fmla="*/ 53789 h 57150"/>
                  <a:gd name="connsiteX30" fmla="*/ 9507 w 114300"/>
                  <a:gd name="connsiteY30" fmla="*/ 57480 h 57150"/>
                  <a:gd name="connsiteX31" fmla="*/ 9507 w 114300"/>
                  <a:gd name="connsiteY31" fmla="*/ 57480 h 57150"/>
                  <a:gd name="connsiteX32" fmla="*/ 5812 w 114300"/>
                  <a:gd name="connsiteY32" fmla="*/ 50098 h 57150"/>
                  <a:gd name="connsiteX33" fmla="*/ 5812 w 114300"/>
                  <a:gd name="connsiteY33" fmla="*/ 50098 h 57150"/>
                  <a:gd name="connsiteX34" fmla="*/ 5812 w 114300"/>
                  <a:gd name="connsiteY34" fmla="*/ 46408 h 57150"/>
                  <a:gd name="connsiteX35" fmla="*/ 9507 w 114300"/>
                  <a:gd name="connsiteY35" fmla="*/ 46408 h 57150"/>
                  <a:gd name="connsiteX36" fmla="*/ 13193 w 114300"/>
                  <a:gd name="connsiteY36" fmla="*/ 42717 h 57150"/>
                  <a:gd name="connsiteX37" fmla="*/ 9507 w 114300"/>
                  <a:gd name="connsiteY37" fmla="*/ 39027 h 57150"/>
                  <a:gd name="connsiteX38" fmla="*/ 9507 w 114300"/>
                  <a:gd name="connsiteY38" fmla="*/ 35336 h 57150"/>
                  <a:gd name="connsiteX39" fmla="*/ 9507 w 114300"/>
                  <a:gd name="connsiteY39" fmla="*/ 27955 h 57150"/>
                  <a:gd name="connsiteX40" fmla="*/ 13193 w 114300"/>
                  <a:gd name="connsiteY40" fmla="*/ 24264 h 57150"/>
                  <a:gd name="connsiteX41" fmla="*/ 20575 w 114300"/>
                  <a:gd name="connsiteY41" fmla="*/ 20574 h 57150"/>
                  <a:gd name="connsiteX42" fmla="*/ 20575 w 114300"/>
                  <a:gd name="connsiteY42" fmla="*/ 16883 h 57150"/>
                  <a:gd name="connsiteX43" fmla="*/ 20575 w 114300"/>
                  <a:gd name="connsiteY43" fmla="*/ 16883 h 57150"/>
                  <a:gd name="connsiteX44" fmla="*/ 16879 w 114300"/>
                  <a:gd name="connsiteY44" fmla="*/ 16883 h 57150"/>
                  <a:gd name="connsiteX45" fmla="*/ 13193 w 114300"/>
                  <a:gd name="connsiteY45" fmla="*/ 16883 h 57150"/>
                  <a:gd name="connsiteX46" fmla="*/ 9507 w 114300"/>
                  <a:gd name="connsiteY46" fmla="*/ 16883 h 57150"/>
                  <a:gd name="connsiteX47" fmla="*/ 9507 w 114300"/>
                  <a:gd name="connsiteY47" fmla="*/ 16883 h 57150"/>
                  <a:gd name="connsiteX48" fmla="*/ 5812 w 114300"/>
                  <a:gd name="connsiteY48" fmla="*/ 16883 h 57150"/>
                  <a:gd name="connsiteX49" fmla="*/ 9507 w 114300"/>
                  <a:gd name="connsiteY49" fmla="*/ 16883 h 57150"/>
                  <a:gd name="connsiteX50" fmla="*/ 9507 w 114300"/>
                  <a:gd name="connsiteY50" fmla="*/ 16883 h 57150"/>
                  <a:gd name="connsiteX51" fmla="*/ 13193 w 114300"/>
                  <a:gd name="connsiteY51" fmla="*/ 13193 h 57150"/>
                  <a:gd name="connsiteX52" fmla="*/ 20575 w 114300"/>
                  <a:gd name="connsiteY52" fmla="*/ 16883 h 57150"/>
                  <a:gd name="connsiteX53" fmla="*/ 31643 w 114300"/>
                  <a:gd name="connsiteY53" fmla="*/ 16883 h 57150"/>
                  <a:gd name="connsiteX54" fmla="*/ 68534 w 114300"/>
                  <a:gd name="connsiteY54" fmla="*/ 13193 h 57150"/>
                  <a:gd name="connsiteX55" fmla="*/ 79602 w 114300"/>
                  <a:gd name="connsiteY55" fmla="*/ 13193 h 57150"/>
                  <a:gd name="connsiteX56" fmla="*/ 101738 w 114300"/>
                  <a:gd name="connsiteY56" fmla="*/ 9502 h 57150"/>
                  <a:gd name="connsiteX57" fmla="*/ 109110 w 114300"/>
                  <a:gd name="connsiteY57" fmla="*/ 5812 h 57150"/>
                  <a:gd name="connsiteX58" fmla="*/ 112806 w 114300"/>
                  <a:gd name="connsiteY58" fmla="*/ 950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14300" h="57150">
                    <a:moveTo>
                      <a:pt x="112806" y="9502"/>
                    </a:moveTo>
                    <a:lnTo>
                      <a:pt x="112806" y="16883"/>
                    </a:lnTo>
                    <a:lnTo>
                      <a:pt x="109110" y="16883"/>
                    </a:lnTo>
                    <a:lnTo>
                      <a:pt x="105424" y="16883"/>
                    </a:lnTo>
                    <a:lnTo>
                      <a:pt x="101738" y="16883"/>
                    </a:lnTo>
                    <a:lnTo>
                      <a:pt x="98042" y="16883"/>
                    </a:lnTo>
                    <a:lnTo>
                      <a:pt x="90670" y="20574"/>
                    </a:lnTo>
                    <a:lnTo>
                      <a:pt x="90670" y="20574"/>
                    </a:lnTo>
                    <a:lnTo>
                      <a:pt x="79602" y="24264"/>
                    </a:lnTo>
                    <a:lnTo>
                      <a:pt x="75906" y="27955"/>
                    </a:lnTo>
                    <a:lnTo>
                      <a:pt x="75906" y="31646"/>
                    </a:lnTo>
                    <a:lnTo>
                      <a:pt x="68534" y="35336"/>
                    </a:lnTo>
                    <a:lnTo>
                      <a:pt x="64838" y="35336"/>
                    </a:lnTo>
                    <a:lnTo>
                      <a:pt x="57466" y="35336"/>
                    </a:lnTo>
                    <a:lnTo>
                      <a:pt x="57466" y="35336"/>
                    </a:lnTo>
                    <a:lnTo>
                      <a:pt x="53770" y="35336"/>
                    </a:lnTo>
                    <a:lnTo>
                      <a:pt x="53770" y="35336"/>
                    </a:lnTo>
                    <a:lnTo>
                      <a:pt x="42702" y="39027"/>
                    </a:lnTo>
                    <a:lnTo>
                      <a:pt x="39016" y="39027"/>
                    </a:lnTo>
                    <a:lnTo>
                      <a:pt x="39016" y="39027"/>
                    </a:lnTo>
                    <a:lnTo>
                      <a:pt x="27948" y="39027"/>
                    </a:lnTo>
                    <a:lnTo>
                      <a:pt x="24261" y="39027"/>
                    </a:lnTo>
                    <a:lnTo>
                      <a:pt x="20575" y="46408"/>
                    </a:lnTo>
                    <a:lnTo>
                      <a:pt x="20575" y="50098"/>
                    </a:lnTo>
                    <a:lnTo>
                      <a:pt x="16879" y="50098"/>
                    </a:lnTo>
                    <a:lnTo>
                      <a:pt x="16879" y="53789"/>
                    </a:lnTo>
                    <a:lnTo>
                      <a:pt x="16879" y="53789"/>
                    </a:lnTo>
                    <a:lnTo>
                      <a:pt x="13193" y="53789"/>
                    </a:lnTo>
                    <a:lnTo>
                      <a:pt x="13193" y="53789"/>
                    </a:lnTo>
                    <a:lnTo>
                      <a:pt x="9507" y="53789"/>
                    </a:lnTo>
                    <a:lnTo>
                      <a:pt x="9507" y="57480"/>
                    </a:lnTo>
                    <a:lnTo>
                      <a:pt x="9507" y="57480"/>
                    </a:lnTo>
                    <a:lnTo>
                      <a:pt x="5812" y="50098"/>
                    </a:lnTo>
                    <a:lnTo>
                      <a:pt x="5812" y="50098"/>
                    </a:lnTo>
                    <a:lnTo>
                      <a:pt x="5812" y="46408"/>
                    </a:lnTo>
                    <a:lnTo>
                      <a:pt x="9507" y="46408"/>
                    </a:lnTo>
                    <a:lnTo>
                      <a:pt x="13193" y="42717"/>
                    </a:lnTo>
                    <a:lnTo>
                      <a:pt x="9507" y="39027"/>
                    </a:lnTo>
                    <a:lnTo>
                      <a:pt x="9507" y="35336"/>
                    </a:lnTo>
                    <a:lnTo>
                      <a:pt x="9507" y="27955"/>
                    </a:lnTo>
                    <a:lnTo>
                      <a:pt x="13193" y="24264"/>
                    </a:lnTo>
                    <a:lnTo>
                      <a:pt x="20575" y="20574"/>
                    </a:lnTo>
                    <a:lnTo>
                      <a:pt x="20575" y="16883"/>
                    </a:lnTo>
                    <a:lnTo>
                      <a:pt x="20575" y="16883"/>
                    </a:lnTo>
                    <a:lnTo>
                      <a:pt x="16879" y="16883"/>
                    </a:lnTo>
                    <a:lnTo>
                      <a:pt x="13193" y="16883"/>
                    </a:lnTo>
                    <a:lnTo>
                      <a:pt x="9507" y="16883"/>
                    </a:lnTo>
                    <a:lnTo>
                      <a:pt x="9507" y="16883"/>
                    </a:lnTo>
                    <a:lnTo>
                      <a:pt x="5812" y="16883"/>
                    </a:lnTo>
                    <a:lnTo>
                      <a:pt x="9507" y="16883"/>
                    </a:lnTo>
                    <a:lnTo>
                      <a:pt x="9507" y="16883"/>
                    </a:lnTo>
                    <a:lnTo>
                      <a:pt x="13193" y="13193"/>
                    </a:lnTo>
                    <a:lnTo>
                      <a:pt x="20575" y="16883"/>
                    </a:lnTo>
                    <a:lnTo>
                      <a:pt x="31643" y="16883"/>
                    </a:lnTo>
                    <a:lnTo>
                      <a:pt x="68534" y="13193"/>
                    </a:lnTo>
                    <a:lnTo>
                      <a:pt x="79602" y="13193"/>
                    </a:lnTo>
                    <a:lnTo>
                      <a:pt x="101738" y="9502"/>
                    </a:lnTo>
                    <a:lnTo>
                      <a:pt x="109110" y="5812"/>
                    </a:lnTo>
                    <a:lnTo>
                      <a:pt x="112806" y="9502"/>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42" name="Freeform: Shape 141">
                <a:extLst>
                  <a:ext uri="{FF2B5EF4-FFF2-40B4-BE49-F238E27FC236}">
                    <a16:creationId xmlns:a16="http://schemas.microsoft.com/office/drawing/2014/main" id="{CC295A60-8A33-4438-92CD-E9D3B2EA7B85}"/>
                  </a:ext>
                </a:extLst>
              </p:cNvPr>
              <p:cNvSpPr/>
              <p:nvPr/>
            </p:nvSpPr>
            <p:spPr>
              <a:xfrm>
                <a:off x="3182688" y="1623963"/>
                <a:ext cx="43320" cy="21660"/>
              </a:xfrm>
              <a:custGeom>
                <a:avLst/>
                <a:gdLst>
                  <a:gd name="connsiteX0" fmla="*/ 9501 w 19050"/>
                  <a:gd name="connsiteY0" fmla="*/ 9503 h 9525"/>
                  <a:gd name="connsiteX1" fmla="*/ 9501 w 19050"/>
                  <a:gd name="connsiteY1" fmla="*/ 9503 h 9525"/>
                  <a:gd name="connsiteX2" fmla="*/ 9501 w 19050"/>
                  <a:gd name="connsiteY2" fmla="*/ 9503 h 9525"/>
                  <a:gd name="connsiteX3" fmla="*/ 5812 w 19050"/>
                  <a:gd name="connsiteY3" fmla="*/ 5812 h 9525"/>
                  <a:gd name="connsiteX4" fmla="*/ 9501 w 19050"/>
                  <a:gd name="connsiteY4" fmla="*/ 5812 h 9525"/>
                  <a:gd name="connsiteX5" fmla="*/ 9501 w 19050"/>
                  <a:gd name="connsiteY5" fmla="*/ 5812 h 9525"/>
                  <a:gd name="connsiteX6" fmla="*/ 16877 w 19050"/>
                  <a:gd name="connsiteY6" fmla="*/ 5812 h 9525"/>
                  <a:gd name="connsiteX7" fmla="*/ 20573 w 19050"/>
                  <a:gd name="connsiteY7" fmla="*/ 5812 h 9525"/>
                  <a:gd name="connsiteX8" fmla="*/ 20573 w 19050"/>
                  <a:gd name="connsiteY8" fmla="*/ 5812 h 9525"/>
                  <a:gd name="connsiteX9" fmla="*/ 16877 w 19050"/>
                  <a:gd name="connsiteY9" fmla="*/ 5812 h 9525"/>
                  <a:gd name="connsiteX10" fmla="*/ 16877 w 19050"/>
                  <a:gd name="connsiteY10" fmla="*/ 9503 h 9525"/>
                  <a:gd name="connsiteX11" fmla="*/ 13191 w 19050"/>
                  <a:gd name="connsiteY11" fmla="*/ 9503 h 9525"/>
                  <a:gd name="connsiteX12" fmla="*/ 13191 w 19050"/>
                  <a:gd name="connsiteY12" fmla="*/ 9503 h 9525"/>
                  <a:gd name="connsiteX13" fmla="*/ 9501 w 19050"/>
                  <a:gd name="connsiteY13" fmla="*/ 9503 h 9525"/>
                  <a:gd name="connsiteX14" fmla="*/ 9501 w 19050"/>
                  <a:gd name="connsiteY14" fmla="*/ 5812 h 9525"/>
                  <a:gd name="connsiteX15" fmla="*/ 9501 w 19050"/>
                  <a:gd name="connsiteY15" fmla="*/ 5812 h 9525"/>
                  <a:gd name="connsiteX16" fmla="*/ 9501 w 19050"/>
                  <a:gd name="connsiteY16" fmla="*/ 5812 h 9525"/>
                  <a:gd name="connsiteX17" fmla="*/ 9501 w 19050"/>
                  <a:gd name="connsiteY17" fmla="*/ 5812 h 9525"/>
                  <a:gd name="connsiteX18" fmla="*/ 9501 w 19050"/>
                  <a:gd name="connsiteY18" fmla="*/ 9503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050" h="9525">
                    <a:moveTo>
                      <a:pt x="9501" y="9503"/>
                    </a:moveTo>
                    <a:lnTo>
                      <a:pt x="9501" y="9503"/>
                    </a:lnTo>
                    <a:lnTo>
                      <a:pt x="9501" y="9503"/>
                    </a:lnTo>
                    <a:lnTo>
                      <a:pt x="5812" y="5812"/>
                    </a:lnTo>
                    <a:lnTo>
                      <a:pt x="9501" y="5812"/>
                    </a:lnTo>
                    <a:lnTo>
                      <a:pt x="9501" y="5812"/>
                    </a:lnTo>
                    <a:lnTo>
                      <a:pt x="16877" y="5812"/>
                    </a:lnTo>
                    <a:lnTo>
                      <a:pt x="20573" y="5812"/>
                    </a:lnTo>
                    <a:lnTo>
                      <a:pt x="20573" y="5812"/>
                    </a:lnTo>
                    <a:lnTo>
                      <a:pt x="16877" y="5812"/>
                    </a:lnTo>
                    <a:lnTo>
                      <a:pt x="16877" y="9503"/>
                    </a:lnTo>
                    <a:lnTo>
                      <a:pt x="13191" y="9503"/>
                    </a:lnTo>
                    <a:lnTo>
                      <a:pt x="13191" y="9503"/>
                    </a:lnTo>
                    <a:lnTo>
                      <a:pt x="9501" y="9503"/>
                    </a:lnTo>
                    <a:lnTo>
                      <a:pt x="9501" y="5812"/>
                    </a:lnTo>
                    <a:lnTo>
                      <a:pt x="9501" y="5812"/>
                    </a:lnTo>
                    <a:lnTo>
                      <a:pt x="9501" y="5812"/>
                    </a:lnTo>
                    <a:lnTo>
                      <a:pt x="9501" y="5812"/>
                    </a:lnTo>
                    <a:lnTo>
                      <a:pt x="9501" y="9503"/>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43" name="Freeform: Shape 142">
                <a:extLst>
                  <a:ext uri="{FF2B5EF4-FFF2-40B4-BE49-F238E27FC236}">
                    <a16:creationId xmlns:a16="http://schemas.microsoft.com/office/drawing/2014/main" id="{CAD15072-6925-4327-8F45-760FA568ECE6}"/>
                  </a:ext>
                </a:extLst>
              </p:cNvPr>
              <p:cNvSpPr/>
              <p:nvPr/>
            </p:nvSpPr>
            <p:spPr>
              <a:xfrm>
                <a:off x="3090406" y="1263091"/>
                <a:ext cx="454860" cy="216600"/>
              </a:xfrm>
              <a:custGeom>
                <a:avLst/>
                <a:gdLst>
                  <a:gd name="connsiteX0" fmla="*/ 138621 w 200025"/>
                  <a:gd name="connsiteY0" fmla="*/ 42717 h 95250"/>
                  <a:gd name="connsiteX1" fmla="*/ 123866 w 200025"/>
                  <a:gd name="connsiteY1" fmla="*/ 42717 h 95250"/>
                  <a:gd name="connsiteX2" fmla="*/ 116484 w 200025"/>
                  <a:gd name="connsiteY2" fmla="*/ 46408 h 95250"/>
                  <a:gd name="connsiteX3" fmla="*/ 112798 w 200025"/>
                  <a:gd name="connsiteY3" fmla="*/ 46408 h 95250"/>
                  <a:gd name="connsiteX4" fmla="*/ 109112 w 200025"/>
                  <a:gd name="connsiteY4" fmla="*/ 50098 h 95250"/>
                  <a:gd name="connsiteX5" fmla="*/ 109112 w 200025"/>
                  <a:gd name="connsiteY5" fmla="*/ 50098 h 95250"/>
                  <a:gd name="connsiteX6" fmla="*/ 101730 w 200025"/>
                  <a:gd name="connsiteY6" fmla="*/ 57480 h 95250"/>
                  <a:gd name="connsiteX7" fmla="*/ 98044 w 200025"/>
                  <a:gd name="connsiteY7" fmla="*/ 61170 h 95250"/>
                  <a:gd name="connsiteX8" fmla="*/ 98044 w 200025"/>
                  <a:gd name="connsiteY8" fmla="*/ 61170 h 95250"/>
                  <a:gd name="connsiteX9" fmla="*/ 94348 w 200025"/>
                  <a:gd name="connsiteY9" fmla="*/ 61170 h 95250"/>
                  <a:gd name="connsiteX10" fmla="*/ 90662 w 200025"/>
                  <a:gd name="connsiteY10" fmla="*/ 61170 h 95250"/>
                  <a:gd name="connsiteX11" fmla="*/ 90662 w 200025"/>
                  <a:gd name="connsiteY11" fmla="*/ 64861 h 95250"/>
                  <a:gd name="connsiteX12" fmla="*/ 86976 w 200025"/>
                  <a:gd name="connsiteY12" fmla="*/ 64861 h 95250"/>
                  <a:gd name="connsiteX13" fmla="*/ 83280 w 200025"/>
                  <a:gd name="connsiteY13" fmla="*/ 61170 h 95250"/>
                  <a:gd name="connsiteX14" fmla="*/ 83280 w 200025"/>
                  <a:gd name="connsiteY14" fmla="*/ 64861 h 95250"/>
                  <a:gd name="connsiteX15" fmla="*/ 79594 w 200025"/>
                  <a:gd name="connsiteY15" fmla="*/ 64861 h 95250"/>
                  <a:gd name="connsiteX16" fmla="*/ 75908 w 200025"/>
                  <a:gd name="connsiteY16" fmla="*/ 68552 h 95250"/>
                  <a:gd name="connsiteX17" fmla="*/ 75908 w 200025"/>
                  <a:gd name="connsiteY17" fmla="*/ 68552 h 95250"/>
                  <a:gd name="connsiteX18" fmla="*/ 75908 w 200025"/>
                  <a:gd name="connsiteY18" fmla="*/ 68552 h 95250"/>
                  <a:gd name="connsiteX19" fmla="*/ 72222 w 200025"/>
                  <a:gd name="connsiteY19" fmla="*/ 68552 h 95250"/>
                  <a:gd name="connsiteX20" fmla="*/ 72222 w 200025"/>
                  <a:gd name="connsiteY20" fmla="*/ 72242 h 95250"/>
                  <a:gd name="connsiteX21" fmla="*/ 72222 w 200025"/>
                  <a:gd name="connsiteY21" fmla="*/ 72242 h 95250"/>
                  <a:gd name="connsiteX22" fmla="*/ 68526 w 200025"/>
                  <a:gd name="connsiteY22" fmla="*/ 68552 h 95250"/>
                  <a:gd name="connsiteX23" fmla="*/ 64840 w 200025"/>
                  <a:gd name="connsiteY23" fmla="*/ 68552 h 95250"/>
                  <a:gd name="connsiteX24" fmla="*/ 64840 w 200025"/>
                  <a:gd name="connsiteY24" fmla="*/ 68552 h 95250"/>
                  <a:gd name="connsiteX25" fmla="*/ 61154 w 200025"/>
                  <a:gd name="connsiteY25" fmla="*/ 68552 h 95250"/>
                  <a:gd name="connsiteX26" fmla="*/ 57458 w 200025"/>
                  <a:gd name="connsiteY26" fmla="*/ 68552 h 95250"/>
                  <a:gd name="connsiteX27" fmla="*/ 57458 w 200025"/>
                  <a:gd name="connsiteY27" fmla="*/ 68552 h 95250"/>
                  <a:gd name="connsiteX28" fmla="*/ 53772 w 200025"/>
                  <a:gd name="connsiteY28" fmla="*/ 72242 h 95250"/>
                  <a:gd name="connsiteX29" fmla="*/ 50082 w 200025"/>
                  <a:gd name="connsiteY29" fmla="*/ 75933 h 95250"/>
                  <a:gd name="connsiteX30" fmla="*/ 46393 w 200025"/>
                  <a:gd name="connsiteY30" fmla="*/ 72242 h 95250"/>
                  <a:gd name="connsiteX31" fmla="*/ 42704 w 200025"/>
                  <a:gd name="connsiteY31" fmla="*/ 75933 h 95250"/>
                  <a:gd name="connsiteX32" fmla="*/ 39015 w 200025"/>
                  <a:gd name="connsiteY32" fmla="*/ 75933 h 95250"/>
                  <a:gd name="connsiteX33" fmla="*/ 35326 w 200025"/>
                  <a:gd name="connsiteY33" fmla="*/ 79623 h 95250"/>
                  <a:gd name="connsiteX34" fmla="*/ 35326 w 200025"/>
                  <a:gd name="connsiteY34" fmla="*/ 83314 h 95250"/>
                  <a:gd name="connsiteX35" fmla="*/ 35326 w 200025"/>
                  <a:gd name="connsiteY35" fmla="*/ 83314 h 95250"/>
                  <a:gd name="connsiteX36" fmla="*/ 35326 w 200025"/>
                  <a:gd name="connsiteY36" fmla="*/ 83314 h 95250"/>
                  <a:gd name="connsiteX37" fmla="*/ 31637 w 200025"/>
                  <a:gd name="connsiteY37" fmla="*/ 83314 h 95250"/>
                  <a:gd name="connsiteX38" fmla="*/ 24258 w 200025"/>
                  <a:gd name="connsiteY38" fmla="*/ 87004 h 95250"/>
                  <a:gd name="connsiteX39" fmla="*/ 27947 w 200025"/>
                  <a:gd name="connsiteY39" fmla="*/ 87004 h 95250"/>
                  <a:gd name="connsiteX40" fmla="*/ 24258 w 200025"/>
                  <a:gd name="connsiteY40" fmla="*/ 90694 h 95250"/>
                  <a:gd name="connsiteX41" fmla="*/ 20569 w 200025"/>
                  <a:gd name="connsiteY41" fmla="*/ 90694 h 95250"/>
                  <a:gd name="connsiteX42" fmla="*/ 13191 w 200025"/>
                  <a:gd name="connsiteY42" fmla="*/ 90694 h 95250"/>
                  <a:gd name="connsiteX43" fmla="*/ 9502 w 200025"/>
                  <a:gd name="connsiteY43" fmla="*/ 83314 h 95250"/>
                  <a:gd name="connsiteX44" fmla="*/ 5812 w 200025"/>
                  <a:gd name="connsiteY44" fmla="*/ 83314 h 95250"/>
                  <a:gd name="connsiteX45" fmla="*/ 5812 w 200025"/>
                  <a:gd name="connsiteY45" fmla="*/ 83314 h 95250"/>
                  <a:gd name="connsiteX46" fmla="*/ 5812 w 200025"/>
                  <a:gd name="connsiteY46" fmla="*/ 79623 h 95250"/>
                  <a:gd name="connsiteX47" fmla="*/ 9502 w 200025"/>
                  <a:gd name="connsiteY47" fmla="*/ 75933 h 95250"/>
                  <a:gd name="connsiteX48" fmla="*/ 16880 w 200025"/>
                  <a:gd name="connsiteY48" fmla="*/ 64861 h 95250"/>
                  <a:gd name="connsiteX49" fmla="*/ 24258 w 200025"/>
                  <a:gd name="connsiteY49" fmla="*/ 53789 h 95250"/>
                  <a:gd name="connsiteX50" fmla="*/ 24258 w 200025"/>
                  <a:gd name="connsiteY50" fmla="*/ 53789 h 95250"/>
                  <a:gd name="connsiteX51" fmla="*/ 31637 w 200025"/>
                  <a:gd name="connsiteY51" fmla="*/ 50098 h 95250"/>
                  <a:gd name="connsiteX52" fmla="*/ 39015 w 200025"/>
                  <a:gd name="connsiteY52" fmla="*/ 46408 h 95250"/>
                  <a:gd name="connsiteX53" fmla="*/ 53772 w 200025"/>
                  <a:gd name="connsiteY53" fmla="*/ 42717 h 95250"/>
                  <a:gd name="connsiteX54" fmla="*/ 75908 w 200025"/>
                  <a:gd name="connsiteY54" fmla="*/ 39027 h 95250"/>
                  <a:gd name="connsiteX55" fmla="*/ 83280 w 200025"/>
                  <a:gd name="connsiteY55" fmla="*/ 39027 h 95250"/>
                  <a:gd name="connsiteX56" fmla="*/ 105416 w 200025"/>
                  <a:gd name="connsiteY56" fmla="*/ 31645 h 95250"/>
                  <a:gd name="connsiteX57" fmla="*/ 123866 w 200025"/>
                  <a:gd name="connsiteY57" fmla="*/ 24264 h 95250"/>
                  <a:gd name="connsiteX58" fmla="*/ 164443 w 200025"/>
                  <a:gd name="connsiteY58" fmla="*/ 9502 h 95250"/>
                  <a:gd name="connsiteX59" fmla="*/ 175511 w 200025"/>
                  <a:gd name="connsiteY59" fmla="*/ 9502 h 95250"/>
                  <a:gd name="connsiteX60" fmla="*/ 186579 w 200025"/>
                  <a:gd name="connsiteY60" fmla="*/ 5812 h 95250"/>
                  <a:gd name="connsiteX61" fmla="*/ 190275 w 200025"/>
                  <a:gd name="connsiteY61" fmla="*/ 9502 h 95250"/>
                  <a:gd name="connsiteX62" fmla="*/ 193961 w 200025"/>
                  <a:gd name="connsiteY62" fmla="*/ 9502 h 95250"/>
                  <a:gd name="connsiteX63" fmla="*/ 197647 w 200025"/>
                  <a:gd name="connsiteY63" fmla="*/ 13192 h 95250"/>
                  <a:gd name="connsiteX64" fmla="*/ 197647 w 200025"/>
                  <a:gd name="connsiteY64" fmla="*/ 13192 h 95250"/>
                  <a:gd name="connsiteX65" fmla="*/ 197647 w 200025"/>
                  <a:gd name="connsiteY65" fmla="*/ 20574 h 95250"/>
                  <a:gd name="connsiteX66" fmla="*/ 197647 w 200025"/>
                  <a:gd name="connsiteY66" fmla="*/ 24264 h 95250"/>
                  <a:gd name="connsiteX67" fmla="*/ 197647 w 200025"/>
                  <a:gd name="connsiteY67" fmla="*/ 24264 h 95250"/>
                  <a:gd name="connsiteX68" fmla="*/ 197647 w 200025"/>
                  <a:gd name="connsiteY68" fmla="*/ 20574 h 95250"/>
                  <a:gd name="connsiteX69" fmla="*/ 197647 w 200025"/>
                  <a:gd name="connsiteY69" fmla="*/ 16883 h 95250"/>
                  <a:gd name="connsiteX70" fmla="*/ 193961 w 200025"/>
                  <a:gd name="connsiteY70" fmla="*/ 13192 h 95250"/>
                  <a:gd name="connsiteX71" fmla="*/ 193961 w 200025"/>
                  <a:gd name="connsiteY71" fmla="*/ 13192 h 95250"/>
                  <a:gd name="connsiteX72" fmla="*/ 193961 w 200025"/>
                  <a:gd name="connsiteY72" fmla="*/ 16883 h 95250"/>
                  <a:gd name="connsiteX73" fmla="*/ 190275 w 200025"/>
                  <a:gd name="connsiteY73" fmla="*/ 20574 h 95250"/>
                  <a:gd name="connsiteX74" fmla="*/ 190275 w 200025"/>
                  <a:gd name="connsiteY74" fmla="*/ 20574 h 95250"/>
                  <a:gd name="connsiteX75" fmla="*/ 186579 w 200025"/>
                  <a:gd name="connsiteY75" fmla="*/ 24264 h 95250"/>
                  <a:gd name="connsiteX76" fmla="*/ 179207 w 200025"/>
                  <a:gd name="connsiteY76" fmla="*/ 24264 h 95250"/>
                  <a:gd name="connsiteX77" fmla="*/ 175511 w 200025"/>
                  <a:gd name="connsiteY77" fmla="*/ 24264 h 95250"/>
                  <a:gd name="connsiteX78" fmla="*/ 168139 w 200025"/>
                  <a:gd name="connsiteY78" fmla="*/ 27955 h 95250"/>
                  <a:gd name="connsiteX79" fmla="*/ 168139 w 200025"/>
                  <a:gd name="connsiteY79" fmla="*/ 27955 h 95250"/>
                  <a:gd name="connsiteX80" fmla="*/ 168139 w 200025"/>
                  <a:gd name="connsiteY80" fmla="*/ 27955 h 95250"/>
                  <a:gd name="connsiteX81" fmla="*/ 164443 w 200025"/>
                  <a:gd name="connsiteY81" fmla="*/ 24264 h 95250"/>
                  <a:gd name="connsiteX82" fmla="*/ 164443 w 200025"/>
                  <a:gd name="connsiteY82" fmla="*/ 24264 h 95250"/>
                  <a:gd name="connsiteX83" fmla="*/ 164443 w 200025"/>
                  <a:gd name="connsiteY83" fmla="*/ 24264 h 95250"/>
                  <a:gd name="connsiteX84" fmla="*/ 164443 w 200025"/>
                  <a:gd name="connsiteY84" fmla="*/ 24264 h 95250"/>
                  <a:gd name="connsiteX85" fmla="*/ 164443 w 200025"/>
                  <a:gd name="connsiteY85" fmla="*/ 27955 h 95250"/>
                  <a:gd name="connsiteX86" fmla="*/ 168139 w 200025"/>
                  <a:gd name="connsiteY86" fmla="*/ 27955 h 95250"/>
                  <a:gd name="connsiteX87" fmla="*/ 164443 w 200025"/>
                  <a:gd name="connsiteY87" fmla="*/ 31645 h 95250"/>
                  <a:gd name="connsiteX88" fmla="*/ 160757 w 200025"/>
                  <a:gd name="connsiteY88" fmla="*/ 31645 h 95250"/>
                  <a:gd name="connsiteX89" fmla="*/ 160757 w 200025"/>
                  <a:gd name="connsiteY89" fmla="*/ 31645 h 95250"/>
                  <a:gd name="connsiteX90" fmla="*/ 157070 w 200025"/>
                  <a:gd name="connsiteY90" fmla="*/ 31645 h 95250"/>
                  <a:gd name="connsiteX91" fmla="*/ 157070 w 200025"/>
                  <a:gd name="connsiteY91" fmla="*/ 27955 h 95250"/>
                  <a:gd name="connsiteX92" fmla="*/ 153375 w 200025"/>
                  <a:gd name="connsiteY92" fmla="*/ 27955 h 95250"/>
                  <a:gd name="connsiteX93" fmla="*/ 153375 w 200025"/>
                  <a:gd name="connsiteY93" fmla="*/ 27955 h 95250"/>
                  <a:gd name="connsiteX94" fmla="*/ 157070 w 200025"/>
                  <a:gd name="connsiteY94" fmla="*/ 31645 h 95250"/>
                  <a:gd name="connsiteX95" fmla="*/ 157070 w 200025"/>
                  <a:gd name="connsiteY95" fmla="*/ 35336 h 95250"/>
                  <a:gd name="connsiteX96" fmla="*/ 153375 w 200025"/>
                  <a:gd name="connsiteY96" fmla="*/ 35336 h 95250"/>
                  <a:gd name="connsiteX97" fmla="*/ 149689 w 200025"/>
                  <a:gd name="connsiteY97" fmla="*/ 35336 h 95250"/>
                  <a:gd name="connsiteX98" fmla="*/ 149689 w 200025"/>
                  <a:gd name="connsiteY98" fmla="*/ 35336 h 95250"/>
                  <a:gd name="connsiteX99" fmla="*/ 146002 w 200025"/>
                  <a:gd name="connsiteY99" fmla="*/ 31645 h 95250"/>
                  <a:gd name="connsiteX100" fmla="*/ 146002 w 200025"/>
                  <a:gd name="connsiteY100" fmla="*/ 31645 h 95250"/>
                  <a:gd name="connsiteX101" fmla="*/ 146002 w 200025"/>
                  <a:gd name="connsiteY101" fmla="*/ 31645 h 95250"/>
                  <a:gd name="connsiteX102" fmla="*/ 149689 w 200025"/>
                  <a:gd name="connsiteY102" fmla="*/ 35336 h 95250"/>
                  <a:gd name="connsiteX103" fmla="*/ 153375 w 200025"/>
                  <a:gd name="connsiteY103" fmla="*/ 39027 h 95250"/>
                  <a:gd name="connsiteX104" fmla="*/ 157070 w 200025"/>
                  <a:gd name="connsiteY104" fmla="*/ 39027 h 95250"/>
                  <a:gd name="connsiteX105" fmla="*/ 160757 w 200025"/>
                  <a:gd name="connsiteY105" fmla="*/ 39027 h 95250"/>
                  <a:gd name="connsiteX106" fmla="*/ 160757 w 200025"/>
                  <a:gd name="connsiteY106" fmla="*/ 39027 h 95250"/>
                  <a:gd name="connsiteX107" fmla="*/ 157070 w 200025"/>
                  <a:gd name="connsiteY107" fmla="*/ 42717 h 95250"/>
                  <a:gd name="connsiteX108" fmla="*/ 149689 w 200025"/>
                  <a:gd name="connsiteY108" fmla="*/ 42717 h 95250"/>
                  <a:gd name="connsiteX109" fmla="*/ 142316 w 200025"/>
                  <a:gd name="connsiteY109" fmla="*/ 42717 h 95250"/>
                  <a:gd name="connsiteX110" fmla="*/ 138621 w 200025"/>
                  <a:gd name="connsiteY110" fmla="*/ 42717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00025" h="95250">
                    <a:moveTo>
                      <a:pt x="138621" y="42717"/>
                    </a:moveTo>
                    <a:lnTo>
                      <a:pt x="123866" y="42717"/>
                    </a:lnTo>
                    <a:lnTo>
                      <a:pt x="116484" y="46408"/>
                    </a:lnTo>
                    <a:lnTo>
                      <a:pt x="112798" y="46408"/>
                    </a:lnTo>
                    <a:lnTo>
                      <a:pt x="109112" y="50098"/>
                    </a:lnTo>
                    <a:lnTo>
                      <a:pt x="109112" y="50098"/>
                    </a:lnTo>
                    <a:lnTo>
                      <a:pt x="101730" y="57480"/>
                    </a:lnTo>
                    <a:lnTo>
                      <a:pt x="98044" y="61170"/>
                    </a:lnTo>
                    <a:lnTo>
                      <a:pt x="98044" y="61170"/>
                    </a:lnTo>
                    <a:lnTo>
                      <a:pt x="94348" y="61170"/>
                    </a:lnTo>
                    <a:lnTo>
                      <a:pt x="90662" y="61170"/>
                    </a:lnTo>
                    <a:lnTo>
                      <a:pt x="90662" y="64861"/>
                    </a:lnTo>
                    <a:lnTo>
                      <a:pt x="86976" y="64861"/>
                    </a:lnTo>
                    <a:lnTo>
                      <a:pt x="83280" y="61170"/>
                    </a:lnTo>
                    <a:lnTo>
                      <a:pt x="83280" y="64861"/>
                    </a:lnTo>
                    <a:lnTo>
                      <a:pt x="79594" y="64861"/>
                    </a:lnTo>
                    <a:lnTo>
                      <a:pt x="75908" y="68552"/>
                    </a:lnTo>
                    <a:lnTo>
                      <a:pt x="75908" y="68552"/>
                    </a:lnTo>
                    <a:lnTo>
                      <a:pt x="75908" y="68552"/>
                    </a:lnTo>
                    <a:lnTo>
                      <a:pt x="72222" y="68552"/>
                    </a:lnTo>
                    <a:lnTo>
                      <a:pt x="72222" y="72242"/>
                    </a:lnTo>
                    <a:lnTo>
                      <a:pt x="72222" y="72242"/>
                    </a:lnTo>
                    <a:lnTo>
                      <a:pt x="68526" y="68552"/>
                    </a:lnTo>
                    <a:lnTo>
                      <a:pt x="64840" y="68552"/>
                    </a:lnTo>
                    <a:lnTo>
                      <a:pt x="64840" y="68552"/>
                    </a:lnTo>
                    <a:lnTo>
                      <a:pt x="61154" y="68552"/>
                    </a:lnTo>
                    <a:lnTo>
                      <a:pt x="57458" y="68552"/>
                    </a:lnTo>
                    <a:lnTo>
                      <a:pt x="57458" y="68552"/>
                    </a:lnTo>
                    <a:lnTo>
                      <a:pt x="53772" y="72242"/>
                    </a:lnTo>
                    <a:lnTo>
                      <a:pt x="50082" y="75933"/>
                    </a:lnTo>
                    <a:lnTo>
                      <a:pt x="46393" y="72242"/>
                    </a:lnTo>
                    <a:lnTo>
                      <a:pt x="42704" y="75933"/>
                    </a:lnTo>
                    <a:lnTo>
                      <a:pt x="39015" y="75933"/>
                    </a:lnTo>
                    <a:lnTo>
                      <a:pt x="35326" y="79623"/>
                    </a:lnTo>
                    <a:lnTo>
                      <a:pt x="35326" y="83314"/>
                    </a:lnTo>
                    <a:lnTo>
                      <a:pt x="35326" y="83314"/>
                    </a:lnTo>
                    <a:lnTo>
                      <a:pt x="35326" y="83314"/>
                    </a:lnTo>
                    <a:lnTo>
                      <a:pt x="31637" y="83314"/>
                    </a:lnTo>
                    <a:lnTo>
                      <a:pt x="24258" y="87004"/>
                    </a:lnTo>
                    <a:lnTo>
                      <a:pt x="27947" y="87004"/>
                    </a:lnTo>
                    <a:lnTo>
                      <a:pt x="24258" y="90694"/>
                    </a:lnTo>
                    <a:lnTo>
                      <a:pt x="20569" y="90694"/>
                    </a:lnTo>
                    <a:lnTo>
                      <a:pt x="13191" y="90694"/>
                    </a:lnTo>
                    <a:lnTo>
                      <a:pt x="9502" y="83314"/>
                    </a:lnTo>
                    <a:lnTo>
                      <a:pt x="5812" y="83314"/>
                    </a:lnTo>
                    <a:lnTo>
                      <a:pt x="5812" y="83314"/>
                    </a:lnTo>
                    <a:lnTo>
                      <a:pt x="5812" y="79623"/>
                    </a:lnTo>
                    <a:lnTo>
                      <a:pt x="9502" y="75933"/>
                    </a:lnTo>
                    <a:lnTo>
                      <a:pt x="16880" y="64861"/>
                    </a:lnTo>
                    <a:lnTo>
                      <a:pt x="24258" y="53789"/>
                    </a:lnTo>
                    <a:lnTo>
                      <a:pt x="24258" y="53789"/>
                    </a:lnTo>
                    <a:lnTo>
                      <a:pt x="31637" y="50098"/>
                    </a:lnTo>
                    <a:lnTo>
                      <a:pt x="39015" y="46408"/>
                    </a:lnTo>
                    <a:lnTo>
                      <a:pt x="53772" y="42717"/>
                    </a:lnTo>
                    <a:lnTo>
                      <a:pt x="75908" y="39027"/>
                    </a:lnTo>
                    <a:lnTo>
                      <a:pt x="83280" y="39027"/>
                    </a:lnTo>
                    <a:lnTo>
                      <a:pt x="105416" y="31645"/>
                    </a:lnTo>
                    <a:lnTo>
                      <a:pt x="123866" y="24264"/>
                    </a:lnTo>
                    <a:lnTo>
                      <a:pt x="164443" y="9502"/>
                    </a:lnTo>
                    <a:lnTo>
                      <a:pt x="175511" y="9502"/>
                    </a:lnTo>
                    <a:lnTo>
                      <a:pt x="186579" y="5812"/>
                    </a:lnTo>
                    <a:lnTo>
                      <a:pt x="190275" y="9502"/>
                    </a:lnTo>
                    <a:lnTo>
                      <a:pt x="193961" y="9502"/>
                    </a:lnTo>
                    <a:lnTo>
                      <a:pt x="197647" y="13192"/>
                    </a:lnTo>
                    <a:lnTo>
                      <a:pt x="197647" y="13192"/>
                    </a:lnTo>
                    <a:lnTo>
                      <a:pt x="197647" y="20574"/>
                    </a:lnTo>
                    <a:lnTo>
                      <a:pt x="197647" y="24264"/>
                    </a:lnTo>
                    <a:lnTo>
                      <a:pt x="197647" y="24264"/>
                    </a:lnTo>
                    <a:lnTo>
                      <a:pt x="197647" y="20574"/>
                    </a:lnTo>
                    <a:lnTo>
                      <a:pt x="197647" y="16883"/>
                    </a:lnTo>
                    <a:lnTo>
                      <a:pt x="193961" y="13192"/>
                    </a:lnTo>
                    <a:lnTo>
                      <a:pt x="193961" y="13192"/>
                    </a:lnTo>
                    <a:lnTo>
                      <a:pt x="193961" y="16883"/>
                    </a:lnTo>
                    <a:lnTo>
                      <a:pt x="190275" y="20574"/>
                    </a:lnTo>
                    <a:lnTo>
                      <a:pt x="190275" y="20574"/>
                    </a:lnTo>
                    <a:lnTo>
                      <a:pt x="186579" y="24264"/>
                    </a:lnTo>
                    <a:lnTo>
                      <a:pt x="179207" y="24264"/>
                    </a:lnTo>
                    <a:lnTo>
                      <a:pt x="175511" y="24264"/>
                    </a:lnTo>
                    <a:lnTo>
                      <a:pt x="168139" y="27955"/>
                    </a:lnTo>
                    <a:lnTo>
                      <a:pt x="168139" y="27955"/>
                    </a:lnTo>
                    <a:lnTo>
                      <a:pt x="168139" y="27955"/>
                    </a:lnTo>
                    <a:lnTo>
                      <a:pt x="164443" y="24264"/>
                    </a:lnTo>
                    <a:lnTo>
                      <a:pt x="164443" y="24264"/>
                    </a:lnTo>
                    <a:lnTo>
                      <a:pt x="164443" y="24264"/>
                    </a:lnTo>
                    <a:lnTo>
                      <a:pt x="164443" y="24264"/>
                    </a:lnTo>
                    <a:lnTo>
                      <a:pt x="164443" y="27955"/>
                    </a:lnTo>
                    <a:lnTo>
                      <a:pt x="168139" y="27955"/>
                    </a:lnTo>
                    <a:lnTo>
                      <a:pt x="164443" y="31645"/>
                    </a:lnTo>
                    <a:lnTo>
                      <a:pt x="160757" y="31645"/>
                    </a:lnTo>
                    <a:lnTo>
                      <a:pt x="160757" y="31645"/>
                    </a:lnTo>
                    <a:lnTo>
                      <a:pt x="157070" y="31645"/>
                    </a:lnTo>
                    <a:lnTo>
                      <a:pt x="157070" y="27955"/>
                    </a:lnTo>
                    <a:lnTo>
                      <a:pt x="153375" y="27955"/>
                    </a:lnTo>
                    <a:lnTo>
                      <a:pt x="153375" y="27955"/>
                    </a:lnTo>
                    <a:lnTo>
                      <a:pt x="157070" y="31645"/>
                    </a:lnTo>
                    <a:lnTo>
                      <a:pt x="157070" y="35336"/>
                    </a:lnTo>
                    <a:lnTo>
                      <a:pt x="153375" y="35336"/>
                    </a:lnTo>
                    <a:lnTo>
                      <a:pt x="149689" y="35336"/>
                    </a:lnTo>
                    <a:lnTo>
                      <a:pt x="149689" y="35336"/>
                    </a:lnTo>
                    <a:lnTo>
                      <a:pt x="146002" y="31645"/>
                    </a:lnTo>
                    <a:lnTo>
                      <a:pt x="146002" y="31645"/>
                    </a:lnTo>
                    <a:lnTo>
                      <a:pt x="146002" y="31645"/>
                    </a:lnTo>
                    <a:lnTo>
                      <a:pt x="149689" y="35336"/>
                    </a:lnTo>
                    <a:lnTo>
                      <a:pt x="153375" y="39027"/>
                    </a:lnTo>
                    <a:lnTo>
                      <a:pt x="157070" y="39027"/>
                    </a:lnTo>
                    <a:lnTo>
                      <a:pt x="160757" y="39027"/>
                    </a:lnTo>
                    <a:lnTo>
                      <a:pt x="160757" y="39027"/>
                    </a:lnTo>
                    <a:lnTo>
                      <a:pt x="157070" y="42717"/>
                    </a:lnTo>
                    <a:lnTo>
                      <a:pt x="149689" y="42717"/>
                    </a:lnTo>
                    <a:lnTo>
                      <a:pt x="142316" y="42717"/>
                    </a:lnTo>
                    <a:lnTo>
                      <a:pt x="138621" y="42717"/>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44" name="Freeform: Shape 143">
                <a:extLst>
                  <a:ext uri="{FF2B5EF4-FFF2-40B4-BE49-F238E27FC236}">
                    <a16:creationId xmlns:a16="http://schemas.microsoft.com/office/drawing/2014/main" id="{FB1E61B8-3E5D-4E7D-AC77-A75F7B9F41EF}"/>
                  </a:ext>
                </a:extLst>
              </p:cNvPr>
              <p:cNvSpPr/>
              <p:nvPr/>
            </p:nvSpPr>
            <p:spPr>
              <a:xfrm>
                <a:off x="3048462" y="1540039"/>
                <a:ext cx="64980" cy="43320"/>
              </a:xfrm>
              <a:custGeom>
                <a:avLst/>
                <a:gdLst>
                  <a:gd name="connsiteX0" fmla="*/ 27947 w 28575"/>
                  <a:gd name="connsiteY0" fmla="*/ 5812 h 19050"/>
                  <a:gd name="connsiteX1" fmla="*/ 27947 w 28575"/>
                  <a:gd name="connsiteY1" fmla="*/ 5812 h 19050"/>
                  <a:gd name="connsiteX2" fmla="*/ 24257 w 28575"/>
                  <a:gd name="connsiteY2" fmla="*/ 9503 h 19050"/>
                  <a:gd name="connsiteX3" fmla="*/ 20568 w 28575"/>
                  <a:gd name="connsiteY3" fmla="*/ 13193 h 19050"/>
                  <a:gd name="connsiteX4" fmla="*/ 16879 w 28575"/>
                  <a:gd name="connsiteY4" fmla="*/ 13193 h 19050"/>
                  <a:gd name="connsiteX5" fmla="*/ 13190 w 28575"/>
                  <a:gd name="connsiteY5" fmla="*/ 13193 h 19050"/>
                  <a:gd name="connsiteX6" fmla="*/ 9501 w 28575"/>
                  <a:gd name="connsiteY6" fmla="*/ 13193 h 19050"/>
                  <a:gd name="connsiteX7" fmla="*/ 9501 w 28575"/>
                  <a:gd name="connsiteY7" fmla="*/ 13193 h 19050"/>
                  <a:gd name="connsiteX8" fmla="*/ 9501 w 28575"/>
                  <a:gd name="connsiteY8" fmla="*/ 16883 h 19050"/>
                  <a:gd name="connsiteX9" fmla="*/ 9501 w 28575"/>
                  <a:gd name="connsiteY9" fmla="*/ 16883 h 19050"/>
                  <a:gd name="connsiteX10" fmla="*/ 5812 w 28575"/>
                  <a:gd name="connsiteY10" fmla="*/ 16883 h 19050"/>
                  <a:gd name="connsiteX11" fmla="*/ 5812 w 28575"/>
                  <a:gd name="connsiteY11" fmla="*/ 16883 h 19050"/>
                  <a:gd name="connsiteX12" fmla="*/ 5812 w 28575"/>
                  <a:gd name="connsiteY12" fmla="*/ 13193 h 19050"/>
                  <a:gd name="connsiteX13" fmla="*/ 5812 w 28575"/>
                  <a:gd name="connsiteY13" fmla="*/ 13193 h 19050"/>
                  <a:gd name="connsiteX14" fmla="*/ 9501 w 28575"/>
                  <a:gd name="connsiteY14" fmla="*/ 13193 h 19050"/>
                  <a:gd name="connsiteX15" fmla="*/ 5812 w 28575"/>
                  <a:gd name="connsiteY15" fmla="*/ 13193 h 19050"/>
                  <a:gd name="connsiteX16" fmla="*/ 9501 w 28575"/>
                  <a:gd name="connsiteY16" fmla="*/ 9503 h 19050"/>
                  <a:gd name="connsiteX17" fmla="*/ 13190 w 28575"/>
                  <a:gd name="connsiteY17" fmla="*/ 5812 h 19050"/>
                  <a:gd name="connsiteX18" fmla="*/ 20568 w 28575"/>
                  <a:gd name="connsiteY18" fmla="*/ 5812 h 19050"/>
                  <a:gd name="connsiteX19" fmla="*/ 27947 w 28575"/>
                  <a:gd name="connsiteY19" fmla="*/ 5812 h 19050"/>
                  <a:gd name="connsiteX20" fmla="*/ 27947 w 28575"/>
                  <a:gd name="connsiteY20"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575" h="19050">
                    <a:moveTo>
                      <a:pt x="27947" y="5812"/>
                    </a:moveTo>
                    <a:lnTo>
                      <a:pt x="27947" y="5812"/>
                    </a:lnTo>
                    <a:lnTo>
                      <a:pt x="24257" y="9503"/>
                    </a:lnTo>
                    <a:lnTo>
                      <a:pt x="20568" y="13193"/>
                    </a:lnTo>
                    <a:lnTo>
                      <a:pt x="16879" y="13193"/>
                    </a:lnTo>
                    <a:lnTo>
                      <a:pt x="13190" y="13193"/>
                    </a:lnTo>
                    <a:lnTo>
                      <a:pt x="9501" y="13193"/>
                    </a:lnTo>
                    <a:lnTo>
                      <a:pt x="9501" y="13193"/>
                    </a:lnTo>
                    <a:lnTo>
                      <a:pt x="9501" y="16883"/>
                    </a:lnTo>
                    <a:lnTo>
                      <a:pt x="9501" y="16883"/>
                    </a:lnTo>
                    <a:lnTo>
                      <a:pt x="5812" y="16883"/>
                    </a:lnTo>
                    <a:lnTo>
                      <a:pt x="5812" y="16883"/>
                    </a:lnTo>
                    <a:lnTo>
                      <a:pt x="5812" y="13193"/>
                    </a:lnTo>
                    <a:lnTo>
                      <a:pt x="5812" y="13193"/>
                    </a:lnTo>
                    <a:lnTo>
                      <a:pt x="9501" y="13193"/>
                    </a:lnTo>
                    <a:lnTo>
                      <a:pt x="5812" y="13193"/>
                    </a:lnTo>
                    <a:lnTo>
                      <a:pt x="9501" y="9503"/>
                    </a:lnTo>
                    <a:lnTo>
                      <a:pt x="13190" y="5812"/>
                    </a:lnTo>
                    <a:lnTo>
                      <a:pt x="20568" y="5812"/>
                    </a:lnTo>
                    <a:lnTo>
                      <a:pt x="27947" y="5812"/>
                    </a:lnTo>
                    <a:lnTo>
                      <a:pt x="27947" y="5812"/>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45" name="Freeform: Shape 144">
                <a:extLst>
                  <a:ext uri="{FF2B5EF4-FFF2-40B4-BE49-F238E27FC236}">
                    <a16:creationId xmlns:a16="http://schemas.microsoft.com/office/drawing/2014/main" id="{86FBF231-CD13-46F2-8F81-F7A59218827D}"/>
                  </a:ext>
                </a:extLst>
              </p:cNvPr>
              <p:cNvSpPr/>
              <p:nvPr/>
            </p:nvSpPr>
            <p:spPr>
              <a:xfrm>
                <a:off x="2763225" y="1523254"/>
                <a:ext cx="281580" cy="194940"/>
              </a:xfrm>
              <a:custGeom>
                <a:avLst/>
                <a:gdLst>
                  <a:gd name="connsiteX0" fmla="*/ 105420 w 123825"/>
                  <a:gd name="connsiteY0" fmla="*/ 16883 h 85725"/>
                  <a:gd name="connsiteX1" fmla="*/ 105420 w 123825"/>
                  <a:gd name="connsiteY1" fmla="*/ 20574 h 85725"/>
                  <a:gd name="connsiteX2" fmla="*/ 101730 w 123825"/>
                  <a:gd name="connsiteY2" fmla="*/ 24264 h 85725"/>
                  <a:gd name="connsiteX3" fmla="*/ 94352 w 123825"/>
                  <a:gd name="connsiteY3" fmla="*/ 27955 h 85725"/>
                  <a:gd name="connsiteX4" fmla="*/ 72217 w 123825"/>
                  <a:gd name="connsiteY4" fmla="*/ 35336 h 85725"/>
                  <a:gd name="connsiteX5" fmla="*/ 64839 w 123825"/>
                  <a:gd name="connsiteY5" fmla="*/ 39027 h 85725"/>
                  <a:gd name="connsiteX6" fmla="*/ 64839 w 123825"/>
                  <a:gd name="connsiteY6" fmla="*/ 42717 h 85725"/>
                  <a:gd name="connsiteX7" fmla="*/ 64839 w 123825"/>
                  <a:gd name="connsiteY7" fmla="*/ 50098 h 85725"/>
                  <a:gd name="connsiteX8" fmla="*/ 68528 w 123825"/>
                  <a:gd name="connsiteY8" fmla="*/ 50098 h 85725"/>
                  <a:gd name="connsiteX9" fmla="*/ 68528 w 123825"/>
                  <a:gd name="connsiteY9" fmla="*/ 46408 h 85725"/>
                  <a:gd name="connsiteX10" fmla="*/ 68528 w 123825"/>
                  <a:gd name="connsiteY10" fmla="*/ 46408 h 85725"/>
                  <a:gd name="connsiteX11" fmla="*/ 68528 w 123825"/>
                  <a:gd name="connsiteY11" fmla="*/ 46408 h 85725"/>
                  <a:gd name="connsiteX12" fmla="*/ 68528 w 123825"/>
                  <a:gd name="connsiteY12" fmla="*/ 46408 h 85725"/>
                  <a:gd name="connsiteX13" fmla="*/ 72217 w 123825"/>
                  <a:gd name="connsiteY13" fmla="*/ 46408 h 85725"/>
                  <a:gd name="connsiteX14" fmla="*/ 68528 w 123825"/>
                  <a:gd name="connsiteY14" fmla="*/ 50098 h 85725"/>
                  <a:gd name="connsiteX15" fmla="*/ 64839 w 123825"/>
                  <a:gd name="connsiteY15" fmla="*/ 57480 h 85725"/>
                  <a:gd name="connsiteX16" fmla="*/ 64839 w 123825"/>
                  <a:gd name="connsiteY16" fmla="*/ 57480 h 85725"/>
                  <a:gd name="connsiteX17" fmla="*/ 64839 w 123825"/>
                  <a:gd name="connsiteY17" fmla="*/ 57480 h 85725"/>
                  <a:gd name="connsiteX18" fmla="*/ 53771 w 123825"/>
                  <a:gd name="connsiteY18" fmla="*/ 64861 h 85725"/>
                  <a:gd name="connsiteX19" fmla="*/ 50082 w 123825"/>
                  <a:gd name="connsiteY19" fmla="*/ 68552 h 85725"/>
                  <a:gd name="connsiteX20" fmla="*/ 46393 w 123825"/>
                  <a:gd name="connsiteY20" fmla="*/ 68552 h 85725"/>
                  <a:gd name="connsiteX21" fmla="*/ 46393 w 123825"/>
                  <a:gd name="connsiteY21" fmla="*/ 72242 h 85725"/>
                  <a:gd name="connsiteX22" fmla="*/ 42704 w 123825"/>
                  <a:gd name="connsiteY22" fmla="*/ 75933 h 85725"/>
                  <a:gd name="connsiteX23" fmla="*/ 35326 w 123825"/>
                  <a:gd name="connsiteY23" fmla="*/ 79623 h 85725"/>
                  <a:gd name="connsiteX24" fmla="*/ 35326 w 123825"/>
                  <a:gd name="connsiteY24" fmla="*/ 79623 h 85725"/>
                  <a:gd name="connsiteX25" fmla="*/ 35326 w 123825"/>
                  <a:gd name="connsiteY25" fmla="*/ 79623 h 85725"/>
                  <a:gd name="connsiteX26" fmla="*/ 31636 w 123825"/>
                  <a:gd name="connsiteY26" fmla="*/ 79623 h 85725"/>
                  <a:gd name="connsiteX27" fmla="*/ 24258 w 123825"/>
                  <a:gd name="connsiteY27" fmla="*/ 79623 h 85725"/>
                  <a:gd name="connsiteX28" fmla="*/ 13191 w 123825"/>
                  <a:gd name="connsiteY28" fmla="*/ 79623 h 85725"/>
                  <a:gd name="connsiteX29" fmla="*/ 9502 w 123825"/>
                  <a:gd name="connsiteY29" fmla="*/ 83314 h 85725"/>
                  <a:gd name="connsiteX30" fmla="*/ 9502 w 123825"/>
                  <a:gd name="connsiteY30" fmla="*/ 83314 h 85725"/>
                  <a:gd name="connsiteX31" fmla="*/ 9502 w 123825"/>
                  <a:gd name="connsiteY31" fmla="*/ 87005 h 85725"/>
                  <a:gd name="connsiteX32" fmla="*/ 13191 w 123825"/>
                  <a:gd name="connsiteY32" fmla="*/ 87005 h 85725"/>
                  <a:gd name="connsiteX33" fmla="*/ 9502 w 123825"/>
                  <a:gd name="connsiteY33" fmla="*/ 87005 h 85725"/>
                  <a:gd name="connsiteX34" fmla="*/ 5812 w 123825"/>
                  <a:gd name="connsiteY34" fmla="*/ 87005 h 85725"/>
                  <a:gd name="connsiteX35" fmla="*/ 5812 w 123825"/>
                  <a:gd name="connsiteY35" fmla="*/ 87005 h 85725"/>
                  <a:gd name="connsiteX36" fmla="*/ 5812 w 123825"/>
                  <a:gd name="connsiteY36" fmla="*/ 79623 h 85725"/>
                  <a:gd name="connsiteX37" fmla="*/ 5812 w 123825"/>
                  <a:gd name="connsiteY37" fmla="*/ 75933 h 85725"/>
                  <a:gd name="connsiteX38" fmla="*/ 5812 w 123825"/>
                  <a:gd name="connsiteY38" fmla="*/ 72242 h 85725"/>
                  <a:gd name="connsiteX39" fmla="*/ 27947 w 123825"/>
                  <a:gd name="connsiteY39" fmla="*/ 61170 h 85725"/>
                  <a:gd name="connsiteX40" fmla="*/ 39015 w 123825"/>
                  <a:gd name="connsiteY40" fmla="*/ 50098 h 85725"/>
                  <a:gd name="connsiteX41" fmla="*/ 46393 w 123825"/>
                  <a:gd name="connsiteY41" fmla="*/ 46408 h 85725"/>
                  <a:gd name="connsiteX42" fmla="*/ 53771 w 123825"/>
                  <a:gd name="connsiteY42" fmla="*/ 39027 h 85725"/>
                  <a:gd name="connsiteX43" fmla="*/ 57460 w 123825"/>
                  <a:gd name="connsiteY43" fmla="*/ 35336 h 85725"/>
                  <a:gd name="connsiteX44" fmla="*/ 72217 w 123825"/>
                  <a:gd name="connsiteY44" fmla="*/ 24264 h 85725"/>
                  <a:gd name="connsiteX45" fmla="*/ 79595 w 123825"/>
                  <a:gd name="connsiteY45" fmla="*/ 20574 h 85725"/>
                  <a:gd name="connsiteX46" fmla="*/ 83285 w 123825"/>
                  <a:gd name="connsiteY46" fmla="*/ 16883 h 85725"/>
                  <a:gd name="connsiteX47" fmla="*/ 83285 w 123825"/>
                  <a:gd name="connsiteY47" fmla="*/ 16883 h 85725"/>
                  <a:gd name="connsiteX48" fmla="*/ 94352 w 123825"/>
                  <a:gd name="connsiteY48" fmla="*/ 13192 h 85725"/>
                  <a:gd name="connsiteX49" fmla="*/ 101730 w 123825"/>
                  <a:gd name="connsiteY49" fmla="*/ 9503 h 85725"/>
                  <a:gd name="connsiteX50" fmla="*/ 109109 w 123825"/>
                  <a:gd name="connsiteY50" fmla="*/ 5812 h 85725"/>
                  <a:gd name="connsiteX51" fmla="*/ 112798 w 123825"/>
                  <a:gd name="connsiteY51" fmla="*/ 5812 h 85725"/>
                  <a:gd name="connsiteX52" fmla="*/ 123865 w 123825"/>
                  <a:gd name="connsiteY52" fmla="*/ 9503 h 85725"/>
                  <a:gd name="connsiteX53" fmla="*/ 123865 w 123825"/>
                  <a:gd name="connsiteY53" fmla="*/ 13192 h 85725"/>
                  <a:gd name="connsiteX54" fmla="*/ 120176 w 123825"/>
                  <a:gd name="connsiteY54" fmla="*/ 16883 h 85725"/>
                  <a:gd name="connsiteX55" fmla="*/ 120176 w 123825"/>
                  <a:gd name="connsiteY55" fmla="*/ 16883 h 85725"/>
                  <a:gd name="connsiteX56" fmla="*/ 120176 w 123825"/>
                  <a:gd name="connsiteY56" fmla="*/ 16883 h 85725"/>
                  <a:gd name="connsiteX57" fmla="*/ 116487 w 123825"/>
                  <a:gd name="connsiteY57" fmla="*/ 16883 h 85725"/>
                  <a:gd name="connsiteX58" fmla="*/ 112798 w 123825"/>
                  <a:gd name="connsiteY58" fmla="*/ 16883 h 85725"/>
                  <a:gd name="connsiteX59" fmla="*/ 105420 w 123825"/>
                  <a:gd name="connsiteY59" fmla="*/ 16883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23825" h="85725">
                    <a:moveTo>
                      <a:pt x="105420" y="16883"/>
                    </a:moveTo>
                    <a:lnTo>
                      <a:pt x="105420" y="20574"/>
                    </a:lnTo>
                    <a:lnTo>
                      <a:pt x="101730" y="24264"/>
                    </a:lnTo>
                    <a:lnTo>
                      <a:pt x="94352" y="27955"/>
                    </a:lnTo>
                    <a:lnTo>
                      <a:pt x="72217" y="35336"/>
                    </a:lnTo>
                    <a:lnTo>
                      <a:pt x="64839" y="39027"/>
                    </a:lnTo>
                    <a:lnTo>
                      <a:pt x="64839" y="42717"/>
                    </a:lnTo>
                    <a:lnTo>
                      <a:pt x="64839" y="50098"/>
                    </a:lnTo>
                    <a:lnTo>
                      <a:pt x="68528" y="50098"/>
                    </a:lnTo>
                    <a:lnTo>
                      <a:pt x="68528" y="46408"/>
                    </a:lnTo>
                    <a:lnTo>
                      <a:pt x="68528" y="46408"/>
                    </a:lnTo>
                    <a:lnTo>
                      <a:pt x="68528" y="46408"/>
                    </a:lnTo>
                    <a:lnTo>
                      <a:pt x="68528" y="46408"/>
                    </a:lnTo>
                    <a:lnTo>
                      <a:pt x="72217" y="46408"/>
                    </a:lnTo>
                    <a:lnTo>
                      <a:pt x="68528" y="50098"/>
                    </a:lnTo>
                    <a:lnTo>
                      <a:pt x="64839" y="57480"/>
                    </a:lnTo>
                    <a:lnTo>
                      <a:pt x="64839" y="57480"/>
                    </a:lnTo>
                    <a:lnTo>
                      <a:pt x="64839" y="57480"/>
                    </a:lnTo>
                    <a:lnTo>
                      <a:pt x="53771" y="64861"/>
                    </a:lnTo>
                    <a:lnTo>
                      <a:pt x="50082" y="68552"/>
                    </a:lnTo>
                    <a:lnTo>
                      <a:pt x="46393" y="68552"/>
                    </a:lnTo>
                    <a:lnTo>
                      <a:pt x="46393" y="72242"/>
                    </a:lnTo>
                    <a:lnTo>
                      <a:pt x="42704" y="75933"/>
                    </a:lnTo>
                    <a:lnTo>
                      <a:pt x="35326" y="79623"/>
                    </a:lnTo>
                    <a:lnTo>
                      <a:pt x="35326" y="79623"/>
                    </a:lnTo>
                    <a:lnTo>
                      <a:pt x="35326" y="79623"/>
                    </a:lnTo>
                    <a:lnTo>
                      <a:pt x="31636" y="79623"/>
                    </a:lnTo>
                    <a:lnTo>
                      <a:pt x="24258" y="79623"/>
                    </a:lnTo>
                    <a:lnTo>
                      <a:pt x="13191" y="79623"/>
                    </a:lnTo>
                    <a:lnTo>
                      <a:pt x="9502" y="83314"/>
                    </a:lnTo>
                    <a:lnTo>
                      <a:pt x="9502" y="83314"/>
                    </a:lnTo>
                    <a:lnTo>
                      <a:pt x="9502" y="87005"/>
                    </a:lnTo>
                    <a:lnTo>
                      <a:pt x="13191" y="87005"/>
                    </a:lnTo>
                    <a:lnTo>
                      <a:pt x="9502" y="87005"/>
                    </a:lnTo>
                    <a:lnTo>
                      <a:pt x="5812" y="87005"/>
                    </a:lnTo>
                    <a:lnTo>
                      <a:pt x="5812" y="87005"/>
                    </a:lnTo>
                    <a:lnTo>
                      <a:pt x="5812" y="79623"/>
                    </a:lnTo>
                    <a:lnTo>
                      <a:pt x="5812" y="75933"/>
                    </a:lnTo>
                    <a:lnTo>
                      <a:pt x="5812" y="72242"/>
                    </a:lnTo>
                    <a:lnTo>
                      <a:pt x="27947" y="61170"/>
                    </a:lnTo>
                    <a:lnTo>
                      <a:pt x="39015" y="50098"/>
                    </a:lnTo>
                    <a:lnTo>
                      <a:pt x="46393" y="46408"/>
                    </a:lnTo>
                    <a:lnTo>
                      <a:pt x="53771" y="39027"/>
                    </a:lnTo>
                    <a:lnTo>
                      <a:pt x="57460" y="35336"/>
                    </a:lnTo>
                    <a:lnTo>
                      <a:pt x="72217" y="24264"/>
                    </a:lnTo>
                    <a:lnTo>
                      <a:pt x="79595" y="20574"/>
                    </a:lnTo>
                    <a:lnTo>
                      <a:pt x="83285" y="16883"/>
                    </a:lnTo>
                    <a:lnTo>
                      <a:pt x="83285" y="16883"/>
                    </a:lnTo>
                    <a:lnTo>
                      <a:pt x="94352" y="13192"/>
                    </a:lnTo>
                    <a:lnTo>
                      <a:pt x="101730" y="9503"/>
                    </a:lnTo>
                    <a:lnTo>
                      <a:pt x="109109" y="5812"/>
                    </a:lnTo>
                    <a:lnTo>
                      <a:pt x="112798" y="5812"/>
                    </a:lnTo>
                    <a:lnTo>
                      <a:pt x="123865" y="9503"/>
                    </a:lnTo>
                    <a:lnTo>
                      <a:pt x="123865" y="13192"/>
                    </a:lnTo>
                    <a:lnTo>
                      <a:pt x="120176" y="16883"/>
                    </a:lnTo>
                    <a:lnTo>
                      <a:pt x="120176" y="16883"/>
                    </a:lnTo>
                    <a:lnTo>
                      <a:pt x="120176" y="16883"/>
                    </a:lnTo>
                    <a:lnTo>
                      <a:pt x="116487" y="16883"/>
                    </a:lnTo>
                    <a:lnTo>
                      <a:pt x="112798" y="16883"/>
                    </a:lnTo>
                    <a:lnTo>
                      <a:pt x="105420" y="16883"/>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46" name="Freeform: Shape 145">
                <a:extLst>
                  <a:ext uri="{FF2B5EF4-FFF2-40B4-BE49-F238E27FC236}">
                    <a16:creationId xmlns:a16="http://schemas.microsoft.com/office/drawing/2014/main" id="{7F9B87B4-791D-41FE-8901-41C93B08FBA8}"/>
                  </a:ext>
                </a:extLst>
              </p:cNvPr>
              <p:cNvSpPr/>
              <p:nvPr/>
            </p:nvSpPr>
            <p:spPr>
              <a:xfrm>
                <a:off x="4382359" y="1153991"/>
                <a:ext cx="21660" cy="21660"/>
              </a:xfrm>
              <a:custGeom>
                <a:avLst/>
                <a:gdLst>
                  <a:gd name="connsiteX0" fmla="*/ 5812 w 9525"/>
                  <a:gd name="connsiteY0" fmla="*/ 5812 h 9525"/>
                  <a:gd name="connsiteX1" fmla="*/ 13184 w 9525"/>
                  <a:gd name="connsiteY1" fmla="*/ 5812 h 9525"/>
                  <a:gd name="connsiteX2" fmla="*/ 13184 w 9525"/>
                  <a:gd name="connsiteY2" fmla="*/ 5812 h 9525"/>
                  <a:gd name="connsiteX3" fmla="*/ 13184 w 9525"/>
                  <a:gd name="connsiteY3" fmla="*/ 9502 h 9525"/>
                  <a:gd name="connsiteX4" fmla="*/ 13184 w 9525"/>
                  <a:gd name="connsiteY4" fmla="*/ 9502 h 9525"/>
                  <a:gd name="connsiteX5" fmla="*/ 5812 w 9525"/>
                  <a:gd name="connsiteY5" fmla="*/ 13193 h 9525"/>
                  <a:gd name="connsiteX6" fmla="*/ 5812 w 9525"/>
                  <a:gd name="connsiteY6"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9525">
                    <a:moveTo>
                      <a:pt x="5812" y="5812"/>
                    </a:moveTo>
                    <a:lnTo>
                      <a:pt x="13184" y="5812"/>
                    </a:lnTo>
                    <a:lnTo>
                      <a:pt x="13184" y="5812"/>
                    </a:lnTo>
                    <a:lnTo>
                      <a:pt x="13184" y="9502"/>
                    </a:lnTo>
                    <a:lnTo>
                      <a:pt x="13184" y="9502"/>
                    </a:lnTo>
                    <a:lnTo>
                      <a:pt x="5812" y="13193"/>
                    </a:lnTo>
                    <a:lnTo>
                      <a:pt x="5812" y="5812"/>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47" name="Freeform: Shape 146">
                <a:extLst>
                  <a:ext uri="{FF2B5EF4-FFF2-40B4-BE49-F238E27FC236}">
                    <a16:creationId xmlns:a16="http://schemas.microsoft.com/office/drawing/2014/main" id="{282520E9-4BEE-4EA7-A994-0A13A6AE919E}"/>
                  </a:ext>
                </a:extLst>
              </p:cNvPr>
              <p:cNvSpPr/>
              <p:nvPr/>
            </p:nvSpPr>
            <p:spPr>
              <a:xfrm>
                <a:off x="4491420" y="1070068"/>
                <a:ext cx="86640" cy="86640"/>
              </a:xfrm>
              <a:custGeom>
                <a:avLst/>
                <a:gdLst>
                  <a:gd name="connsiteX0" fmla="*/ 24252 w 38100"/>
                  <a:gd name="connsiteY0" fmla="*/ 9502 h 38100"/>
                  <a:gd name="connsiteX1" fmla="*/ 24252 w 38100"/>
                  <a:gd name="connsiteY1" fmla="*/ 13193 h 38100"/>
                  <a:gd name="connsiteX2" fmla="*/ 24252 w 38100"/>
                  <a:gd name="connsiteY2" fmla="*/ 13193 h 38100"/>
                  <a:gd name="connsiteX3" fmla="*/ 27948 w 38100"/>
                  <a:gd name="connsiteY3" fmla="*/ 16883 h 38100"/>
                  <a:gd name="connsiteX4" fmla="*/ 31634 w 38100"/>
                  <a:gd name="connsiteY4" fmla="*/ 20574 h 38100"/>
                  <a:gd name="connsiteX5" fmla="*/ 35320 w 38100"/>
                  <a:gd name="connsiteY5" fmla="*/ 24264 h 38100"/>
                  <a:gd name="connsiteX6" fmla="*/ 31634 w 38100"/>
                  <a:gd name="connsiteY6" fmla="*/ 20574 h 38100"/>
                  <a:gd name="connsiteX7" fmla="*/ 27948 w 38100"/>
                  <a:gd name="connsiteY7" fmla="*/ 20574 h 38100"/>
                  <a:gd name="connsiteX8" fmla="*/ 20566 w 38100"/>
                  <a:gd name="connsiteY8" fmla="*/ 20574 h 38100"/>
                  <a:gd name="connsiteX9" fmla="*/ 16880 w 38100"/>
                  <a:gd name="connsiteY9" fmla="*/ 20574 h 38100"/>
                  <a:gd name="connsiteX10" fmla="*/ 16880 w 38100"/>
                  <a:gd name="connsiteY10" fmla="*/ 20574 h 38100"/>
                  <a:gd name="connsiteX11" fmla="*/ 16880 w 38100"/>
                  <a:gd name="connsiteY11" fmla="*/ 24264 h 38100"/>
                  <a:gd name="connsiteX12" fmla="*/ 16880 w 38100"/>
                  <a:gd name="connsiteY12" fmla="*/ 27955 h 38100"/>
                  <a:gd name="connsiteX13" fmla="*/ 20566 w 38100"/>
                  <a:gd name="connsiteY13" fmla="*/ 27955 h 38100"/>
                  <a:gd name="connsiteX14" fmla="*/ 20566 w 38100"/>
                  <a:gd name="connsiteY14" fmla="*/ 27955 h 38100"/>
                  <a:gd name="connsiteX15" fmla="*/ 16880 w 38100"/>
                  <a:gd name="connsiteY15" fmla="*/ 35336 h 38100"/>
                  <a:gd name="connsiteX16" fmla="*/ 13184 w 38100"/>
                  <a:gd name="connsiteY16" fmla="*/ 31646 h 38100"/>
                  <a:gd name="connsiteX17" fmla="*/ 9498 w 38100"/>
                  <a:gd name="connsiteY17" fmla="*/ 20574 h 38100"/>
                  <a:gd name="connsiteX18" fmla="*/ 5812 w 38100"/>
                  <a:gd name="connsiteY18" fmla="*/ 16883 h 38100"/>
                  <a:gd name="connsiteX19" fmla="*/ 5812 w 38100"/>
                  <a:gd name="connsiteY19" fmla="*/ 13193 h 38100"/>
                  <a:gd name="connsiteX20" fmla="*/ 9498 w 38100"/>
                  <a:gd name="connsiteY20" fmla="*/ 5812 h 38100"/>
                  <a:gd name="connsiteX21" fmla="*/ 13184 w 38100"/>
                  <a:gd name="connsiteY21" fmla="*/ 5812 h 38100"/>
                  <a:gd name="connsiteX22" fmla="*/ 16880 w 38100"/>
                  <a:gd name="connsiteY22" fmla="*/ 5812 h 38100"/>
                  <a:gd name="connsiteX23" fmla="*/ 20566 w 38100"/>
                  <a:gd name="connsiteY23" fmla="*/ 5812 h 38100"/>
                  <a:gd name="connsiteX24" fmla="*/ 24252 w 38100"/>
                  <a:gd name="connsiteY24" fmla="*/ 9502 h 38100"/>
                  <a:gd name="connsiteX25" fmla="*/ 24252 w 38100"/>
                  <a:gd name="connsiteY25" fmla="*/ 9502 h 38100"/>
                  <a:gd name="connsiteX26" fmla="*/ 24252 w 38100"/>
                  <a:gd name="connsiteY26" fmla="*/ 9502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8100" h="38100">
                    <a:moveTo>
                      <a:pt x="24252" y="9502"/>
                    </a:moveTo>
                    <a:lnTo>
                      <a:pt x="24252" y="13193"/>
                    </a:lnTo>
                    <a:lnTo>
                      <a:pt x="24252" y="13193"/>
                    </a:lnTo>
                    <a:lnTo>
                      <a:pt x="27948" y="16883"/>
                    </a:lnTo>
                    <a:lnTo>
                      <a:pt x="31634" y="20574"/>
                    </a:lnTo>
                    <a:lnTo>
                      <a:pt x="35320" y="24264"/>
                    </a:lnTo>
                    <a:lnTo>
                      <a:pt x="31634" y="20574"/>
                    </a:lnTo>
                    <a:lnTo>
                      <a:pt x="27948" y="20574"/>
                    </a:lnTo>
                    <a:lnTo>
                      <a:pt x="20566" y="20574"/>
                    </a:lnTo>
                    <a:lnTo>
                      <a:pt x="16880" y="20574"/>
                    </a:lnTo>
                    <a:lnTo>
                      <a:pt x="16880" y="20574"/>
                    </a:lnTo>
                    <a:lnTo>
                      <a:pt x="16880" y="24264"/>
                    </a:lnTo>
                    <a:lnTo>
                      <a:pt x="16880" y="27955"/>
                    </a:lnTo>
                    <a:lnTo>
                      <a:pt x="20566" y="27955"/>
                    </a:lnTo>
                    <a:lnTo>
                      <a:pt x="20566" y="27955"/>
                    </a:lnTo>
                    <a:lnTo>
                      <a:pt x="16880" y="35336"/>
                    </a:lnTo>
                    <a:lnTo>
                      <a:pt x="13184" y="31646"/>
                    </a:lnTo>
                    <a:lnTo>
                      <a:pt x="9498" y="20574"/>
                    </a:lnTo>
                    <a:lnTo>
                      <a:pt x="5812" y="16883"/>
                    </a:lnTo>
                    <a:lnTo>
                      <a:pt x="5812" y="13193"/>
                    </a:lnTo>
                    <a:lnTo>
                      <a:pt x="9498" y="5812"/>
                    </a:lnTo>
                    <a:lnTo>
                      <a:pt x="13184" y="5812"/>
                    </a:lnTo>
                    <a:lnTo>
                      <a:pt x="16880" y="5812"/>
                    </a:lnTo>
                    <a:lnTo>
                      <a:pt x="20566" y="5812"/>
                    </a:lnTo>
                    <a:lnTo>
                      <a:pt x="24252" y="9502"/>
                    </a:lnTo>
                    <a:lnTo>
                      <a:pt x="24252" y="9502"/>
                    </a:lnTo>
                    <a:lnTo>
                      <a:pt x="24252" y="9502"/>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48" name="Freeform: Shape 147">
                <a:extLst>
                  <a:ext uri="{FF2B5EF4-FFF2-40B4-BE49-F238E27FC236}">
                    <a16:creationId xmlns:a16="http://schemas.microsoft.com/office/drawing/2014/main" id="{43E9509C-C297-4FE1-A82F-195177FE2327}"/>
                  </a:ext>
                </a:extLst>
              </p:cNvPr>
              <p:cNvSpPr/>
              <p:nvPr/>
            </p:nvSpPr>
            <p:spPr>
              <a:xfrm>
                <a:off x="4608857" y="1086853"/>
                <a:ext cx="64980" cy="21660"/>
              </a:xfrm>
              <a:custGeom>
                <a:avLst/>
                <a:gdLst>
                  <a:gd name="connsiteX0" fmla="*/ 9498 w 28575"/>
                  <a:gd name="connsiteY0" fmla="*/ 5812 h 9525"/>
                  <a:gd name="connsiteX1" fmla="*/ 16880 w 28575"/>
                  <a:gd name="connsiteY1" fmla="*/ 5812 h 9525"/>
                  <a:gd name="connsiteX2" fmla="*/ 24262 w 28575"/>
                  <a:gd name="connsiteY2" fmla="*/ 5812 h 9525"/>
                  <a:gd name="connsiteX3" fmla="*/ 31634 w 28575"/>
                  <a:gd name="connsiteY3" fmla="*/ 9502 h 9525"/>
                  <a:gd name="connsiteX4" fmla="*/ 31634 w 28575"/>
                  <a:gd name="connsiteY4" fmla="*/ 13193 h 9525"/>
                  <a:gd name="connsiteX5" fmla="*/ 31634 w 28575"/>
                  <a:gd name="connsiteY5" fmla="*/ 9502 h 9525"/>
                  <a:gd name="connsiteX6" fmla="*/ 24262 w 28575"/>
                  <a:gd name="connsiteY6" fmla="*/ 9502 h 9525"/>
                  <a:gd name="connsiteX7" fmla="*/ 16880 w 28575"/>
                  <a:gd name="connsiteY7" fmla="*/ 9502 h 9525"/>
                  <a:gd name="connsiteX8" fmla="*/ 13194 w 28575"/>
                  <a:gd name="connsiteY8" fmla="*/ 9502 h 9525"/>
                  <a:gd name="connsiteX9" fmla="*/ 13194 w 28575"/>
                  <a:gd name="connsiteY9" fmla="*/ 9502 h 9525"/>
                  <a:gd name="connsiteX10" fmla="*/ 9498 w 28575"/>
                  <a:gd name="connsiteY10" fmla="*/ 9502 h 9525"/>
                  <a:gd name="connsiteX11" fmla="*/ 5812 w 28575"/>
                  <a:gd name="connsiteY11" fmla="*/ 13193 h 9525"/>
                  <a:gd name="connsiteX12" fmla="*/ 5812 w 28575"/>
                  <a:gd name="connsiteY12" fmla="*/ 13193 h 9525"/>
                  <a:gd name="connsiteX13" fmla="*/ 5812 w 28575"/>
                  <a:gd name="connsiteY13" fmla="*/ 9502 h 9525"/>
                  <a:gd name="connsiteX14" fmla="*/ 9498 w 28575"/>
                  <a:gd name="connsiteY14" fmla="*/ 5812 h 9525"/>
                  <a:gd name="connsiteX15" fmla="*/ 9498 w 28575"/>
                  <a:gd name="connsiteY15"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75" h="9525">
                    <a:moveTo>
                      <a:pt x="9498" y="5812"/>
                    </a:moveTo>
                    <a:lnTo>
                      <a:pt x="16880" y="5812"/>
                    </a:lnTo>
                    <a:lnTo>
                      <a:pt x="24262" y="5812"/>
                    </a:lnTo>
                    <a:lnTo>
                      <a:pt x="31634" y="9502"/>
                    </a:lnTo>
                    <a:lnTo>
                      <a:pt x="31634" y="13193"/>
                    </a:lnTo>
                    <a:lnTo>
                      <a:pt x="31634" y="9502"/>
                    </a:lnTo>
                    <a:lnTo>
                      <a:pt x="24262" y="9502"/>
                    </a:lnTo>
                    <a:lnTo>
                      <a:pt x="16880" y="9502"/>
                    </a:lnTo>
                    <a:lnTo>
                      <a:pt x="13194" y="9502"/>
                    </a:lnTo>
                    <a:lnTo>
                      <a:pt x="13194" y="9502"/>
                    </a:lnTo>
                    <a:lnTo>
                      <a:pt x="9498" y="9502"/>
                    </a:lnTo>
                    <a:lnTo>
                      <a:pt x="5812" y="13193"/>
                    </a:lnTo>
                    <a:lnTo>
                      <a:pt x="5812" y="13193"/>
                    </a:lnTo>
                    <a:lnTo>
                      <a:pt x="5812" y="9502"/>
                    </a:lnTo>
                    <a:lnTo>
                      <a:pt x="9498" y="5812"/>
                    </a:lnTo>
                    <a:lnTo>
                      <a:pt x="9498" y="5812"/>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49" name="Freeform: Shape 148">
                <a:extLst>
                  <a:ext uri="{FF2B5EF4-FFF2-40B4-BE49-F238E27FC236}">
                    <a16:creationId xmlns:a16="http://schemas.microsoft.com/office/drawing/2014/main" id="{82C0C161-F6EB-4A28-B779-E3DE0EC2A038}"/>
                  </a:ext>
                </a:extLst>
              </p:cNvPr>
              <p:cNvSpPr/>
              <p:nvPr/>
            </p:nvSpPr>
            <p:spPr>
              <a:xfrm>
                <a:off x="4206179" y="1397371"/>
                <a:ext cx="43320" cy="21660"/>
              </a:xfrm>
              <a:custGeom>
                <a:avLst/>
                <a:gdLst>
                  <a:gd name="connsiteX0" fmla="*/ 5812 w 19050"/>
                  <a:gd name="connsiteY0" fmla="*/ 5812 h 9525"/>
                  <a:gd name="connsiteX1" fmla="*/ 9498 w 19050"/>
                  <a:gd name="connsiteY1" fmla="*/ 9503 h 9525"/>
                  <a:gd name="connsiteX2" fmla="*/ 9498 w 19050"/>
                  <a:gd name="connsiteY2" fmla="*/ 5812 h 9525"/>
                  <a:gd name="connsiteX3" fmla="*/ 9498 w 19050"/>
                  <a:gd name="connsiteY3" fmla="*/ 5812 h 9525"/>
                  <a:gd name="connsiteX4" fmla="*/ 16879 w 19050"/>
                  <a:gd name="connsiteY4" fmla="*/ 9503 h 9525"/>
                  <a:gd name="connsiteX5" fmla="*/ 16879 w 19050"/>
                  <a:gd name="connsiteY5" fmla="*/ 9503 h 9525"/>
                  <a:gd name="connsiteX6" fmla="*/ 16879 w 19050"/>
                  <a:gd name="connsiteY6" fmla="*/ 13192 h 9525"/>
                  <a:gd name="connsiteX7" fmla="*/ 16879 w 19050"/>
                  <a:gd name="connsiteY7" fmla="*/ 13192 h 9525"/>
                  <a:gd name="connsiteX8" fmla="*/ 13184 w 19050"/>
                  <a:gd name="connsiteY8" fmla="*/ 13192 h 9525"/>
                  <a:gd name="connsiteX9" fmla="*/ 9498 w 19050"/>
                  <a:gd name="connsiteY9" fmla="*/ 13192 h 9525"/>
                  <a:gd name="connsiteX10" fmla="*/ 5812 w 19050"/>
                  <a:gd name="connsiteY10" fmla="*/ 9503 h 9525"/>
                  <a:gd name="connsiteX11" fmla="*/ 5812 w 19050"/>
                  <a:gd name="connsiteY11" fmla="*/ 5812 h 9525"/>
                  <a:gd name="connsiteX12" fmla="*/ 5812 w 19050"/>
                  <a:gd name="connsiteY12"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 h="9525">
                    <a:moveTo>
                      <a:pt x="5812" y="5812"/>
                    </a:moveTo>
                    <a:lnTo>
                      <a:pt x="9498" y="9503"/>
                    </a:lnTo>
                    <a:lnTo>
                      <a:pt x="9498" y="5812"/>
                    </a:lnTo>
                    <a:lnTo>
                      <a:pt x="9498" y="5812"/>
                    </a:lnTo>
                    <a:lnTo>
                      <a:pt x="16879" y="9503"/>
                    </a:lnTo>
                    <a:lnTo>
                      <a:pt x="16879" y="9503"/>
                    </a:lnTo>
                    <a:lnTo>
                      <a:pt x="16879" y="13192"/>
                    </a:lnTo>
                    <a:lnTo>
                      <a:pt x="16879" y="13192"/>
                    </a:lnTo>
                    <a:lnTo>
                      <a:pt x="13184" y="13192"/>
                    </a:lnTo>
                    <a:lnTo>
                      <a:pt x="9498" y="13192"/>
                    </a:lnTo>
                    <a:lnTo>
                      <a:pt x="5812" y="9503"/>
                    </a:lnTo>
                    <a:lnTo>
                      <a:pt x="5812" y="5812"/>
                    </a:lnTo>
                    <a:lnTo>
                      <a:pt x="5812" y="5812"/>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grpSp>
        <p:sp>
          <p:nvSpPr>
            <p:cNvPr id="113" name="Freeform: Shape 112">
              <a:extLst>
                <a:ext uri="{FF2B5EF4-FFF2-40B4-BE49-F238E27FC236}">
                  <a16:creationId xmlns:a16="http://schemas.microsoft.com/office/drawing/2014/main" id="{62267C38-78D4-48C4-9099-E3FD57BB9856}"/>
                </a:ext>
              </a:extLst>
            </p:cNvPr>
            <p:cNvSpPr/>
            <p:nvPr/>
          </p:nvSpPr>
          <p:spPr>
            <a:xfrm>
              <a:off x="3950943" y="4379727"/>
              <a:ext cx="553302" cy="276651"/>
            </a:xfrm>
            <a:custGeom>
              <a:avLst/>
              <a:gdLst>
                <a:gd name="connsiteX0" fmla="*/ 131243 w 247650"/>
                <a:gd name="connsiteY0" fmla="*/ 105462 h 123825"/>
                <a:gd name="connsiteX1" fmla="*/ 127554 w 247650"/>
                <a:gd name="connsiteY1" fmla="*/ 109148 h 123825"/>
                <a:gd name="connsiteX2" fmla="*/ 123865 w 247650"/>
                <a:gd name="connsiteY2" fmla="*/ 109148 h 123825"/>
                <a:gd name="connsiteX3" fmla="*/ 123865 w 247650"/>
                <a:gd name="connsiteY3" fmla="*/ 109148 h 123825"/>
                <a:gd name="connsiteX4" fmla="*/ 120176 w 247650"/>
                <a:gd name="connsiteY4" fmla="*/ 109148 h 123825"/>
                <a:gd name="connsiteX5" fmla="*/ 120176 w 247650"/>
                <a:gd name="connsiteY5" fmla="*/ 109148 h 123825"/>
                <a:gd name="connsiteX6" fmla="*/ 112798 w 247650"/>
                <a:gd name="connsiteY6" fmla="*/ 105462 h 123825"/>
                <a:gd name="connsiteX7" fmla="*/ 109108 w 247650"/>
                <a:gd name="connsiteY7" fmla="*/ 105462 h 123825"/>
                <a:gd name="connsiteX8" fmla="*/ 109108 w 247650"/>
                <a:gd name="connsiteY8" fmla="*/ 105462 h 123825"/>
                <a:gd name="connsiteX9" fmla="*/ 116487 w 247650"/>
                <a:gd name="connsiteY9" fmla="*/ 101766 h 123825"/>
                <a:gd name="connsiteX10" fmla="*/ 116487 w 247650"/>
                <a:gd name="connsiteY10" fmla="*/ 98080 h 123825"/>
                <a:gd name="connsiteX11" fmla="*/ 116487 w 247650"/>
                <a:gd name="connsiteY11" fmla="*/ 101766 h 123825"/>
                <a:gd name="connsiteX12" fmla="*/ 109108 w 247650"/>
                <a:gd name="connsiteY12" fmla="*/ 105462 h 123825"/>
                <a:gd name="connsiteX13" fmla="*/ 105419 w 247650"/>
                <a:gd name="connsiteY13" fmla="*/ 105462 h 123825"/>
                <a:gd name="connsiteX14" fmla="*/ 109108 w 247650"/>
                <a:gd name="connsiteY14" fmla="*/ 98080 h 123825"/>
                <a:gd name="connsiteX15" fmla="*/ 105419 w 247650"/>
                <a:gd name="connsiteY15" fmla="*/ 94385 h 123825"/>
                <a:gd name="connsiteX16" fmla="*/ 105419 w 247650"/>
                <a:gd name="connsiteY16" fmla="*/ 87003 h 123825"/>
                <a:gd name="connsiteX17" fmla="*/ 101730 w 247650"/>
                <a:gd name="connsiteY17" fmla="*/ 87003 h 123825"/>
                <a:gd name="connsiteX18" fmla="*/ 101730 w 247650"/>
                <a:gd name="connsiteY18" fmla="*/ 83317 h 123825"/>
                <a:gd name="connsiteX19" fmla="*/ 101730 w 247650"/>
                <a:gd name="connsiteY19" fmla="*/ 79621 h 123825"/>
                <a:gd name="connsiteX20" fmla="*/ 98041 w 247650"/>
                <a:gd name="connsiteY20" fmla="*/ 72248 h 123825"/>
                <a:gd name="connsiteX21" fmla="*/ 90663 w 247650"/>
                <a:gd name="connsiteY21" fmla="*/ 68553 h 123825"/>
                <a:gd name="connsiteX22" fmla="*/ 86973 w 247650"/>
                <a:gd name="connsiteY22" fmla="*/ 72248 h 123825"/>
                <a:gd name="connsiteX23" fmla="*/ 86973 w 247650"/>
                <a:gd name="connsiteY23" fmla="*/ 68553 h 123825"/>
                <a:gd name="connsiteX24" fmla="*/ 75906 w 247650"/>
                <a:gd name="connsiteY24" fmla="*/ 64867 h 123825"/>
                <a:gd name="connsiteX25" fmla="*/ 75906 w 247650"/>
                <a:gd name="connsiteY25" fmla="*/ 64867 h 123825"/>
                <a:gd name="connsiteX26" fmla="*/ 75906 w 247650"/>
                <a:gd name="connsiteY26" fmla="*/ 64867 h 123825"/>
                <a:gd name="connsiteX27" fmla="*/ 75906 w 247650"/>
                <a:gd name="connsiteY27" fmla="*/ 61171 h 123825"/>
                <a:gd name="connsiteX28" fmla="*/ 75906 w 247650"/>
                <a:gd name="connsiteY28" fmla="*/ 61171 h 123825"/>
                <a:gd name="connsiteX29" fmla="*/ 75906 w 247650"/>
                <a:gd name="connsiteY29" fmla="*/ 57485 h 123825"/>
                <a:gd name="connsiteX30" fmla="*/ 72217 w 247650"/>
                <a:gd name="connsiteY30" fmla="*/ 53789 h 123825"/>
                <a:gd name="connsiteX31" fmla="*/ 64838 w 247650"/>
                <a:gd name="connsiteY31" fmla="*/ 53789 h 123825"/>
                <a:gd name="connsiteX32" fmla="*/ 61149 w 247650"/>
                <a:gd name="connsiteY32" fmla="*/ 53789 h 123825"/>
                <a:gd name="connsiteX33" fmla="*/ 57460 w 247650"/>
                <a:gd name="connsiteY33" fmla="*/ 57485 h 123825"/>
                <a:gd name="connsiteX34" fmla="*/ 57460 w 247650"/>
                <a:gd name="connsiteY34" fmla="*/ 61171 h 123825"/>
                <a:gd name="connsiteX35" fmla="*/ 61149 w 247650"/>
                <a:gd name="connsiteY35" fmla="*/ 61171 h 123825"/>
                <a:gd name="connsiteX36" fmla="*/ 64838 w 247650"/>
                <a:gd name="connsiteY36" fmla="*/ 57485 h 123825"/>
                <a:gd name="connsiteX37" fmla="*/ 68528 w 247650"/>
                <a:gd name="connsiteY37" fmla="*/ 61171 h 123825"/>
                <a:gd name="connsiteX38" fmla="*/ 64838 w 247650"/>
                <a:gd name="connsiteY38" fmla="*/ 57485 h 123825"/>
                <a:gd name="connsiteX39" fmla="*/ 61149 w 247650"/>
                <a:gd name="connsiteY39" fmla="*/ 61171 h 123825"/>
                <a:gd name="connsiteX40" fmla="*/ 53771 w 247650"/>
                <a:gd name="connsiteY40" fmla="*/ 61171 h 123825"/>
                <a:gd name="connsiteX41" fmla="*/ 50082 w 247650"/>
                <a:gd name="connsiteY41" fmla="*/ 68553 h 123825"/>
                <a:gd name="connsiteX42" fmla="*/ 42704 w 247650"/>
                <a:gd name="connsiteY42" fmla="*/ 72248 h 123825"/>
                <a:gd name="connsiteX43" fmla="*/ 42704 w 247650"/>
                <a:gd name="connsiteY43" fmla="*/ 72248 h 123825"/>
                <a:gd name="connsiteX44" fmla="*/ 42704 w 247650"/>
                <a:gd name="connsiteY44" fmla="*/ 72248 h 123825"/>
                <a:gd name="connsiteX45" fmla="*/ 42704 w 247650"/>
                <a:gd name="connsiteY45" fmla="*/ 72248 h 123825"/>
                <a:gd name="connsiteX46" fmla="*/ 39014 w 247650"/>
                <a:gd name="connsiteY46" fmla="*/ 72248 h 123825"/>
                <a:gd name="connsiteX47" fmla="*/ 35325 w 247650"/>
                <a:gd name="connsiteY47" fmla="*/ 72248 h 123825"/>
                <a:gd name="connsiteX48" fmla="*/ 27947 w 247650"/>
                <a:gd name="connsiteY48" fmla="*/ 75935 h 123825"/>
                <a:gd name="connsiteX49" fmla="*/ 24258 w 247650"/>
                <a:gd name="connsiteY49" fmla="*/ 79621 h 123825"/>
                <a:gd name="connsiteX50" fmla="*/ 24258 w 247650"/>
                <a:gd name="connsiteY50" fmla="*/ 87003 h 123825"/>
                <a:gd name="connsiteX51" fmla="*/ 24258 w 247650"/>
                <a:gd name="connsiteY51" fmla="*/ 87003 h 123825"/>
                <a:gd name="connsiteX52" fmla="*/ 27947 w 247650"/>
                <a:gd name="connsiteY52" fmla="*/ 87003 h 123825"/>
                <a:gd name="connsiteX53" fmla="*/ 27947 w 247650"/>
                <a:gd name="connsiteY53" fmla="*/ 90698 h 123825"/>
                <a:gd name="connsiteX54" fmla="*/ 24258 w 247650"/>
                <a:gd name="connsiteY54" fmla="*/ 90698 h 123825"/>
                <a:gd name="connsiteX55" fmla="*/ 24258 w 247650"/>
                <a:gd name="connsiteY55" fmla="*/ 90698 h 123825"/>
                <a:gd name="connsiteX56" fmla="*/ 24258 w 247650"/>
                <a:gd name="connsiteY56" fmla="*/ 90698 h 123825"/>
                <a:gd name="connsiteX57" fmla="*/ 20569 w 247650"/>
                <a:gd name="connsiteY57" fmla="*/ 87003 h 123825"/>
                <a:gd name="connsiteX58" fmla="*/ 20569 w 247650"/>
                <a:gd name="connsiteY58" fmla="*/ 87003 h 123825"/>
                <a:gd name="connsiteX59" fmla="*/ 20569 w 247650"/>
                <a:gd name="connsiteY59" fmla="*/ 87003 h 123825"/>
                <a:gd name="connsiteX60" fmla="*/ 24258 w 247650"/>
                <a:gd name="connsiteY60" fmla="*/ 87003 h 123825"/>
                <a:gd name="connsiteX61" fmla="*/ 24258 w 247650"/>
                <a:gd name="connsiteY61" fmla="*/ 87003 h 123825"/>
                <a:gd name="connsiteX62" fmla="*/ 24258 w 247650"/>
                <a:gd name="connsiteY62" fmla="*/ 79621 h 123825"/>
                <a:gd name="connsiteX63" fmla="*/ 24258 w 247650"/>
                <a:gd name="connsiteY63" fmla="*/ 79621 h 123825"/>
                <a:gd name="connsiteX64" fmla="*/ 20569 w 247650"/>
                <a:gd name="connsiteY64" fmla="*/ 75935 h 123825"/>
                <a:gd name="connsiteX65" fmla="*/ 16879 w 247650"/>
                <a:gd name="connsiteY65" fmla="*/ 75935 h 123825"/>
                <a:gd name="connsiteX66" fmla="*/ 13190 w 247650"/>
                <a:gd name="connsiteY66" fmla="*/ 75935 h 123825"/>
                <a:gd name="connsiteX67" fmla="*/ 13190 w 247650"/>
                <a:gd name="connsiteY67" fmla="*/ 72248 h 123825"/>
                <a:gd name="connsiteX68" fmla="*/ 9501 w 247650"/>
                <a:gd name="connsiteY68" fmla="*/ 68553 h 123825"/>
                <a:gd name="connsiteX69" fmla="*/ 5812 w 247650"/>
                <a:gd name="connsiteY69" fmla="*/ 61171 h 123825"/>
                <a:gd name="connsiteX70" fmla="*/ 5812 w 247650"/>
                <a:gd name="connsiteY70" fmla="*/ 53789 h 123825"/>
                <a:gd name="connsiteX71" fmla="*/ 5812 w 247650"/>
                <a:gd name="connsiteY71" fmla="*/ 46407 h 123825"/>
                <a:gd name="connsiteX72" fmla="*/ 5812 w 247650"/>
                <a:gd name="connsiteY72" fmla="*/ 42721 h 123825"/>
                <a:gd name="connsiteX73" fmla="*/ 9501 w 247650"/>
                <a:gd name="connsiteY73" fmla="*/ 35339 h 123825"/>
                <a:gd name="connsiteX74" fmla="*/ 16879 w 247650"/>
                <a:gd name="connsiteY74" fmla="*/ 27957 h 123825"/>
                <a:gd name="connsiteX75" fmla="*/ 24258 w 247650"/>
                <a:gd name="connsiteY75" fmla="*/ 24271 h 123825"/>
                <a:gd name="connsiteX76" fmla="*/ 27947 w 247650"/>
                <a:gd name="connsiteY76" fmla="*/ 24271 h 123825"/>
                <a:gd name="connsiteX77" fmla="*/ 31636 w 247650"/>
                <a:gd name="connsiteY77" fmla="*/ 24271 h 123825"/>
                <a:gd name="connsiteX78" fmla="*/ 46393 w 247650"/>
                <a:gd name="connsiteY78" fmla="*/ 20575 h 123825"/>
                <a:gd name="connsiteX79" fmla="*/ 50082 w 247650"/>
                <a:gd name="connsiteY79" fmla="*/ 16889 h 123825"/>
                <a:gd name="connsiteX80" fmla="*/ 57460 w 247650"/>
                <a:gd name="connsiteY80" fmla="*/ 16889 h 123825"/>
                <a:gd name="connsiteX81" fmla="*/ 64838 w 247650"/>
                <a:gd name="connsiteY81" fmla="*/ 16889 h 123825"/>
                <a:gd name="connsiteX82" fmla="*/ 75906 w 247650"/>
                <a:gd name="connsiteY82" fmla="*/ 20575 h 123825"/>
                <a:gd name="connsiteX83" fmla="*/ 75906 w 247650"/>
                <a:gd name="connsiteY83" fmla="*/ 16889 h 123825"/>
                <a:gd name="connsiteX84" fmla="*/ 75906 w 247650"/>
                <a:gd name="connsiteY84" fmla="*/ 16889 h 123825"/>
                <a:gd name="connsiteX85" fmla="*/ 75906 w 247650"/>
                <a:gd name="connsiteY85" fmla="*/ 13194 h 123825"/>
                <a:gd name="connsiteX86" fmla="*/ 79595 w 247650"/>
                <a:gd name="connsiteY86" fmla="*/ 9507 h 123825"/>
                <a:gd name="connsiteX87" fmla="*/ 79595 w 247650"/>
                <a:gd name="connsiteY87" fmla="*/ 5812 h 123825"/>
                <a:gd name="connsiteX88" fmla="*/ 83284 w 247650"/>
                <a:gd name="connsiteY88" fmla="*/ 5812 h 123825"/>
                <a:gd name="connsiteX89" fmla="*/ 86973 w 247650"/>
                <a:gd name="connsiteY89" fmla="*/ 5812 h 123825"/>
                <a:gd name="connsiteX90" fmla="*/ 83284 w 247650"/>
                <a:gd name="connsiteY90" fmla="*/ 9507 h 123825"/>
                <a:gd name="connsiteX91" fmla="*/ 86973 w 247650"/>
                <a:gd name="connsiteY91" fmla="*/ 9507 h 123825"/>
                <a:gd name="connsiteX92" fmla="*/ 83284 w 247650"/>
                <a:gd name="connsiteY92" fmla="*/ 13194 h 123825"/>
                <a:gd name="connsiteX93" fmla="*/ 83284 w 247650"/>
                <a:gd name="connsiteY93" fmla="*/ 13194 h 123825"/>
                <a:gd name="connsiteX94" fmla="*/ 83284 w 247650"/>
                <a:gd name="connsiteY94" fmla="*/ 13194 h 123825"/>
                <a:gd name="connsiteX95" fmla="*/ 83284 w 247650"/>
                <a:gd name="connsiteY95" fmla="*/ 13194 h 123825"/>
                <a:gd name="connsiteX96" fmla="*/ 83284 w 247650"/>
                <a:gd name="connsiteY96" fmla="*/ 9507 h 123825"/>
                <a:gd name="connsiteX97" fmla="*/ 83284 w 247650"/>
                <a:gd name="connsiteY97" fmla="*/ 9507 h 123825"/>
                <a:gd name="connsiteX98" fmla="*/ 79595 w 247650"/>
                <a:gd name="connsiteY98" fmla="*/ 9507 h 123825"/>
                <a:gd name="connsiteX99" fmla="*/ 79595 w 247650"/>
                <a:gd name="connsiteY99" fmla="*/ 13194 h 123825"/>
                <a:gd name="connsiteX100" fmla="*/ 75906 w 247650"/>
                <a:gd name="connsiteY100" fmla="*/ 20575 h 123825"/>
                <a:gd name="connsiteX101" fmla="*/ 79595 w 247650"/>
                <a:gd name="connsiteY101" fmla="*/ 20575 h 123825"/>
                <a:gd name="connsiteX102" fmla="*/ 83284 w 247650"/>
                <a:gd name="connsiteY102" fmla="*/ 20575 h 123825"/>
                <a:gd name="connsiteX103" fmla="*/ 86973 w 247650"/>
                <a:gd name="connsiteY103" fmla="*/ 20575 h 123825"/>
                <a:gd name="connsiteX104" fmla="*/ 90663 w 247650"/>
                <a:gd name="connsiteY104" fmla="*/ 20575 h 123825"/>
                <a:gd name="connsiteX105" fmla="*/ 90663 w 247650"/>
                <a:gd name="connsiteY105" fmla="*/ 20575 h 123825"/>
                <a:gd name="connsiteX106" fmla="*/ 90663 w 247650"/>
                <a:gd name="connsiteY106" fmla="*/ 20575 h 123825"/>
                <a:gd name="connsiteX107" fmla="*/ 101730 w 247650"/>
                <a:gd name="connsiteY107" fmla="*/ 20575 h 123825"/>
                <a:gd name="connsiteX108" fmla="*/ 109108 w 247650"/>
                <a:gd name="connsiteY108" fmla="*/ 16889 h 123825"/>
                <a:gd name="connsiteX109" fmla="*/ 109108 w 247650"/>
                <a:gd name="connsiteY109" fmla="*/ 16889 h 123825"/>
                <a:gd name="connsiteX110" fmla="*/ 112798 w 247650"/>
                <a:gd name="connsiteY110" fmla="*/ 20575 h 123825"/>
                <a:gd name="connsiteX111" fmla="*/ 112798 w 247650"/>
                <a:gd name="connsiteY111" fmla="*/ 20575 h 123825"/>
                <a:gd name="connsiteX112" fmla="*/ 116487 w 247650"/>
                <a:gd name="connsiteY112" fmla="*/ 24271 h 123825"/>
                <a:gd name="connsiteX113" fmla="*/ 116487 w 247650"/>
                <a:gd name="connsiteY113" fmla="*/ 27957 h 123825"/>
                <a:gd name="connsiteX114" fmla="*/ 120176 w 247650"/>
                <a:gd name="connsiteY114" fmla="*/ 27957 h 123825"/>
                <a:gd name="connsiteX115" fmla="*/ 120176 w 247650"/>
                <a:gd name="connsiteY115" fmla="*/ 27957 h 123825"/>
                <a:gd name="connsiteX116" fmla="*/ 123865 w 247650"/>
                <a:gd name="connsiteY116" fmla="*/ 27957 h 123825"/>
                <a:gd name="connsiteX117" fmla="*/ 127554 w 247650"/>
                <a:gd name="connsiteY117" fmla="*/ 27957 h 123825"/>
                <a:gd name="connsiteX118" fmla="*/ 134932 w 247650"/>
                <a:gd name="connsiteY118" fmla="*/ 24271 h 123825"/>
                <a:gd name="connsiteX119" fmla="*/ 138622 w 247650"/>
                <a:gd name="connsiteY119" fmla="*/ 27957 h 123825"/>
                <a:gd name="connsiteX120" fmla="*/ 149690 w 247650"/>
                <a:gd name="connsiteY120" fmla="*/ 27957 h 123825"/>
                <a:gd name="connsiteX121" fmla="*/ 149690 w 247650"/>
                <a:gd name="connsiteY121" fmla="*/ 27957 h 123825"/>
                <a:gd name="connsiteX122" fmla="*/ 149690 w 247650"/>
                <a:gd name="connsiteY122" fmla="*/ 31643 h 123825"/>
                <a:gd name="connsiteX123" fmla="*/ 149690 w 247650"/>
                <a:gd name="connsiteY123" fmla="*/ 31643 h 123825"/>
                <a:gd name="connsiteX124" fmla="*/ 149690 w 247650"/>
                <a:gd name="connsiteY124" fmla="*/ 27957 h 123825"/>
                <a:gd name="connsiteX125" fmla="*/ 153379 w 247650"/>
                <a:gd name="connsiteY125" fmla="*/ 31643 h 123825"/>
                <a:gd name="connsiteX126" fmla="*/ 153379 w 247650"/>
                <a:gd name="connsiteY126" fmla="*/ 39025 h 123825"/>
                <a:gd name="connsiteX127" fmla="*/ 153379 w 247650"/>
                <a:gd name="connsiteY127" fmla="*/ 39025 h 123825"/>
                <a:gd name="connsiteX128" fmla="*/ 157068 w 247650"/>
                <a:gd name="connsiteY128" fmla="*/ 42721 h 123825"/>
                <a:gd name="connsiteX129" fmla="*/ 164447 w 247650"/>
                <a:gd name="connsiteY129" fmla="*/ 50103 h 123825"/>
                <a:gd name="connsiteX130" fmla="*/ 168136 w 247650"/>
                <a:gd name="connsiteY130" fmla="*/ 57485 h 123825"/>
                <a:gd name="connsiteX131" fmla="*/ 168136 w 247650"/>
                <a:gd name="connsiteY131" fmla="*/ 64867 h 123825"/>
                <a:gd name="connsiteX132" fmla="*/ 171825 w 247650"/>
                <a:gd name="connsiteY132" fmla="*/ 64867 h 123825"/>
                <a:gd name="connsiteX133" fmla="*/ 179203 w 247650"/>
                <a:gd name="connsiteY133" fmla="*/ 64867 h 123825"/>
                <a:gd name="connsiteX134" fmla="*/ 182893 w 247650"/>
                <a:gd name="connsiteY134" fmla="*/ 64867 h 123825"/>
                <a:gd name="connsiteX135" fmla="*/ 190271 w 247650"/>
                <a:gd name="connsiteY135" fmla="*/ 68553 h 123825"/>
                <a:gd name="connsiteX136" fmla="*/ 190271 w 247650"/>
                <a:gd name="connsiteY136" fmla="*/ 68553 h 123825"/>
                <a:gd name="connsiteX137" fmla="*/ 201338 w 247650"/>
                <a:gd name="connsiteY137" fmla="*/ 75935 h 123825"/>
                <a:gd name="connsiteX138" fmla="*/ 205028 w 247650"/>
                <a:gd name="connsiteY138" fmla="*/ 75935 h 123825"/>
                <a:gd name="connsiteX139" fmla="*/ 205028 w 247650"/>
                <a:gd name="connsiteY139" fmla="*/ 75935 h 123825"/>
                <a:gd name="connsiteX140" fmla="*/ 205028 w 247650"/>
                <a:gd name="connsiteY140" fmla="*/ 79621 h 123825"/>
                <a:gd name="connsiteX141" fmla="*/ 208717 w 247650"/>
                <a:gd name="connsiteY141" fmla="*/ 79621 h 123825"/>
                <a:gd name="connsiteX142" fmla="*/ 216095 w 247650"/>
                <a:gd name="connsiteY142" fmla="*/ 72248 h 123825"/>
                <a:gd name="connsiteX143" fmla="*/ 219784 w 247650"/>
                <a:gd name="connsiteY143" fmla="*/ 72248 h 123825"/>
                <a:gd name="connsiteX144" fmla="*/ 223473 w 247650"/>
                <a:gd name="connsiteY144" fmla="*/ 72248 h 123825"/>
                <a:gd name="connsiteX145" fmla="*/ 223473 w 247650"/>
                <a:gd name="connsiteY145" fmla="*/ 72248 h 123825"/>
                <a:gd name="connsiteX146" fmla="*/ 234541 w 247650"/>
                <a:gd name="connsiteY146" fmla="*/ 72248 h 123825"/>
                <a:gd name="connsiteX147" fmla="*/ 234541 w 247650"/>
                <a:gd name="connsiteY147" fmla="*/ 72248 h 123825"/>
                <a:gd name="connsiteX148" fmla="*/ 238230 w 247650"/>
                <a:gd name="connsiteY148" fmla="*/ 68553 h 123825"/>
                <a:gd name="connsiteX149" fmla="*/ 241919 w 247650"/>
                <a:gd name="connsiteY149" fmla="*/ 68553 h 123825"/>
                <a:gd name="connsiteX150" fmla="*/ 241919 w 247650"/>
                <a:gd name="connsiteY150" fmla="*/ 75935 h 123825"/>
                <a:gd name="connsiteX151" fmla="*/ 241919 w 247650"/>
                <a:gd name="connsiteY151" fmla="*/ 79621 h 123825"/>
                <a:gd name="connsiteX152" fmla="*/ 245608 w 247650"/>
                <a:gd name="connsiteY152" fmla="*/ 79621 h 123825"/>
                <a:gd name="connsiteX153" fmla="*/ 245608 w 247650"/>
                <a:gd name="connsiteY153" fmla="*/ 79621 h 123825"/>
                <a:gd name="connsiteX154" fmla="*/ 241919 w 247650"/>
                <a:gd name="connsiteY154" fmla="*/ 83317 h 123825"/>
                <a:gd name="connsiteX155" fmla="*/ 241919 w 247650"/>
                <a:gd name="connsiteY155" fmla="*/ 83317 h 123825"/>
                <a:gd name="connsiteX156" fmla="*/ 238230 w 247650"/>
                <a:gd name="connsiteY156" fmla="*/ 83317 h 123825"/>
                <a:gd name="connsiteX157" fmla="*/ 241919 w 247650"/>
                <a:gd name="connsiteY157" fmla="*/ 79621 h 123825"/>
                <a:gd name="connsiteX158" fmla="*/ 241919 w 247650"/>
                <a:gd name="connsiteY158" fmla="*/ 79621 h 123825"/>
                <a:gd name="connsiteX159" fmla="*/ 238230 w 247650"/>
                <a:gd name="connsiteY159" fmla="*/ 75935 h 123825"/>
                <a:gd name="connsiteX160" fmla="*/ 238230 w 247650"/>
                <a:gd name="connsiteY160" fmla="*/ 72248 h 123825"/>
                <a:gd name="connsiteX161" fmla="*/ 234541 w 247650"/>
                <a:gd name="connsiteY161" fmla="*/ 72248 h 123825"/>
                <a:gd name="connsiteX162" fmla="*/ 234541 w 247650"/>
                <a:gd name="connsiteY162" fmla="*/ 75935 h 123825"/>
                <a:gd name="connsiteX163" fmla="*/ 230852 w 247650"/>
                <a:gd name="connsiteY163" fmla="*/ 72248 h 123825"/>
                <a:gd name="connsiteX164" fmla="*/ 219784 w 247650"/>
                <a:gd name="connsiteY164" fmla="*/ 75935 h 123825"/>
                <a:gd name="connsiteX165" fmla="*/ 216095 w 247650"/>
                <a:gd name="connsiteY165" fmla="*/ 75935 h 123825"/>
                <a:gd name="connsiteX166" fmla="*/ 212406 w 247650"/>
                <a:gd name="connsiteY166" fmla="*/ 79621 h 123825"/>
                <a:gd name="connsiteX167" fmla="*/ 208717 w 247650"/>
                <a:gd name="connsiteY167" fmla="*/ 79621 h 123825"/>
                <a:gd name="connsiteX168" fmla="*/ 208717 w 247650"/>
                <a:gd name="connsiteY168" fmla="*/ 83317 h 123825"/>
                <a:gd name="connsiteX169" fmla="*/ 212406 w 247650"/>
                <a:gd name="connsiteY169" fmla="*/ 87003 h 123825"/>
                <a:gd name="connsiteX170" fmla="*/ 212406 w 247650"/>
                <a:gd name="connsiteY170" fmla="*/ 87003 h 123825"/>
                <a:gd name="connsiteX171" fmla="*/ 212406 w 247650"/>
                <a:gd name="connsiteY171" fmla="*/ 90698 h 123825"/>
                <a:gd name="connsiteX172" fmla="*/ 212406 w 247650"/>
                <a:gd name="connsiteY172" fmla="*/ 90698 h 123825"/>
                <a:gd name="connsiteX173" fmla="*/ 212406 w 247650"/>
                <a:gd name="connsiteY173" fmla="*/ 90698 h 123825"/>
                <a:gd name="connsiteX174" fmla="*/ 212406 w 247650"/>
                <a:gd name="connsiteY174" fmla="*/ 90698 h 123825"/>
                <a:gd name="connsiteX175" fmla="*/ 208717 w 247650"/>
                <a:gd name="connsiteY175" fmla="*/ 94385 h 123825"/>
                <a:gd name="connsiteX176" fmla="*/ 212406 w 247650"/>
                <a:gd name="connsiteY176" fmla="*/ 94385 h 123825"/>
                <a:gd name="connsiteX177" fmla="*/ 212406 w 247650"/>
                <a:gd name="connsiteY177" fmla="*/ 90698 h 123825"/>
                <a:gd name="connsiteX178" fmla="*/ 208717 w 247650"/>
                <a:gd name="connsiteY178" fmla="*/ 94385 h 123825"/>
                <a:gd name="connsiteX179" fmla="*/ 208717 w 247650"/>
                <a:gd name="connsiteY179" fmla="*/ 98080 h 123825"/>
                <a:gd name="connsiteX180" fmla="*/ 205028 w 247650"/>
                <a:gd name="connsiteY180" fmla="*/ 98080 h 123825"/>
                <a:gd name="connsiteX181" fmla="*/ 201338 w 247650"/>
                <a:gd name="connsiteY181" fmla="*/ 101766 h 123825"/>
                <a:gd name="connsiteX182" fmla="*/ 197649 w 247650"/>
                <a:gd name="connsiteY182" fmla="*/ 109148 h 123825"/>
                <a:gd name="connsiteX183" fmla="*/ 193960 w 247650"/>
                <a:gd name="connsiteY183" fmla="*/ 109148 h 123825"/>
                <a:gd name="connsiteX184" fmla="*/ 190271 w 247650"/>
                <a:gd name="connsiteY184" fmla="*/ 112844 h 123825"/>
                <a:gd name="connsiteX185" fmla="*/ 186582 w 247650"/>
                <a:gd name="connsiteY185" fmla="*/ 109148 h 123825"/>
                <a:gd name="connsiteX186" fmla="*/ 179203 w 247650"/>
                <a:gd name="connsiteY186" fmla="*/ 112844 h 123825"/>
                <a:gd name="connsiteX187" fmla="*/ 175514 w 247650"/>
                <a:gd name="connsiteY187" fmla="*/ 116530 h 123825"/>
                <a:gd name="connsiteX188" fmla="*/ 168136 w 247650"/>
                <a:gd name="connsiteY188" fmla="*/ 116530 h 123825"/>
                <a:gd name="connsiteX189" fmla="*/ 168136 w 247650"/>
                <a:gd name="connsiteY189" fmla="*/ 120226 h 123825"/>
                <a:gd name="connsiteX190" fmla="*/ 157068 w 247650"/>
                <a:gd name="connsiteY190" fmla="*/ 120226 h 123825"/>
                <a:gd name="connsiteX191" fmla="*/ 153379 w 247650"/>
                <a:gd name="connsiteY191" fmla="*/ 120226 h 123825"/>
                <a:gd name="connsiteX192" fmla="*/ 146000 w 247650"/>
                <a:gd name="connsiteY192" fmla="*/ 120226 h 123825"/>
                <a:gd name="connsiteX193" fmla="*/ 142311 w 247650"/>
                <a:gd name="connsiteY193" fmla="*/ 120226 h 123825"/>
                <a:gd name="connsiteX194" fmla="*/ 142311 w 247650"/>
                <a:gd name="connsiteY194" fmla="*/ 120226 h 123825"/>
                <a:gd name="connsiteX195" fmla="*/ 134932 w 247650"/>
                <a:gd name="connsiteY195" fmla="*/ 112844 h 123825"/>
                <a:gd name="connsiteX196" fmla="*/ 134932 w 247650"/>
                <a:gd name="connsiteY196" fmla="*/ 112844 h 123825"/>
                <a:gd name="connsiteX197" fmla="*/ 134932 w 247650"/>
                <a:gd name="connsiteY197" fmla="*/ 112844 h 123825"/>
                <a:gd name="connsiteX198" fmla="*/ 131243 w 247650"/>
                <a:gd name="connsiteY198" fmla="*/ 105462 h 123825"/>
                <a:gd name="connsiteX199" fmla="*/ 131243 w 247650"/>
                <a:gd name="connsiteY199" fmla="*/ 105462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247650" h="123825">
                  <a:moveTo>
                    <a:pt x="131243" y="105462"/>
                  </a:moveTo>
                  <a:lnTo>
                    <a:pt x="127554" y="109148"/>
                  </a:lnTo>
                  <a:lnTo>
                    <a:pt x="123865" y="109148"/>
                  </a:lnTo>
                  <a:lnTo>
                    <a:pt x="123865" y="109148"/>
                  </a:lnTo>
                  <a:lnTo>
                    <a:pt x="120176" y="109148"/>
                  </a:lnTo>
                  <a:lnTo>
                    <a:pt x="120176" y="109148"/>
                  </a:lnTo>
                  <a:lnTo>
                    <a:pt x="112798" y="105462"/>
                  </a:lnTo>
                  <a:lnTo>
                    <a:pt x="109108" y="105462"/>
                  </a:lnTo>
                  <a:lnTo>
                    <a:pt x="109108" y="105462"/>
                  </a:lnTo>
                  <a:lnTo>
                    <a:pt x="116487" y="101766"/>
                  </a:lnTo>
                  <a:lnTo>
                    <a:pt x="116487" y="98080"/>
                  </a:lnTo>
                  <a:lnTo>
                    <a:pt x="116487" y="101766"/>
                  </a:lnTo>
                  <a:lnTo>
                    <a:pt x="109108" y="105462"/>
                  </a:lnTo>
                  <a:lnTo>
                    <a:pt x="105419" y="105462"/>
                  </a:lnTo>
                  <a:lnTo>
                    <a:pt x="109108" y="98080"/>
                  </a:lnTo>
                  <a:lnTo>
                    <a:pt x="105419" y="94385"/>
                  </a:lnTo>
                  <a:lnTo>
                    <a:pt x="105419" y="87003"/>
                  </a:lnTo>
                  <a:lnTo>
                    <a:pt x="101730" y="87003"/>
                  </a:lnTo>
                  <a:lnTo>
                    <a:pt x="101730" y="83317"/>
                  </a:lnTo>
                  <a:lnTo>
                    <a:pt x="101730" y="79621"/>
                  </a:lnTo>
                  <a:lnTo>
                    <a:pt x="98041" y="72248"/>
                  </a:lnTo>
                  <a:lnTo>
                    <a:pt x="90663" y="68553"/>
                  </a:lnTo>
                  <a:lnTo>
                    <a:pt x="86973" y="72248"/>
                  </a:lnTo>
                  <a:lnTo>
                    <a:pt x="86973" y="68553"/>
                  </a:lnTo>
                  <a:lnTo>
                    <a:pt x="75906" y="64867"/>
                  </a:lnTo>
                  <a:lnTo>
                    <a:pt x="75906" y="64867"/>
                  </a:lnTo>
                  <a:lnTo>
                    <a:pt x="75906" y="64867"/>
                  </a:lnTo>
                  <a:lnTo>
                    <a:pt x="75906" y="61171"/>
                  </a:lnTo>
                  <a:lnTo>
                    <a:pt x="75906" y="61171"/>
                  </a:lnTo>
                  <a:lnTo>
                    <a:pt x="75906" y="57485"/>
                  </a:lnTo>
                  <a:lnTo>
                    <a:pt x="72217" y="53789"/>
                  </a:lnTo>
                  <a:lnTo>
                    <a:pt x="64838" y="53789"/>
                  </a:lnTo>
                  <a:lnTo>
                    <a:pt x="61149" y="53789"/>
                  </a:lnTo>
                  <a:lnTo>
                    <a:pt x="57460" y="57485"/>
                  </a:lnTo>
                  <a:lnTo>
                    <a:pt x="57460" y="61171"/>
                  </a:lnTo>
                  <a:lnTo>
                    <a:pt x="61149" y="61171"/>
                  </a:lnTo>
                  <a:lnTo>
                    <a:pt x="64838" y="57485"/>
                  </a:lnTo>
                  <a:lnTo>
                    <a:pt x="68528" y="61171"/>
                  </a:lnTo>
                  <a:lnTo>
                    <a:pt x="64838" y="57485"/>
                  </a:lnTo>
                  <a:lnTo>
                    <a:pt x="61149" y="61171"/>
                  </a:lnTo>
                  <a:lnTo>
                    <a:pt x="53771" y="61171"/>
                  </a:lnTo>
                  <a:lnTo>
                    <a:pt x="50082" y="68553"/>
                  </a:lnTo>
                  <a:lnTo>
                    <a:pt x="42704" y="72248"/>
                  </a:lnTo>
                  <a:lnTo>
                    <a:pt x="42704" y="72248"/>
                  </a:lnTo>
                  <a:lnTo>
                    <a:pt x="42704" y="72248"/>
                  </a:lnTo>
                  <a:lnTo>
                    <a:pt x="42704" y="72248"/>
                  </a:lnTo>
                  <a:lnTo>
                    <a:pt x="39014" y="72248"/>
                  </a:lnTo>
                  <a:lnTo>
                    <a:pt x="35325" y="72248"/>
                  </a:lnTo>
                  <a:lnTo>
                    <a:pt x="27947" y="75935"/>
                  </a:lnTo>
                  <a:lnTo>
                    <a:pt x="24258" y="79621"/>
                  </a:lnTo>
                  <a:lnTo>
                    <a:pt x="24258" y="87003"/>
                  </a:lnTo>
                  <a:lnTo>
                    <a:pt x="24258" y="87003"/>
                  </a:lnTo>
                  <a:lnTo>
                    <a:pt x="27947" y="87003"/>
                  </a:lnTo>
                  <a:lnTo>
                    <a:pt x="27947" y="90698"/>
                  </a:lnTo>
                  <a:lnTo>
                    <a:pt x="24258" y="90698"/>
                  </a:lnTo>
                  <a:lnTo>
                    <a:pt x="24258" y="90698"/>
                  </a:lnTo>
                  <a:lnTo>
                    <a:pt x="24258" y="90698"/>
                  </a:lnTo>
                  <a:lnTo>
                    <a:pt x="20569" y="87003"/>
                  </a:lnTo>
                  <a:lnTo>
                    <a:pt x="20569" y="87003"/>
                  </a:lnTo>
                  <a:lnTo>
                    <a:pt x="20569" y="87003"/>
                  </a:lnTo>
                  <a:lnTo>
                    <a:pt x="24258" y="87003"/>
                  </a:lnTo>
                  <a:lnTo>
                    <a:pt x="24258" y="87003"/>
                  </a:lnTo>
                  <a:lnTo>
                    <a:pt x="24258" y="79621"/>
                  </a:lnTo>
                  <a:lnTo>
                    <a:pt x="24258" y="79621"/>
                  </a:lnTo>
                  <a:lnTo>
                    <a:pt x="20569" y="75935"/>
                  </a:lnTo>
                  <a:lnTo>
                    <a:pt x="16879" y="75935"/>
                  </a:lnTo>
                  <a:lnTo>
                    <a:pt x="13190" y="75935"/>
                  </a:lnTo>
                  <a:lnTo>
                    <a:pt x="13190" y="72248"/>
                  </a:lnTo>
                  <a:lnTo>
                    <a:pt x="9501" y="68553"/>
                  </a:lnTo>
                  <a:lnTo>
                    <a:pt x="5812" y="61171"/>
                  </a:lnTo>
                  <a:lnTo>
                    <a:pt x="5812" y="53789"/>
                  </a:lnTo>
                  <a:lnTo>
                    <a:pt x="5812" y="46407"/>
                  </a:lnTo>
                  <a:lnTo>
                    <a:pt x="5812" y="42721"/>
                  </a:lnTo>
                  <a:lnTo>
                    <a:pt x="9501" y="35339"/>
                  </a:lnTo>
                  <a:lnTo>
                    <a:pt x="16879" y="27957"/>
                  </a:lnTo>
                  <a:lnTo>
                    <a:pt x="24258" y="24271"/>
                  </a:lnTo>
                  <a:lnTo>
                    <a:pt x="27947" y="24271"/>
                  </a:lnTo>
                  <a:lnTo>
                    <a:pt x="31636" y="24271"/>
                  </a:lnTo>
                  <a:lnTo>
                    <a:pt x="46393" y="20575"/>
                  </a:lnTo>
                  <a:lnTo>
                    <a:pt x="50082" y="16889"/>
                  </a:lnTo>
                  <a:lnTo>
                    <a:pt x="57460" y="16889"/>
                  </a:lnTo>
                  <a:lnTo>
                    <a:pt x="64838" y="16889"/>
                  </a:lnTo>
                  <a:lnTo>
                    <a:pt x="75906" y="20575"/>
                  </a:lnTo>
                  <a:lnTo>
                    <a:pt x="75906" y="16889"/>
                  </a:lnTo>
                  <a:lnTo>
                    <a:pt x="75906" y="16889"/>
                  </a:lnTo>
                  <a:lnTo>
                    <a:pt x="75906" y="13194"/>
                  </a:lnTo>
                  <a:lnTo>
                    <a:pt x="79595" y="9507"/>
                  </a:lnTo>
                  <a:lnTo>
                    <a:pt x="79595" y="5812"/>
                  </a:lnTo>
                  <a:lnTo>
                    <a:pt x="83284" y="5812"/>
                  </a:lnTo>
                  <a:lnTo>
                    <a:pt x="86973" y="5812"/>
                  </a:lnTo>
                  <a:lnTo>
                    <a:pt x="83284" y="9507"/>
                  </a:lnTo>
                  <a:lnTo>
                    <a:pt x="86973" y="9507"/>
                  </a:lnTo>
                  <a:lnTo>
                    <a:pt x="83284" y="13194"/>
                  </a:lnTo>
                  <a:lnTo>
                    <a:pt x="83284" y="13194"/>
                  </a:lnTo>
                  <a:lnTo>
                    <a:pt x="83284" y="13194"/>
                  </a:lnTo>
                  <a:lnTo>
                    <a:pt x="83284" y="13194"/>
                  </a:lnTo>
                  <a:lnTo>
                    <a:pt x="83284" y="9507"/>
                  </a:lnTo>
                  <a:lnTo>
                    <a:pt x="83284" y="9507"/>
                  </a:lnTo>
                  <a:lnTo>
                    <a:pt x="79595" y="9507"/>
                  </a:lnTo>
                  <a:lnTo>
                    <a:pt x="79595" y="13194"/>
                  </a:lnTo>
                  <a:lnTo>
                    <a:pt x="75906" y="20575"/>
                  </a:lnTo>
                  <a:lnTo>
                    <a:pt x="79595" y="20575"/>
                  </a:lnTo>
                  <a:lnTo>
                    <a:pt x="83284" y="20575"/>
                  </a:lnTo>
                  <a:lnTo>
                    <a:pt x="86973" y="20575"/>
                  </a:lnTo>
                  <a:lnTo>
                    <a:pt x="90663" y="20575"/>
                  </a:lnTo>
                  <a:lnTo>
                    <a:pt x="90663" y="20575"/>
                  </a:lnTo>
                  <a:lnTo>
                    <a:pt x="90663" y="20575"/>
                  </a:lnTo>
                  <a:lnTo>
                    <a:pt x="101730" y="20575"/>
                  </a:lnTo>
                  <a:lnTo>
                    <a:pt x="109108" y="16889"/>
                  </a:lnTo>
                  <a:lnTo>
                    <a:pt x="109108" y="16889"/>
                  </a:lnTo>
                  <a:lnTo>
                    <a:pt x="112798" y="20575"/>
                  </a:lnTo>
                  <a:lnTo>
                    <a:pt x="112798" y="20575"/>
                  </a:lnTo>
                  <a:lnTo>
                    <a:pt x="116487" y="24271"/>
                  </a:lnTo>
                  <a:lnTo>
                    <a:pt x="116487" y="27957"/>
                  </a:lnTo>
                  <a:lnTo>
                    <a:pt x="120176" y="27957"/>
                  </a:lnTo>
                  <a:lnTo>
                    <a:pt x="120176" y="27957"/>
                  </a:lnTo>
                  <a:lnTo>
                    <a:pt x="123865" y="27957"/>
                  </a:lnTo>
                  <a:lnTo>
                    <a:pt x="127554" y="27957"/>
                  </a:lnTo>
                  <a:lnTo>
                    <a:pt x="134932" y="24271"/>
                  </a:lnTo>
                  <a:lnTo>
                    <a:pt x="138622" y="27957"/>
                  </a:lnTo>
                  <a:lnTo>
                    <a:pt x="149690" y="27957"/>
                  </a:lnTo>
                  <a:lnTo>
                    <a:pt x="149690" y="27957"/>
                  </a:lnTo>
                  <a:lnTo>
                    <a:pt x="149690" y="31643"/>
                  </a:lnTo>
                  <a:lnTo>
                    <a:pt x="149690" y="31643"/>
                  </a:lnTo>
                  <a:lnTo>
                    <a:pt x="149690" y="27957"/>
                  </a:lnTo>
                  <a:lnTo>
                    <a:pt x="153379" y="31643"/>
                  </a:lnTo>
                  <a:lnTo>
                    <a:pt x="153379" y="39025"/>
                  </a:lnTo>
                  <a:lnTo>
                    <a:pt x="153379" y="39025"/>
                  </a:lnTo>
                  <a:lnTo>
                    <a:pt x="157068" y="42721"/>
                  </a:lnTo>
                  <a:lnTo>
                    <a:pt x="164447" y="50103"/>
                  </a:lnTo>
                  <a:lnTo>
                    <a:pt x="168136" y="57485"/>
                  </a:lnTo>
                  <a:lnTo>
                    <a:pt x="168136" y="64867"/>
                  </a:lnTo>
                  <a:lnTo>
                    <a:pt x="171825" y="64867"/>
                  </a:lnTo>
                  <a:lnTo>
                    <a:pt x="179203" y="64867"/>
                  </a:lnTo>
                  <a:lnTo>
                    <a:pt x="182893" y="64867"/>
                  </a:lnTo>
                  <a:lnTo>
                    <a:pt x="190271" y="68553"/>
                  </a:lnTo>
                  <a:lnTo>
                    <a:pt x="190271" y="68553"/>
                  </a:lnTo>
                  <a:lnTo>
                    <a:pt x="201338" y="75935"/>
                  </a:lnTo>
                  <a:lnTo>
                    <a:pt x="205028" y="75935"/>
                  </a:lnTo>
                  <a:lnTo>
                    <a:pt x="205028" y="75935"/>
                  </a:lnTo>
                  <a:lnTo>
                    <a:pt x="205028" y="79621"/>
                  </a:lnTo>
                  <a:lnTo>
                    <a:pt x="208717" y="79621"/>
                  </a:lnTo>
                  <a:lnTo>
                    <a:pt x="216095" y="72248"/>
                  </a:lnTo>
                  <a:lnTo>
                    <a:pt x="219784" y="72248"/>
                  </a:lnTo>
                  <a:lnTo>
                    <a:pt x="223473" y="72248"/>
                  </a:lnTo>
                  <a:lnTo>
                    <a:pt x="223473" y="72248"/>
                  </a:lnTo>
                  <a:lnTo>
                    <a:pt x="234541" y="72248"/>
                  </a:lnTo>
                  <a:lnTo>
                    <a:pt x="234541" y="72248"/>
                  </a:lnTo>
                  <a:lnTo>
                    <a:pt x="238230" y="68553"/>
                  </a:lnTo>
                  <a:lnTo>
                    <a:pt x="241919" y="68553"/>
                  </a:lnTo>
                  <a:lnTo>
                    <a:pt x="241919" y="75935"/>
                  </a:lnTo>
                  <a:lnTo>
                    <a:pt x="241919" y="79621"/>
                  </a:lnTo>
                  <a:lnTo>
                    <a:pt x="245608" y="79621"/>
                  </a:lnTo>
                  <a:lnTo>
                    <a:pt x="245608" y="79621"/>
                  </a:lnTo>
                  <a:lnTo>
                    <a:pt x="241919" y="83317"/>
                  </a:lnTo>
                  <a:lnTo>
                    <a:pt x="241919" y="83317"/>
                  </a:lnTo>
                  <a:lnTo>
                    <a:pt x="238230" y="83317"/>
                  </a:lnTo>
                  <a:lnTo>
                    <a:pt x="241919" y="79621"/>
                  </a:lnTo>
                  <a:lnTo>
                    <a:pt x="241919" y="79621"/>
                  </a:lnTo>
                  <a:lnTo>
                    <a:pt x="238230" y="75935"/>
                  </a:lnTo>
                  <a:lnTo>
                    <a:pt x="238230" y="72248"/>
                  </a:lnTo>
                  <a:lnTo>
                    <a:pt x="234541" y="72248"/>
                  </a:lnTo>
                  <a:lnTo>
                    <a:pt x="234541" y="75935"/>
                  </a:lnTo>
                  <a:lnTo>
                    <a:pt x="230852" y="72248"/>
                  </a:lnTo>
                  <a:lnTo>
                    <a:pt x="219784" y="75935"/>
                  </a:lnTo>
                  <a:lnTo>
                    <a:pt x="216095" y="75935"/>
                  </a:lnTo>
                  <a:lnTo>
                    <a:pt x="212406" y="79621"/>
                  </a:lnTo>
                  <a:lnTo>
                    <a:pt x="208717" y="79621"/>
                  </a:lnTo>
                  <a:lnTo>
                    <a:pt x="208717" y="83317"/>
                  </a:lnTo>
                  <a:lnTo>
                    <a:pt x="212406" y="87003"/>
                  </a:lnTo>
                  <a:lnTo>
                    <a:pt x="212406" y="87003"/>
                  </a:lnTo>
                  <a:lnTo>
                    <a:pt x="212406" y="90698"/>
                  </a:lnTo>
                  <a:lnTo>
                    <a:pt x="212406" y="90698"/>
                  </a:lnTo>
                  <a:lnTo>
                    <a:pt x="212406" y="90698"/>
                  </a:lnTo>
                  <a:lnTo>
                    <a:pt x="212406" y="90698"/>
                  </a:lnTo>
                  <a:lnTo>
                    <a:pt x="208717" y="94385"/>
                  </a:lnTo>
                  <a:lnTo>
                    <a:pt x="212406" y="94385"/>
                  </a:lnTo>
                  <a:lnTo>
                    <a:pt x="212406" y="90698"/>
                  </a:lnTo>
                  <a:lnTo>
                    <a:pt x="208717" y="94385"/>
                  </a:lnTo>
                  <a:lnTo>
                    <a:pt x="208717" y="98080"/>
                  </a:lnTo>
                  <a:lnTo>
                    <a:pt x="205028" y="98080"/>
                  </a:lnTo>
                  <a:lnTo>
                    <a:pt x="201338" y="101766"/>
                  </a:lnTo>
                  <a:lnTo>
                    <a:pt x="197649" y="109148"/>
                  </a:lnTo>
                  <a:lnTo>
                    <a:pt x="193960" y="109148"/>
                  </a:lnTo>
                  <a:lnTo>
                    <a:pt x="190271" y="112844"/>
                  </a:lnTo>
                  <a:lnTo>
                    <a:pt x="186582" y="109148"/>
                  </a:lnTo>
                  <a:lnTo>
                    <a:pt x="179203" y="112844"/>
                  </a:lnTo>
                  <a:lnTo>
                    <a:pt x="175514" y="116530"/>
                  </a:lnTo>
                  <a:lnTo>
                    <a:pt x="168136" y="116530"/>
                  </a:lnTo>
                  <a:lnTo>
                    <a:pt x="168136" y="120226"/>
                  </a:lnTo>
                  <a:lnTo>
                    <a:pt x="157068" y="120226"/>
                  </a:lnTo>
                  <a:lnTo>
                    <a:pt x="153379" y="120226"/>
                  </a:lnTo>
                  <a:lnTo>
                    <a:pt x="146000" y="120226"/>
                  </a:lnTo>
                  <a:lnTo>
                    <a:pt x="142311" y="120226"/>
                  </a:lnTo>
                  <a:lnTo>
                    <a:pt x="142311" y="120226"/>
                  </a:lnTo>
                  <a:lnTo>
                    <a:pt x="134932" y="112844"/>
                  </a:lnTo>
                  <a:lnTo>
                    <a:pt x="134932" y="112844"/>
                  </a:lnTo>
                  <a:lnTo>
                    <a:pt x="134932" y="112844"/>
                  </a:lnTo>
                  <a:lnTo>
                    <a:pt x="131243" y="105462"/>
                  </a:lnTo>
                  <a:lnTo>
                    <a:pt x="131243" y="105462"/>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grpSp>
          <p:nvGrpSpPr>
            <p:cNvPr id="114" name="Group 113">
              <a:extLst>
                <a:ext uri="{FF2B5EF4-FFF2-40B4-BE49-F238E27FC236}">
                  <a16:creationId xmlns:a16="http://schemas.microsoft.com/office/drawing/2014/main" id="{35B01524-14E0-4FE4-8AEA-D9FDD39FDE48}"/>
                </a:ext>
              </a:extLst>
            </p:cNvPr>
            <p:cNvGrpSpPr/>
            <p:nvPr/>
          </p:nvGrpSpPr>
          <p:grpSpPr>
            <a:xfrm>
              <a:off x="3571793" y="4412713"/>
              <a:ext cx="1035266" cy="968488"/>
              <a:chOff x="1043430" y="4343098"/>
              <a:chExt cx="1053711" cy="985743"/>
            </a:xfrm>
            <a:grpFill/>
          </p:grpSpPr>
          <p:sp>
            <p:nvSpPr>
              <p:cNvPr id="125" name="Freeform: Shape 124">
                <a:extLst>
                  <a:ext uri="{FF2B5EF4-FFF2-40B4-BE49-F238E27FC236}">
                    <a16:creationId xmlns:a16="http://schemas.microsoft.com/office/drawing/2014/main" id="{B5156072-1226-4A59-A9BC-389BEE00BF69}"/>
                  </a:ext>
                </a:extLst>
              </p:cNvPr>
              <p:cNvSpPr/>
              <p:nvPr/>
            </p:nvSpPr>
            <p:spPr>
              <a:xfrm>
                <a:off x="1144103" y="4502561"/>
                <a:ext cx="953038" cy="519840"/>
              </a:xfrm>
              <a:custGeom>
                <a:avLst/>
                <a:gdLst>
                  <a:gd name="connsiteX0" fmla="*/ 345216 w 419100"/>
                  <a:gd name="connsiteY0" fmla="*/ 5812 h 228600"/>
                  <a:gd name="connsiteX1" fmla="*/ 345216 w 419100"/>
                  <a:gd name="connsiteY1" fmla="*/ 9498 h 228600"/>
                  <a:gd name="connsiteX2" fmla="*/ 337838 w 419100"/>
                  <a:gd name="connsiteY2" fmla="*/ 16880 h 228600"/>
                  <a:gd name="connsiteX3" fmla="*/ 334149 w 419100"/>
                  <a:gd name="connsiteY3" fmla="*/ 16880 h 228600"/>
                  <a:gd name="connsiteX4" fmla="*/ 337838 w 419100"/>
                  <a:gd name="connsiteY4" fmla="*/ 24261 h 228600"/>
                  <a:gd name="connsiteX5" fmla="*/ 341527 w 419100"/>
                  <a:gd name="connsiteY5" fmla="*/ 24261 h 228600"/>
                  <a:gd name="connsiteX6" fmla="*/ 345216 w 419100"/>
                  <a:gd name="connsiteY6" fmla="*/ 31643 h 228600"/>
                  <a:gd name="connsiteX7" fmla="*/ 348905 w 419100"/>
                  <a:gd name="connsiteY7" fmla="*/ 39025 h 228600"/>
                  <a:gd name="connsiteX8" fmla="*/ 356284 w 419100"/>
                  <a:gd name="connsiteY8" fmla="*/ 39025 h 228600"/>
                  <a:gd name="connsiteX9" fmla="*/ 363662 w 419100"/>
                  <a:gd name="connsiteY9" fmla="*/ 39025 h 228600"/>
                  <a:gd name="connsiteX10" fmla="*/ 367351 w 419100"/>
                  <a:gd name="connsiteY10" fmla="*/ 39025 h 228600"/>
                  <a:gd name="connsiteX11" fmla="*/ 371040 w 419100"/>
                  <a:gd name="connsiteY11" fmla="*/ 39025 h 228600"/>
                  <a:gd name="connsiteX12" fmla="*/ 371040 w 419100"/>
                  <a:gd name="connsiteY12" fmla="*/ 35339 h 228600"/>
                  <a:gd name="connsiteX13" fmla="*/ 374730 w 419100"/>
                  <a:gd name="connsiteY13" fmla="*/ 35339 h 228600"/>
                  <a:gd name="connsiteX14" fmla="*/ 374730 w 419100"/>
                  <a:gd name="connsiteY14" fmla="*/ 39025 h 228600"/>
                  <a:gd name="connsiteX15" fmla="*/ 374730 w 419100"/>
                  <a:gd name="connsiteY15" fmla="*/ 42711 h 228600"/>
                  <a:gd name="connsiteX16" fmla="*/ 371040 w 419100"/>
                  <a:gd name="connsiteY16" fmla="*/ 46407 h 228600"/>
                  <a:gd name="connsiteX17" fmla="*/ 367351 w 419100"/>
                  <a:gd name="connsiteY17" fmla="*/ 46407 h 228600"/>
                  <a:gd name="connsiteX18" fmla="*/ 363662 w 419100"/>
                  <a:gd name="connsiteY18" fmla="*/ 46407 h 228600"/>
                  <a:gd name="connsiteX19" fmla="*/ 359973 w 419100"/>
                  <a:gd name="connsiteY19" fmla="*/ 46407 h 228600"/>
                  <a:gd name="connsiteX20" fmla="*/ 356284 w 419100"/>
                  <a:gd name="connsiteY20" fmla="*/ 46407 h 228600"/>
                  <a:gd name="connsiteX21" fmla="*/ 352594 w 419100"/>
                  <a:gd name="connsiteY21" fmla="*/ 46407 h 228600"/>
                  <a:gd name="connsiteX22" fmla="*/ 348905 w 419100"/>
                  <a:gd name="connsiteY22" fmla="*/ 50093 h 228600"/>
                  <a:gd name="connsiteX23" fmla="*/ 345216 w 419100"/>
                  <a:gd name="connsiteY23" fmla="*/ 50093 h 228600"/>
                  <a:gd name="connsiteX24" fmla="*/ 337838 w 419100"/>
                  <a:gd name="connsiteY24" fmla="*/ 42711 h 228600"/>
                  <a:gd name="connsiteX25" fmla="*/ 323081 w 419100"/>
                  <a:gd name="connsiteY25" fmla="*/ 39025 h 228600"/>
                  <a:gd name="connsiteX26" fmla="*/ 319392 w 419100"/>
                  <a:gd name="connsiteY26" fmla="*/ 39025 h 228600"/>
                  <a:gd name="connsiteX27" fmla="*/ 312014 w 419100"/>
                  <a:gd name="connsiteY27" fmla="*/ 42711 h 228600"/>
                  <a:gd name="connsiteX28" fmla="*/ 308325 w 419100"/>
                  <a:gd name="connsiteY28" fmla="*/ 46407 h 228600"/>
                  <a:gd name="connsiteX29" fmla="*/ 304635 w 419100"/>
                  <a:gd name="connsiteY29" fmla="*/ 46407 h 228600"/>
                  <a:gd name="connsiteX30" fmla="*/ 297257 w 419100"/>
                  <a:gd name="connsiteY30" fmla="*/ 50093 h 228600"/>
                  <a:gd name="connsiteX31" fmla="*/ 293568 w 419100"/>
                  <a:gd name="connsiteY31" fmla="*/ 53789 h 228600"/>
                  <a:gd name="connsiteX32" fmla="*/ 289879 w 419100"/>
                  <a:gd name="connsiteY32" fmla="*/ 50093 h 228600"/>
                  <a:gd name="connsiteX33" fmla="*/ 282500 w 419100"/>
                  <a:gd name="connsiteY33" fmla="*/ 53789 h 228600"/>
                  <a:gd name="connsiteX34" fmla="*/ 278811 w 419100"/>
                  <a:gd name="connsiteY34" fmla="*/ 57475 h 228600"/>
                  <a:gd name="connsiteX35" fmla="*/ 278811 w 419100"/>
                  <a:gd name="connsiteY35" fmla="*/ 64857 h 228600"/>
                  <a:gd name="connsiteX36" fmla="*/ 282500 w 419100"/>
                  <a:gd name="connsiteY36" fmla="*/ 64857 h 228600"/>
                  <a:gd name="connsiteX37" fmla="*/ 282500 w 419100"/>
                  <a:gd name="connsiteY37" fmla="*/ 68553 h 228600"/>
                  <a:gd name="connsiteX38" fmla="*/ 286190 w 419100"/>
                  <a:gd name="connsiteY38" fmla="*/ 68553 h 228600"/>
                  <a:gd name="connsiteX39" fmla="*/ 289879 w 419100"/>
                  <a:gd name="connsiteY39" fmla="*/ 68553 h 228600"/>
                  <a:gd name="connsiteX40" fmla="*/ 293568 w 419100"/>
                  <a:gd name="connsiteY40" fmla="*/ 72239 h 228600"/>
                  <a:gd name="connsiteX41" fmla="*/ 297257 w 419100"/>
                  <a:gd name="connsiteY41" fmla="*/ 75935 h 228600"/>
                  <a:gd name="connsiteX42" fmla="*/ 300946 w 419100"/>
                  <a:gd name="connsiteY42" fmla="*/ 75935 h 228600"/>
                  <a:gd name="connsiteX43" fmla="*/ 300946 w 419100"/>
                  <a:gd name="connsiteY43" fmla="*/ 79621 h 228600"/>
                  <a:gd name="connsiteX44" fmla="*/ 300946 w 419100"/>
                  <a:gd name="connsiteY44" fmla="*/ 83317 h 228600"/>
                  <a:gd name="connsiteX45" fmla="*/ 304635 w 419100"/>
                  <a:gd name="connsiteY45" fmla="*/ 87003 h 228600"/>
                  <a:gd name="connsiteX46" fmla="*/ 308325 w 419100"/>
                  <a:gd name="connsiteY46" fmla="*/ 87003 h 228600"/>
                  <a:gd name="connsiteX47" fmla="*/ 312014 w 419100"/>
                  <a:gd name="connsiteY47" fmla="*/ 90689 h 228600"/>
                  <a:gd name="connsiteX48" fmla="*/ 315703 w 419100"/>
                  <a:gd name="connsiteY48" fmla="*/ 94384 h 228600"/>
                  <a:gd name="connsiteX49" fmla="*/ 315703 w 419100"/>
                  <a:gd name="connsiteY49" fmla="*/ 101766 h 228600"/>
                  <a:gd name="connsiteX50" fmla="*/ 319392 w 419100"/>
                  <a:gd name="connsiteY50" fmla="*/ 105453 h 228600"/>
                  <a:gd name="connsiteX51" fmla="*/ 323081 w 419100"/>
                  <a:gd name="connsiteY51" fmla="*/ 105453 h 228600"/>
                  <a:gd name="connsiteX52" fmla="*/ 323081 w 419100"/>
                  <a:gd name="connsiteY52" fmla="*/ 109148 h 228600"/>
                  <a:gd name="connsiteX53" fmla="*/ 326770 w 419100"/>
                  <a:gd name="connsiteY53" fmla="*/ 109148 h 228600"/>
                  <a:gd name="connsiteX54" fmla="*/ 330460 w 419100"/>
                  <a:gd name="connsiteY54" fmla="*/ 109148 h 228600"/>
                  <a:gd name="connsiteX55" fmla="*/ 345216 w 419100"/>
                  <a:gd name="connsiteY55" fmla="*/ 109148 h 228600"/>
                  <a:gd name="connsiteX56" fmla="*/ 348905 w 419100"/>
                  <a:gd name="connsiteY56" fmla="*/ 109148 h 228600"/>
                  <a:gd name="connsiteX57" fmla="*/ 352594 w 419100"/>
                  <a:gd name="connsiteY57" fmla="*/ 109148 h 228600"/>
                  <a:gd name="connsiteX58" fmla="*/ 356284 w 419100"/>
                  <a:gd name="connsiteY58" fmla="*/ 112835 h 228600"/>
                  <a:gd name="connsiteX59" fmla="*/ 359973 w 419100"/>
                  <a:gd name="connsiteY59" fmla="*/ 112835 h 228600"/>
                  <a:gd name="connsiteX60" fmla="*/ 359973 w 419100"/>
                  <a:gd name="connsiteY60" fmla="*/ 109148 h 228600"/>
                  <a:gd name="connsiteX61" fmla="*/ 367351 w 419100"/>
                  <a:gd name="connsiteY61" fmla="*/ 112835 h 228600"/>
                  <a:gd name="connsiteX62" fmla="*/ 374730 w 419100"/>
                  <a:gd name="connsiteY62" fmla="*/ 116530 h 228600"/>
                  <a:gd name="connsiteX63" fmla="*/ 371040 w 419100"/>
                  <a:gd name="connsiteY63" fmla="*/ 120216 h 228600"/>
                  <a:gd name="connsiteX64" fmla="*/ 371040 w 419100"/>
                  <a:gd name="connsiteY64" fmla="*/ 123912 h 228600"/>
                  <a:gd name="connsiteX65" fmla="*/ 371040 w 419100"/>
                  <a:gd name="connsiteY65" fmla="*/ 127598 h 228600"/>
                  <a:gd name="connsiteX66" fmla="*/ 374730 w 419100"/>
                  <a:gd name="connsiteY66" fmla="*/ 127598 h 228600"/>
                  <a:gd name="connsiteX67" fmla="*/ 389487 w 419100"/>
                  <a:gd name="connsiteY67" fmla="*/ 134980 h 228600"/>
                  <a:gd name="connsiteX68" fmla="*/ 393176 w 419100"/>
                  <a:gd name="connsiteY68" fmla="*/ 138666 h 228600"/>
                  <a:gd name="connsiteX69" fmla="*/ 393176 w 419100"/>
                  <a:gd name="connsiteY69" fmla="*/ 160812 h 228600"/>
                  <a:gd name="connsiteX70" fmla="*/ 393176 w 419100"/>
                  <a:gd name="connsiteY70" fmla="*/ 164508 h 228600"/>
                  <a:gd name="connsiteX71" fmla="*/ 396865 w 419100"/>
                  <a:gd name="connsiteY71" fmla="*/ 179271 h 228600"/>
                  <a:gd name="connsiteX72" fmla="*/ 393176 w 419100"/>
                  <a:gd name="connsiteY72" fmla="*/ 179271 h 228600"/>
                  <a:gd name="connsiteX73" fmla="*/ 389487 w 419100"/>
                  <a:gd name="connsiteY73" fmla="*/ 179271 h 228600"/>
                  <a:gd name="connsiteX74" fmla="*/ 385798 w 419100"/>
                  <a:gd name="connsiteY74" fmla="*/ 179271 h 228600"/>
                  <a:gd name="connsiteX75" fmla="*/ 382109 w 419100"/>
                  <a:gd name="connsiteY75" fmla="*/ 175576 h 228600"/>
                  <a:gd name="connsiteX76" fmla="*/ 378419 w 419100"/>
                  <a:gd name="connsiteY76" fmla="*/ 175576 h 228600"/>
                  <a:gd name="connsiteX77" fmla="*/ 374730 w 419100"/>
                  <a:gd name="connsiteY77" fmla="*/ 175576 h 228600"/>
                  <a:gd name="connsiteX78" fmla="*/ 371040 w 419100"/>
                  <a:gd name="connsiteY78" fmla="*/ 175576 h 228600"/>
                  <a:gd name="connsiteX79" fmla="*/ 367351 w 419100"/>
                  <a:gd name="connsiteY79" fmla="*/ 179271 h 228600"/>
                  <a:gd name="connsiteX80" fmla="*/ 363662 w 419100"/>
                  <a:gd name="connsiteY80" fmla="*/ 179271 h 228600"/>
                  <a:gd name="connsiteX81" fmla="*/ 359973 w 419100"/>
                  <a:gd name="connsiteY81" fmla="*/ 182958 h 228600"/>
                  <a:gd name="connsiteX82" fmla="*/ 356284 w 419100"/>
                  <a:gd name="connsiteY82" fmla="*/ 182958 h 228600"/>
                  <a:gd name="connsiteX83" fmla="*/ 352594 w 419100"/>
                  <a:gd name="connsiteY83" fmla="*/ 182958 h 228600"/>
                  <a:gd name="connsiteX84" fmla="*/ 348905 w 419100"/>
                  <a:gd name="connsiteY84" fmla="*/ 182958 h 228600"/>
                  <a:gd name="connsiteX85" fmla="*/ 348905 w 419100"/>
                  <a:gd name="connsiteY85" fmla="*/ 179271 h 228600"/>
                  <a:gd name="connsiteX86" fmla="*/ 345216 w 419100"/>
                  <a:gd name="connsiteY86" fmla="*/ 179271 h 228600"/>
                  <a:gd name="connsiteX87" fmla="*/ 334149 w 419100"/>
                  <a:gd name="connsiteY87" fmla="*/ 171890 h 228600"/>
                  <a:gd name="connsiteX88" fmla="*/ 330460 w 419100"/>
                  <a:gd name="connsiteY88" fmla="*/ 171890 h 228600"/>
                  <a:gd name="connsiteX89" fmla="*/ 326770 w 419100"/>
                  <a:gd name="connsiteY89" fmla="*/ 160812 h 228600"/>
                  <a:gd name="connsiteX90" fmla="*/ 323081 w 419100"/>
                  <a:gd name="connsiteY90" fmla="*/ 160812 h 228600"/>
                  <a:gd name="connsiteX91" fmla="*/ 315703 w 419100"/>
                  <a:gd name="connsiteY91" fmla="*/ 149744 h 228600"/>
                  <a:gd name="connsiteX92" fmla="*/ 315703 w 419100"/>
                  <a:gd name="connsiteY92" fmla="*/ 146048 h 228600"/>
                  <a:gd name="connsiteX93" fmla="*/ 312014 w 419100"/>
                  <a:gd name="connsiteY93" fmla="*/ 142362 h 228600"/>
                  <a:gd name="connsiteX94" fmla="*/ 315703 w 419100"/>
                  <a:gd name="connsiteY94" fmla="*/ 138666 h 228600"/>
                  <a:gd name="connsiteX95" fmla="*/ 312014 w 419100"/>
                  <a:gd name="connsiteY95" fmla="*/ 134980 h 228600"/>
                  <a:gd name="connsiteX96" fmla="*/ 312014 w 419100"/>
                  <a:gd name="connsiteY96" fmla="*/ 131294 h 228600"/>
                  <a:gd name="connsiteX97" fmla="*/ 312014 w 419100"/>
                  <a:gd name="connsiteY97" fmla="*/ 127598 h 228600"/>
                  <a:gd name="connsiteX98" fmla="*/ 308325 w 419100"/>
                  <a:gd name="connsiteY98" fmla="*/ 127598 h 228600"/>
                  <a:gd name="connsiteX99" fmla="*/ 304635 w 419100"/>
                  <a:gd name="connsiteY99" fmla="*/ 123912 h 228600"/>
                  <a:gd name="connsiteX100" fmla="*/ 297257 w 419100"/>
                  <a:gd name="connsiteY100" fmla="*/ 116530 h 228600"/>
                  <a:gd name="connsiteX101" fmla="*/ 293568 w 419100"/>
                  <a:gd name="connsiteY101" fmla="*/ 112835 h 228600"/>
                  <a:gd name="connsiteX102" fmla="*/ 289879 w 419100"/>
                  <a:gd name="connsiteY102" fmla="*/ 112835 h 228600"/>
                  <a:gd name="connsiteX103" fmla="*/ 286190 w 419100"/>
                  <a:gd name="connsiteY103" fmla="*/ 112835 h 228600"/>
                  <a:gd name="connsiteX104" fmla="*/ 282500 w 419100"/>
                  <a:gd name="connsiteY104" fmla="*/ 109148 h 228600"/>
                  <a:gd name="connsiteX105" fmla="*/ 278811 w 419100"/>
                  <a:gd name="connsiteY105" fmla="*/ 109148 h 228600"/>
                  <a:gd name="connsiteX106" fmla="*/ 271433 w 419100"/>
                  <a:gd name="connsiteY106" fmla="*/ 105453 h 228600"/>
                  <a:gd name="connsiteX107" fmla="*/ 267744 w 419100"/>
                  <a:gd name="connsiteY107" fmla="*/ 105453 h 228600"/>
                  <a:gd name="connsiteX108" fmla="*/ 264055 w 419100"/>
                  <a:gd name="connsiteY108" fmla="*/ 101766 h 228600"/>
                  <a:gd name="connsiteX109" fmla="*/ 260365 w 419100"/>
                  <a:gd name="connsiteY109" fmla="*/ 105453 h 228600"/>
                  <a:gd name="connsiteX110" fmla="*/ 256676 w 419100"/>
                  <a:gd name="connsiteY110" fmla="*/ 105453 h 228600"/>
                  <a:gd name="connsiteX111" fmla="*/ 256676 w 419100"/>
                  <a:gd name="connsiteY111" fmla="*/ 109148 h 228600"/>
                  <a:gd name="connsiteX112" fmla="*/ 249298 w 419100"/>
                  <a:gd name="connsiteY112" fmla="*/ 98071 h 228600"/>
                  <a:gd name="connsiteX113" fmla="*/ 252987 w 419100"/>
                  <a:gd name="connsiteY113" fmla="*/ 98071 h 228600"/>
                  <a:gd name="connsiteX114" fmla="*/ 249298 w 419100"/>
                  <a:gd name="connsiteY114" fmla="*/ 94384 h 228600"/>
                  <a:gd name="connsiteX115" fmla="*/ 249298 w 419100"/>
                  <a:gd name="connsiteY115" fmla="*/ 90689 h 228600"/>
                  <a:gd name="connsiteX116" fmla="*/ 245609 w 419100"/>
                  <a:gd name="connsiteY116" fmla="*/ 90689 h 228600"/>
                  <a:gd name="connsiteX117" fmla="*/ 241920 w 419100"/>
                  <a:gd name="connsiteY117" fmla="*/ 90689 h 228600"/>
                  <a:gd name="connsiteX118" fmla="*/ 238231 w 419100"/>
                  <a:gd name="connsiteY118" fmla="*/ 90689 h 228600"/>
                  <a:gd name="connsiteX119" fmla="*/ 234541 w 419100"/>
                  <a:gd name="connsiteY119" fmla="*/ 94384 h 228600"/>
                  <a:gd name="connsiteX120" fmla="*/ 230852 w 419100"/>
                  <a:gd name="connsiteY120" fmla="*/ 94384 h 228600"/>
                  <a:gd name="connsiteX121" fmla="*/ 227162 w 419100"/>
                  <a:gd name="connsiteY121" fmla="*/ 94384 h 228600"/>
                  <a:gd name="connsiteX122" fmla="*/ 219784 w 419100"/>
                  <a:gd name="connsiteY122" fmla="*/ 94384 h 228600"/>
                  <a:gd name="connsiteX123" fmla="*/ 216095 w 419100"/>
                  <a:gd name="connsiteY123" fmla="*/ 94384 h 228600"/>
                  <a:gd name="connsiteX124" fmla="*/ 212405 w 419100"/>
                  <a:gd name="connsiteY124" fmla="*/ 94384 h 228600"/>
                  <a:gd name="connsiteX125" fmla="*/ 208716 w 419100"/>
                  <a:gd name="connsiteY125" fmla="*/ 94384 h 228600"/>
                  <a:gd name="connsiteX126" fmla="*/ 208716 w 419100"/>
                  <a:gd name="connsiteY126" fmla="*/ 90689 h 228600"/>
                  <a:gd name="connsiteX127" fmla="*/ 205027 w 419100"/>
                  <a:gd name="connsiteY127" fmla="*/ 87003 h 228600"/>
                  <a:gd name="connsiteX128" fmla="*/ 197649 w 419100"/>
                  <a:gd name="connsiteY128" fmla="*/ 87003 h 228600"/>
                  <a:gd name="connsiteX129" fmla="*/ 190270 w 419100"/>
                  <a:gd name="connsiteY129" fmla="*/ 90689 h 228600"/>
                  <a:gd name="connsiteX130" fmla="*/ 186581 w 419100"/>
                  <a:gd name="connsiteY130" fmla="*/ 90689 h 228600"/>
                  <a:gd name="connsiteX131" fmla="*/ 182892 w 419100"/>
                  <a:gd name="connsiteY131" fmla="*/ 94384 h 228600"/>
                  <a:gd name="connsiteX132" fmla="*/ 171825 w 419100"/>
                  <a:gd name="connsiteY132" fmla="*/ 90689 h 228600"/>
                  <a:gd name="connsiteX133" fmla="*/ 168136 w 419100"/>
                  <a:gd name="connsiteY133" fmla="*/ 90689 h 228600"/>
                  <a:gd name="connsiteX134" fmla="*/ 164446 w 419100"/>
                  <a:gd name="connsiteY134" fmla="*/ 87003 h 228600"/>
                  <a:gd name="connsiteX135" fmla="*/ 160757 w 419100"/>
                  <a:gd name="connsiteY135" fmla="*/ 90689 h 228600"/>
                  <a:gd name="connsiteX136" fmla="*/ 153379 w 419100"/>
                  <a:gd name="connsiteY136" fmla="*/ 94384 h 228600"/>
                  <a:gd name="connsiteX137" fmla="*/ 153379 w 419100"/>
                  <a:gd name="connsiteY137" fmla="*/ 98071 h 228600"/>
                  <a:gd name="connsiteX138" fmla="*/ 149690 w 419100"/>
                  <a:gd name="connsiteY138" fmla="*/ 101766 h 228600"/>
                  <a:gd name="connsiteX139" fmla="*/ 149690 w 419100"/>
                  <a:gd name="connsiteY139" fmla="*/ 105453 h 228600"/>
                  <a:gd name="connsiteX140" fmla="*/ 146001 w 419100"/>
                  <a:gd name="connsiteY140" fmla="*/ 109148 h 228600"/>
                  <a:gd name="connsiteX141" fmla="*/ 142311 w 419100"/>
                  <a:gd name="connsiteY141" fmla="*/ 109148 h 228600"/>
                  <a:gd name="connsiteX142" fmla="*/ 138622 w 419100"/>
                  <a:gd name="connsiteY142" fmla="*/ 112835 h 228600"/>
                  <a:gd name="connsiteX143" fmla="*/ 142311 w 419100"/>
                  <a:gd name="connsiteY143" fmla="*/ 112835 h 228600"/>
                  <a:gd name="connsiteX144" fmla="*/ 146001 w 419100"/>
                  <a:gd name="connsiteY144" fmla="*/ 112835 h 228600"/>
                  <a:gd name="connsiteX145" fmla="*/ 138622 w 419100"/>
                  <a:gd name="connsiteY145" fmla="*/ 116530 h 228600"/>
                  <a:gd name="connsiteX146" fmla="*/ 138622 w 419100"/>
                  <a:gd name="connsiteY146" fmla="*/ 112835 h 228600"/>
                  <a:gd name="connsiteX147" fmla="*/ 131244 w 419100"/>
                  <a:gd name="connsiteY147" fmla="*/ 105453 h 228600"/>
                  <a:gd name="connsiteX148" fmla="*/ 127555 w 419100"/>
                  <a:gd name="connsiteY148" fmla="*/ 101766 h 228600"/>
                  <a:gd name="connsiteX149" fmla="*/ 127555 w 419100"/>
                  <a:gd name="connsiteY149" fmla="*/ 98071 h 228600"/>
                  <a:gd name="connsiteX150" fmla="*/ 123866 w 419100"/>
                  <a:gd name="connsiteY150" fmla="*/ 87003 h 228600"/>
                  <a:gd name="connsiteX151" fmla="*/ 123866 w 419100"/>
                  <a:gd name="connsiteY151" fmla="*/ 83317 h 228600"/>
                  <a:gd name="connsiteX152" fmla="*/ 120176 w 419100"/>
                  <a:gd name="connsiteY152" fmla="*/ 83317 h 228600"/>
                  <a:gd name="connsiteX153" fmla="*/ 116487 w 419100"/>
                  <a:gd name="connsiteY153" fmla="*/ 79621 h 228600"/>
                  <a:gd name="connsiteX154" fmla="*/ 109109 w 419100"/>
                  <a:gd name="connsiteY154" fmla="*/ 75935 h 228600"/>
                  <a:gd name="connsiteX155" fmla="*/ 105420 w 419100"/>
                  <a:gd name="connsiteY155" fmla="*/ 72239 h 228600"/>
                  <a:gd name="connsiteX156" fmla="*/ 101731 w 419100"/>
                  <a:gd name="connsiteY156" fmla="*/ 68553 h 228600"/>
                  <a:gd name="connsiteX157" fmla="*/ 101731 w 419100"/>
                  <a:gd name="connsiteY157" fmla="*/ 64857 h 228600"/>
                  <a:gd name="connsiteX158" fmla="*/ 101731 w 419100"/>
                  <a:gd name="connsiteY158" fmla="*/ 57475 h 228600"/>
                  <a:gd name="connsiteX159" fmla="*/ 105420 w 419100"/>
                  <a:gd name="connsiteY159" fmla="*/ 53789 h 228600"/>
                  <a:gd name="connsiteX160" fmla="*/ 101731 w 419100"/>
                  <a:gd name="connsiteY160" fmla="*/ 53789 h 228600"/>
                  <a:gd name="connsiteX161" fmla="*/ 98041 w 419100"/>
                  <a:gd name="connsiteY161" fmla="*/ 53789 h 228600"/>
                  <a:gd name="connsiteX162" fmla="*/ 94352 w 419100"/>
                  <a:gd name="connsiteY162" fmla="*/ 50093 h 228600"/>
                  <a:gd name="connsiteX163" fmla="*/ 83284 w 419100"/>
                  <a:gd name="connsiteY163" fmla="*/ 50093 h 228600"/>
                  <a:gd name="connsiteX164" fmla="*/ 79595 w 419100"/>
                  <a:gd name="connsiteY164" fmla="*/ 50093 h 228600"/>
                  <a:gd name="connsiteX165" fmla="*/ 75906 w 419100"/>
                  <a:gd name="connsiteY165" fmla="*/ 50093 h 228600"/>
                  <a:gd name="connsiteX166" fmla="*/ 68527 w 419100"/>
                  <a:gd name="connsiteY166" fmla="*/ 50093 h 228600"/>
                  <a:gd name="connsiteX167" fmla="*/ 68527 w 419100"/>
                  <a:gd name="connsiteY167" fmla="*/ 53789 h 228600"/>
                  <a:gd name="connsiteX168" fmla="*/ 64838 w 419100"/>
                  <a:gd name="connsiteY168" fmla="*/ 53789 h 228600"/>
                  <a:gd name="connsiteX169" fmla="*/ 61149 w 419100"/>
                  <a:gd name="connsiteY169" fmla="*/ 53789 h 228600"/>
                  <a:gd name="connsiteX170" fmla="*/ 57460 w 419100"/>
                  <a:gd name="connsiteY170" fmla="*/ 57475 h 228600"/>
                  <a:gd name="connsiteX171" fmla="*/ 50081 w 419100"/>
                  <a:gd name="connsiteY171" fmla="*/ 61171 h 228600"/>
                  <a:gd name="connsiteX172" fmla="*/ 46393 w 419100"/>
                  <a:gd name="connsiteY172" fmla="*/ 64857 h 228600"/>
                  <a:gd name="connsiteX173" fmla="*/ 39014 w 419100"/>
                  <a:gd name="connsiteY173" fmla="*/ 68553 h 228600"/>
                  <a:gd name="connsiteX174" fmla="*/ 35325 w 419100"/>
                  <a:gd name="connsiteY174" fmla="*/ 68553 h 228600"/>
                  <a:gd name="connsiteX175" fmla="*/ 31636 w 419100"/>
                  <a:gd name="connsiteY175" fmla="*/ 72239 h 228600"/>
                  <a:gd name="connsiteX176" fmla="*/ 27947 w 419100"/>
                  <a:gd name="connsiteY176" fmla="*/ 75935 h 228600"/>
                  <a:gd name="connsiteX177" fmla="*/ 20568 w 419100"/>
                  <a:gd name="connsiteY177" fmla="*/ 79621 h 228600"/>
                  <a:gd name="connsiteX178" fmla="*/ 16879 w 419100"/>
                  <a:gd name="connsiteY178" fmla="*/ 83317 h 228600"/>
                  <a:gd name="connsiteX179" fmla="*/ 13190 w 419100"/>
                  <a:gd name="connsiteY179" fmla="*/ 83317 h 228600"/>
                  <a:gd name="connsiteX180" fmla="*/ 9501 w 419100"/>
                  <a:gd name="connsiteY180" fmla="*/ 87003 h 228600"/>
                  <a:gd name="connsiteX181" fmla="*/ 5812 w 419100"/>
                  <a:gd name="connsiteY181" fmla="*/ 90689 h 228600"/>
                  <a:gd name="connsiteX182" fmla="*/ 5812 w 419100"/>
                  <a:gd name="connsiteY182" fmla="*/ 94384 h 228600"/>
                  <a:gd name="connsiteX183" fmla="*/ 5812 w 419100"/>
                  <a:gd name="connsiteY183" fmla="*/ 98071 h 228600"/>
                  <a:gd name="connsiteX184" fmla="*/ 5812 w 419100"/>
                  <a:gd name="connsiteY184" fmla="*/ 101766 h 228600"/>
                  <a:gd name="connsiteX185" fmla="*/ 9501 w 419100"/>
                  <a:gd name="connsiteY185" fmla="*/ 109148 h 228600"/>
                  <a:gd name="connsiteX186" fmla="*/ 13190 w 419100"/>
                  <a:gd name="connsiteY186" fmla="*/ 109148 h 228600"/>
                  <a:gd name="connsiteX187" fmla="*/ 16879 w 419100"/>
                  <a:gd name="connsiteY187" fmla="*/ 112835 h 228600"/>
                  <a:gd name="connsiteX188" fmla="*/ 20568 w 419100"/>
                  <a:gd name="connsiteY188" fmla="*/ 116530 h 228600"/>
                  <a:gd name="connsiteX189" fmla="*/ 27947 w 419100"/>
                  <a:gd name="connsiteY189" fmla="*/ 120216 h 228600"/>
                  <a:gd name="connsiteX190" fmla="*/ 27947 w 419100"/>
                  <a:gd name="connsiteY190" fmla="*/ 123912 h 228600"/>
                  <a:gd name="connsiteX191" fmla="*/ 31636 w 419100"/>
                  <a:gd name="connsiteY191" fmla="*/ 123912 h 228600"/>
                  <a:gd name="connsiteX192" fmla="*/ 35325 w 419100"/>
                  <a:gd name="connsiteY192" fmla="*/ 127598 h 228600"/>
                  <a:gd name="connsiteX193" fmla="*/ 39014 w 419100"/>
                  <a:gd name="connsiteY193" fmla="*/ 131294 h 228600"/>
                  <a:gd name="connsiteX194" fmla="*/ 39014 w 419100"/>
                  <a:gd name="connsiteY194" fmla="*/ 134980 h 228600"/>
                  <a:gd name="connsiteX195" fmla="*/ 42703 w 419100"/>
                  <a:gd name="connsiteY195" fmla="*/ 138666 h 228600"/>
                  <a:gd name="connsiteX196" fmla="*/ 42703 w 419100"/>
                  <a:gd name="connsiteY196" fmla="*/ 142362 h 228600"/>
                  <a:gd name="connsiteX197" fmla="*/ 46393 w 419100"/>
                  <a:gd name="connsiteY197" fmla="*/ 146048 h 228600"/>
                  <a:gd name="connsiteX198" fmla="*/ 46393 w 419100"/>
                  <a:gd name="connsiteY198" fmla="*/ 149744 h 228600"/>
                  <a:gd name="connsiteX199" fmla="*/ 50081 w 419100"/>
                  <a:gd name="connsiteY199" fmla="*/ 153430 h 228600"/>
                  <a:gd name="connsiteX200" fmla="*/ 53771 w 419100"/>
                  <a:gd name="connsiteY200" fmla="*/ 157126 h 228600"/>
                  <a:gd name="connsiteX201" fmla="*/ 61149 w 419100"/>
                  <a:gd name="connsiteY201" fmla="*/ 160812 h 228600"/>
                  <a:gd name="connsiteX202" fmla="*/ 61149 w 419100"/>
                  <a:gd name="connsiteY202" fmla="*/ 164508 h 228600"/>
                  <a:gd name="connsiteX203" fmla="*/ 64838 w 419100"/>
                  <a:gd name="connsiteY203" fmla="*/ 164508 h 228600"/>
                  <a:gd name="connsiteX204" fmla="*/ 68527 w 419100"/>
                  <a:gd name="connsiteY204" fmla="*/ 168194 h 228600"/>
                  <a:gd name="connsiteX205" fmla="*/ 68527 w 419100"/>
                  <a:gd name="connsiteY205" fmla="*/ 171890 h 228600"/>
                  <a:gd name="connsiteX206" fmla="*/ 72216 w 419100"/>
                  <a:gd name="connsiteY206" fmla="*/ 171890 h 228600"/>
                  <a:gd name="connsiteX207" fmla="*/ 79595 w 419100"/>
                  <a:gd name="connsiteY207" fmla="*/ 171890 h 228600"/>
                  <a:gd name="connsiteX208" fmla="*/ 83284 w 419100"/>
                  <a:gd name="connsiteY208" fmla="*/ 171890 h 228600"/>
                  <a:gd name="connsiteX209" fmla="*/ 83284 w 419100"/>
                  <a:gd name="connsiteY209" fmla="*/ 168194 h 228600"/>
                  <a:gd name="connsiteX210" fmla="*/ 83284 w 419100"/>
                  <a:gd name="connsiteY210" fmla="*/ 160812 h 228600"/>
                  <a:gd name="connsiteX211" fmla="*/ 86974 w 419100"/>
                  <a:gd name="connsiteY211" fmla="*/ 160812 h 228600"/>
                  <a:gd name="connsiteX212" fmla="*/ 86974 w 419100"/>
                  <a:gd name="connsiteY212" fmla="*/ 168194 h 228600"/>
                  <a:gd name="connsiteX213" fmla="*/ 90663 w 419100"/>
                  <a:gd name="connsiteY213" fmla="*/ 171890 h 228600"/>
                  <a:gd name="connsiteX214" fmla="*/ 94352 w 419100"/>
                  <a:gd name="connsiteY214" fmla="*/ 171890 h 228600"/>
                  <a:gd name="connsiteX215" fmla="*/ 101731 w 419100"/>
                  <a:gd name="connsiteY215" fmla="*/ 171890 h 228600"/>
                  <a:gd name="connsiteX216" fmla="*/ 105420 w 419100"/>
                  <a:gd name="connsiteY216" fmla="*/ 168194 h 228600"/>
                  <a:gd name="connsiteX217" fmla="*/ 105420 w 419100"/>
                  <a:gd name="connsiteY217" fmla="*/ 164508 h 228600"/>
                  <a:gd name="connsiteX218" fmla="*/ 109109 w 419100"/>
                  <a:gd name="connsiteY218" fmla="*/ 164508 h 228600"/>
                  <a:gd name="connsiteX219" fmla="*/ 116487 w 419100"/>
                  <a:gd name="connsiteY219" fmla="*/ 164508 h 228600"/>
                  <a:gd name="connsiteX220" fmla="*/ 120176 w 419100"/>
                  <a:gd name="connsiteY220" fmla="*/ 164508 h 228600"/>
                  <a:gd name="connsiteX221" fmla="*/ 112798 w 419100"/>
                  <a:gd name="connsiteY221" fmla="*/ 160812 h 228600"/>
                  <a:gd name="connsiteX222" fmla="*/ 116487 w 419100"/>
                  <a:gd name="connsiteY222" fmla="*/ 157126 h 228600"/>
                  <a:gd name="connsiteX223" fmla="*/ 123866 w 419100"/>
                  <a:gd name="connsiteY223" fmla="*/ 153430 h 228600"/>
                  <a:gd name="connsiteX224" fmla="*/ 127555 w 419100"/>
                  <a:gd name="connsiteY224" fmla="*/ 153430 h 228600"/>
                  <a:gd name="connsiteX225" fmla="*/ 127555 w 419100"/>
                  <a:gd name="connsiteY225" fmla="*/ 157126 h 228600"/>
                  <a:gd name="connsiteX226" fmla="*/ 138622 w 419100"/>
                  <a:gd name="connsiteY226" fmla="*/ 149744 h 228600"/>
                  <a:gd name="connsiteX227" fmla="*/ 138622 w 419100"/>
                  <a:gd name="connsiteY227" fmla="*/ 146048 h 228600"/>
                  <a:gd name="connsiteX228" fmla="*/ 138622 w 419100"/>
                  <a:gd name="connsiteY228" fmla="*/ 142362 h 228600"/>
                  <a:gd name="connsiteX229" fmla="*/ 142311 w 419100"/>
                  <a:gd name="connsiteY229" fmla="*/ 146048 h 228600"/>
                  <a:gd name="connsiteX230" fmla="*/ 142311 w 419100"/>
                  <a:gd name="connsiteY230" fmla="*/ 149744 h 228600"/>
                  <a:gd name="connsiteX231" fmla="*/ 146001 w 419100"/>
                  <a:gd name="connsiteY231" fmla="*/ 149744 h 228600"/>
                  <a:gd name="connsiteX232" fmla="*/ 142311 w 419100"/>
                  <a:gd name="connsiteY232" fmla="*/ 153430 h 228600"/>
                  <a:gd name="connsiteX233" fmla="*/ 142311 w 419100"/>
                  <a:gd name="connsiteY233" fmla="*/ 160812 h 228600"/>
                  <a:gd name="connsiteX234" fmla="*/ 146001 w 419100"/>
                  <a:gd name="connsiteY234" fmla="*/ 160812 h 228600"/>
                  <a:gd name="connsiteX235" fmla="*/ 142311 w 419100"/>
                  <a:gd name="connsiteY235" fmla="*/ 164508 h 228600"/>
                  <a:gd name="connsiteX236" fmla="*/ 146001 w 419100"/>
                  <a:gd name="connsiteY236" fmla="*/ 168194 h 228600"/>
                  <a:gd name="connsiteX237" fmla="*/ 146001 w 419100"/>
                  <a:gd name="connsiteY237" fmla="*/ 171890 h 228600"/>
                  <a:gd name="connsiteX238" fmla="*/ 142311 w 419100"/>
                  <a:gd name="connsiteY238" fmla="*/ 168194 h 228600"/>
                  <a:gd name="connsiteX239" fmla="*/ 138622 w 419100"/>
                  <a:gd name="connsiteY239" fmla="*/ 171890 h 228600"/>
                  <a:gd name="connsiteX240" fmla="*/ 134933 w 419100"/>
                  <a:gd name="connsiteY240" fmla="*/ 171890 h 228600"/>
                  <a:gd name="connsiteX241" fmla="*/ 138622 w 419100"/>
                  <a:gd name="connsiteY241" fmla="*/ 175576 h 228600"/>
                  <a:gd name="connsiteX242" fmla="*/ 142311 w 419100"/>
                  <a:gd name="connsiteY242" fmla="*/ 179271 h 228600"/>
                  <a:gd name="connsiteX243" fmla="*/ 142311 w 419100"/>
                  <a:gd name="connsiteY243" fmla="*/ 182958 h 228600"/>
                  <a:gd name="connsiteX244" fmla="*/ 146001 w 419100"/>
                  <a:gd name="connsiteY244" fmla="*/ 182958 h 228600"/>
                  <a:gd name="connsiteX245" fmla="*/ 146001 w 419100"/>
                  <a:gd name="connsiteY245" fmla="*/ 190339 h 228600"/>
                  <a:gd name="connsiteX246" fmla="*/ 146001 w 419100"/>
                  <a:gd name="connsiteY246" fmla="*/ 194026 h 228600"/>
                  <a:gd name="connsiteX247" fmla="*/ 149690 w 419100"/>
                  <a:gd name="connsiteY247" fmla="*/ 194026 h 228600"/>
                  <a:gd name="connsiteX248" fmla="*/ 153379 w 419100"/>
                  <a:gd name="connsiteY248" fmla="*/ 197721 h 228600"/>
                  <a:gd name="connsiteX249" fmla="*/ 157068 w 419100"/>
                  <a:gd name="connsiteY249" fmla="*/ 197721 h 228600"/>
                  <a:gd name="connsiteX250" fmla="*/ 157068 w 419100"/>
                  <a:gd name="connsiteY250" fmla="*/ 194026 h 228600"/>
                  <a:gd name="connsiteX251" fmla="*/ 160757 w 419100"/>
                  <a:gd name="connsiteY251" fmla="*/ 194026 h 228600"/>
                  <a:gd name="connsiteX252" fmla="*/ 168136 w 419100"/>
                  <a:gd name="connsiteY252" fmla="*/ 197721 h 228600"/>
                  <a:gd name="connsiteX253" fmla="*/ 171825 w 419100"/>
                  <a:gd name="connsiteY253" fmla="*/ 197721 h 228600"/>
                  <a:gd name="connsiteX254" fmla="*/ 171825 w 419100"/>
                  <a:gd name="connsiteY254" fmla="*/ 201407 h 228600"/>
                  <a:gd name="connsiteX255" fmla="*/ 179203 w 419100"/>
                  <a:gd name="connsiteY255" fmla="*/ 205103 h 228600"/>
                  <a:gd name="connsiteX256" fmla="*/ 179203 w 419100"/>
                  <a:gd name="connsiteY256" fmla="*/ 208789 h 228600"/>
                  <a:gd name="connsiteX257" fmla="*/ 182892 w 419100"/>
                  <a:gd name="connsiteY257" fmla="*/ 208789 h 228600"/>
                  <a:gd name="connsiteX258" fmla="*/ 190270 w 419100"/>
                  <a:gd name="connsiteY258" fmla="*/ 216171 h 228600"/>
                  <a:gd name="connsiteX259" fmla="*/ 193960 w 419100"/>
                  <a:gd name="connsiteY259" fmla="*/ 216171 h 228600"/>
                  <a:gd name="connsiteX260" fmla="*/ 201338 w 419100"/>
                  <a:gd name="connsiteY260" fmla="*/ 216171 h 228600"/>
                  <a:gd name="connsiteX261" fmla="*/ 208716 w 419100"/>
                  <a:gd name="connsiteY261" fmla="*/ 212485 h 228600"/>
                  <a:gd name="connsiteX262" fmla="*/ 212405 w 419100"/>
                  <a:gd name="connsiteY262" fmla="*/ 212485 h 228600"/>
                  <a:gd name="connsiteX263" fmla="*/ 216095 w 419100"/>
                  <a:gd name="connsiteY263" fmla="*/ 208789 h 228600"/>
                  <a:gd name="connsiteX264" fmla="*/ 223473 w 419100"/>
                  <a:gd name="connsiteY264" fmla="*/ 208789 h 228600"/>
                  <a:gd name="connsiteX265" fmla="*/ 227162 w 419100"/>
                  <a:gd name="connsiteY265" fmla="*/ 208789 h 228600"/>
                  <a:gd name="connsiteX266" fmla="*/ 230852 w 419100"/>
                  <a:gd name="connsiteY266" fmla="*/ 212485 h 228600"/>
                  <a:gd name="connsiteX267" fmla="*/ 234541 w 419100"/>
                  <a:gd name="connsiteY267" fmla="*/ 208789 h 228600"/>
                  <a:gd name="connsiteX268" fmla="*/ 238231 w 419100"/>
                  <a:gd name="connsiteY268" fmla="*/ 194026 h 228600"/>
                  <a:gd name="connsiteX269" fmla="*/ 241920 w 419100"/>
                  <a:gd name="connsiteY269" fmla="*/ 194026 h 228600"/>
                  <a:gd name="connsiteX270" fmla="*/ 241920 w 419100"/>
                  <a:gd name="connsiteY270" fmla="*/ 190339 h 228600"/>
                  <a:gd name="connsiteX271" fmla="*/ 241920 w 419100"/>
                  <a:gd name="connsiteY271" fmla="*/ 186644 h 228600"/>
                  <a:gd name="connsiteX272" fmla="*/ 245609 w 419100"/>
                  <a:gd name="connsiteY272" fmla="*/ 186644 h 228600"/>
                  <a:gd name="connsiteX273" fmla="*/ 245609 w 419100"/>
                  <a:gd name="connsiteY273" fmla="*/ 179271 h 228600"/>
                  <a:gd name="connsiteX274" fmla="*/ 245609 w 419100"/>
                  <a:gd name="connsiteY274" fmla="*/ 175576 h 228600"/>
                  <a:gd name="connsiteX275" fmla="*/ 245609 w 419100"/>
                  <a:gd name="connsiteY275" fmla="*/ 171890 h 228600"/>
                  <a:gd name="connsiteX276" fmla="*/ 245609 w 419100"/>
                  <a:gd name="connsiteY276" fmla="*/ 168194 h 228600"/>
                  <a:gd name="connsiteX277" fmla="*/ 245609 w 419100"/>
                  <a:gd name="connsiteY277" fmla="*/ 164508 h 228600"/>
                  <a:gd name="connsiteX278" fmla="*/ 252987 w 419100"/>
                  <a:gd name="connsiteY278" fmla="*/ 168194 h 228600"/>
                  <a:gd name="connsiteX279" fmla="*/ 260365 w 419100"/>
                  <a:gd name="connsiteY279" fmla="*/ 164508 h 228600"/>
                  <a:gd name="connsiteX280" fmla="*/ 264055 w 419100"/>
                  <a:gd name="connsiteY280" fmla="*/ 164508 h 228600"/>
                  <a:gd name="connsiteX281" fmla="*/ 271433 w 419100"/>
                  <a:gd name="connsiteY281" fmla="*/ 157126 h 228600"/>
                  <a:gd name="connsiteX282" fmla="*/ 275122 w 419100"/>
                  <a:gd name="connsiteY282" fmla="*/ 160812 h 228600"/>
                  <a:gd name="connsiteX283" fmla="*/ 278811 w 419100"/>
                  <a:gd name="connsiteY283" fmla="*/ 164508 h 228600"/>
                  <a:gd name="connsiteX284" fmla="*/ 282500 w 419100"/>
                  <a:gd name="connsiteY284" fmla="*/ 168194 h 228600"/>
                  <a:gd name="connsiteX285" fmla="*/ 282500 w 419100"/>
                  <a:gd name="connsiteY285" fmla="*/ 171890 h 228600"/>
                  <a:gd name="connsiteX286" fmla="*/ 286190 w 419100"/>
                  <a:gd name="connsiteY286" fmla="*/ 171890 h 228600"/>
                  <a:gd name="connsiteX287" fmla="*/ 286190 w 419100"/>
                  <a:gd name="connsiteY287" fmla="*/ 175576 h 228600"/>
                  <a:gd name="connsiteX288" fmla="*/ 289879 w 419100"/>
                  <a:gd name="connsiteY288" fmla="*/ 175576 h 228600"/>
                  <a:gd name="connsiteX289" fmla="*/ 293568 w 419100"/>
                  <a:gd name="connsiteY289" fmla="*/ 175576 h 228600"/>
                  <a:gd name="connsiteX290" fmla="*/ 297257 w 419100"/>
                  <a:gd name="connsiteY290" fmla="*/ 179271 h 228600"/>
                  <a:gd name="connsiteX291" fmla="*/ 300946 w 419100"/>
                  <a:gd name="connsiteY291" fmla="*/ 182958 h 228600"/>
                  <a:gd name="connsiteX292" fmla="*/ 308325 w 419100"/>
                  <a:gd name="connsiteY292" fmla="*/ 182958 h 228600"/>
                  <a:gd name="connsiteX293" fmla="*/ 308325 w 419100"/>
                  <a:gd name="connsiteY293" fmla="*/ 186644 h 228600"/>
                  <a:gd name="connsiteX294" fmla="*/ 308325 w 419100"/>
                  <a:gd name="connsiteY294" fmla="*/ 194026 h 228600"/>
                  <a:gd name="connsiteX295" fmla="*/ 315703 w 419100"/>
                  <a:gd name="connsiteY295" fmla="*/ 197721 h 228600"/>
                  <a:gd name="connsiteX296" fmla="*/ 319392 w 419100"/>
                  <a:gd name="connsiteY296" fmla="*/ 197721 h 228600"/>
                  <a:gd name="connsiteX297" fmla="*/ 323081 w 419100"/>
                  <a:gd name="connsiteY297" fmla="*/ 201407 h 228600"/>
                  <a:gd name="connsiteX298" fmla="*/ 326770 w 419100"/>
                  <a:gd name="connsiteY298" fmla="*/ 201407 h 228600"/>
                  <a:gd name="connsiteX299" fmla="*/ 334149 w 419100"/>
                  <a:gd name="connsiteY299" fmla="*/ 205103 h 228600"/>
                  <a:gd name="connsiteX300" fmla="*/ 341527 w 419100"/>
                  <a:gd name="connsiteY300" fmla="*/ 208789 h 228600"/>
                  <a:gd name="connsiteX301" fmla="*/ 348905 w 419100"/>
                  <a:gd name="connsiteY301" fmla="*/ 208789 h 228600"/>
                  <a:gd name="connsiteX302" fmla="*/ 352594 w 419100"/>
                  <a:gd name="connsiteY302" fmla="*/ 212485 h 228600"/>
                  <a:gd name="connsiteX303" fmla="*/ 359973 w 419100"/>
                  <a:gd name="connsiteY303" fmla="*/ 212485 h 228600"/>
                  <a:gd name="connsiteX304" fmla="*/ 371040 w 419100"/>
                  <a:gd name="connsiteY304" fmla="*/ 208789 h 228600"/>
                  <a:gd name="connsiteX305" fmla="*/ 378419 w 419100"/>
                  <a:gd name="connsiteY305" fmla="*/ 205103 h 228600"/>
                  <a:gd name="connsiteX306" fmla="*/ 382109 w 419100"/>
                  <a:gd name="connsiteY306" fmla="*/ 205103 h 228600"/>
                  <a:gd name="connsiteX307" fmla="*/ 385798 w 419100"/>
                  <a:gd name="connsiteY307" fmla="*/ 205103 h 228600"/>
                  <a:gd name="connsiteX308" fmla="*/ 385798 w 419100"/>
                  <a:gd name="connsiteY308" fmla="*/ 208789 h 228600"/>
                  <a:gd name="connsiteX309" fmla="*/ 389487 w 419100"/>
                  <a:gd name="connsiteY309" fmla="*/ 208789 h 228600"/>
                  <a:gd name="connsiteX310" fmla="*/ 393176 w 419100"/>
                  <a:gd name="connsiteY310" fmla="*/ 208789 h 228600"/>
                  <a:gd name="connsiteX311" fmla="*/ 400555 w 419100"/>
                  <a:gd name="connsiteY311" fmla="*/ 212485 h 228600"/>
                  <a:gd name="connsiteX312" fmla="*/ 404244 w 419100"/>
                  <a:gd name="connsiteY312" fmla="*/ 223553 h 228600"/>
                  <a:gd name="connsiteX313" fmla="*/ 404244 w 419100"/>
                  <a:gd name="connsiteY313" fmla="*/ 230935 h 228600"/>
                  <a:gd name="connsiteX314" fmla="*/ 415311 w 419100"/>
                  <a:gd name="connsiteY314" fmla="*/ 230935 h 228600"/>
                  <a:gd name="connsiteX315" fmla="*/ 422690 w 419100"/>
                  <a:gd name="connsiteY315" fmla="*/ 227249 h 228600"/>
                  <a:gd name="connsiteX316" fmla="*/ 419000 w 419100"/>
                  <a:gd name="connsiteY316" fmla="*/ 223553 h 228600"/>
                  <a:gd name="connsiteX317" fmla="*/ 415311 w 419100"/>
                  <a:gd name="connsiteY317" fmla="*/ 223553 h 228600"/>
                  <a:gd name="connsiteX318" fmla="*/ 415311 w 419100"/>
                  <a:gd name="connsiteY318" fmla="*/ 219867 h 228600"/>
                  <a:gd name="connsiteX319" fmla="*/ 419000 w 419100"/>
                  <a:gd name="connsiteY319" fmla="*/ 208789 h 228600"/>
                  <a:gd name="connsiteX320" fmla="*/ 415311 w 419100"/>
                  <a:gd name="connsiteY320" fmla="*/ 197721 h 228600"/>
                  <a:gd name="connsiteX321" fmla="*/ 415311 w 419100"/>
                  <a:gd name="connsiteY321" fmla="*/ 194026 h 228600"/>
                  <a:gd name="connsiteX322" fmla="*/ 422690 w 419100"/>
                  <a:gd name="connsiteY322" fmla="*/ 190339 h 228600"/>
                  <a:gd name="connsiteX323" fmla="*/ 415311 w 419100"/>
                  <a:gd name="connsiteY323" fmla="*/ 179271 h 228600"/>
                  <a:gd name="connsiteX324" fmla="*/ 400555 w 419100"/>
                  <a:gd name="connsiteY324" fmla="*/ 138666 h 228600"/>
                  <a:gd name="connsiteX325" fmla="*/ 393176 w 419100"/>
                  <a:gd name="connsiteY325" fmla="*/ 123912 h 228600"/>
                  <a:gd name="connsiteX326" fmla="*/ 393176 w 419100"/>
                  <a:gd name="connsiteY326" fmla="*/ 120216 h 228600"/>
                  <a:gd name="connsiteX327" fmla="*/ 396865 w 419100"/>
                  <a:gd name="connsiteY327" fmla="*/ 112835 h 228600"/>
                  <a:gd name="connsiteX328" fmla="*/ 400555 w 419100"/>
                  <a:gd name="connsiteY328" fmla="*/ 101766 h 228600"/>
                  <a:gd name="connsiteX329" fmla="*/ 404244 w 419100"/>
                  <a:gd name="connsiteY329" fmla="*/ 94384 h 228600"/>
                  <a:gd name="connsiteX330" fmla="*/ 404244 w 419100"/>
                  <a:gd name="connsiteY330" fmla="*/ 90689 h 228600"/>
                  <a:gd name="connsiteX331" fmla="*/ 400555 w 419100"/>
                  <a:gd name="connsiteY331" fmla="*/ 87003 h 228600"/>
                  <a:gd name="connsiteX332" fmla="*/ 400555 w 419100"/>
                  <a:gd name="connsiteY332" fmla="*/ 79621 h 228600"/>
                  <a:gd name="connsiteX333" fmla="*/ 385798 w 419100"/>
                  <a:gd name="connsiteY333" fmla="*/ 61171 h 228600"/>
                  <a:gd name="connsiteX334" fmla="*/ 382109 w 419100"/>
                  <a:gd name="connsiteY334" fmla="*/ 57475 h 228600"/>
                  <a:gd name="connsiteX335" fmla="*/ 382109 w 419100"/>
                  <a:gd name="connsiteY335" fmla="*/ 53789 h 228600"/>
                  <a:gd name="connsiteX336" fmla="*/ 382109 w 419100"/>
                  <a:gd name="connsiteY336" fmla="*/ 46407 h 228600"/>
                  <a:gd name="connsiteX337" fmla="*/ 382109 w 419100"/>
                  <a:gd name="connsiteY337" fmla="*/ 42711 h 228600"/>
                  <a:gd name="connsiteX338" fmla="*/ 385798 w 419100"/>
                  <a:gd name="connsiteY338" fmla="*/ 35339 h 228600"/>
                  <a:gd name="connsiteX339" fmla="*/ 389487 w 419100"/>
                  <a:gd name="connsiteY339" fmla="*/ 31643 h 228600"/>
                  <a:gd name="connsiteX340" fmla="*/ 393176 w 419100"/>
                  <a:gd name="connsiteY340" fmla="*/ 27957 h 228600"/>
                  <a:gd name="connsiteX341" fmla="*/ 404244 w 419100"/>
                  <a:gd name="connsiteY341" fmla="*/ 24261 h 228600"/>
                  <a:gd name="connsiteX342" fmla="*/ 400555 w 419100"/>
                  <a:gd name="connsiteY342" fmla="*/ 24261 h 228600"/>
                  <a:gd name="connsiteX343" fmla="*/ 393176 w 419100"/>
                  <a:gd name="connsiteY343" fmla="*/ 20575 h 228600"/>
                  <a:gd name="connsiteX344" fmla="*/ 385798 w 419100"/>
                  <a:gd name="connsiteY344" fmla="*/ 20575 h 228600"/>
                  <a:gd name="connsiteX345" fmla="*/ 382109 w 419100"/>
                  <a:gd name="connsiteY345" fmla="*/ 20575 h 228600"/>
                  <a:gd name="connsiteX346" fmla="*/ 378419 w 419100"/>
                  <a:gd name="connsiteY346" fmla="*/ 20575 h 228600"/>
                  <a:gd name="connsiteX347" fmla="*/ 371040 w 419100"/>
                  <a:gd name="connsiteY347" fmla="*/ 16880 h 228600"/>
                  <a:gd name="connsiteX348" fmla="*/ 359973 w 419100"/>
                  <a:gd name="connsiteY348" fmla="*/ 9498 h 228600"/>
                  <a:gd name="connsiteX349" fmla="*/ 356284 w 419100"/>
                  <a:gd name="connsiteY349" fmla="*/ 9498 h 228600"/>
                  <a:gd name="connsiteX350" fmla="*/ 345216 w 419100"/>
                  <a:gd name="connsiteY350" fmla="*/ 5812 h 228600"/>
                  <a:gd name="connsiteX351" fmla="*/ 134933 w 419100"/>
                  <a:gd name="connsiteY351" fmla="*/ 171890 h 228600"/>
                  <a:gd name="connsiteX352" fmla="*/ 138622 w 419100"/>
                  <a:gd name="connsiteY352" fmla="*/ 164508 h 228600"/>
                  <a:gd name="connsiteX353" fmla="*/ 134933 w 419100"/>
                  <a:gd name="connsiteY353" fmla="*/ 168194 h 228600"/>
                  <a:gd name="connsiteX354" fmla="*/ 134933 w 419100"/>
                  <a:gd name="connsiteY354" fmla="*/ 17189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Lst>
                <a:rect l="l" t="t" r="r" b="b"/>
                <a:pathLst>
                  <a:path w="419100" h="228600">
                    <a:moveTo>
                      <a:pt x="345216" y="5812"/>
                    </a:moveTo>
                    <a:lnTo>
                      <a:pt x="345216" y="9498"/>
                    </a:lnTo>
                    <a:lnTo>
                      <a:pt x="337838" y="16880"/>
                    </a:lnTo>
                    <a:lnTo>
                      <a:pt x="334149" y="16880"/>
                    </a:lnTo>
                    <a:lnTo>
                      <a:pt x="337838" y="24261"/>
                    </a:lnTo>
                    <a:lnTo>
                      <a:pt x="341527" y="24261"/>
                    </a:lnTo>
                    <a:lnTo>
                      <a:pt x="345216" y="31643"/>
                    </a:lnTo>
                    <a:lnTo>
                      <a:pt x="348905" y="39025"/>
                    </a:lnTo>
                    <a:lnTo>
                      <a:pt x="356284" y="39025"/>
                    </a:lnTo>
                    <a:lnTo>
                      <a:pt x="363662" y="39025"/>
                    </a:lnTo>
                    <a:lnTo>
                      <a:pt x="367351" y="39025"/>
                    </a:lnTo>
                    <a:lnTo>
                      <a:pt x="371040" y="39025"/>
                    </a:lnTo>
                    <a:lnTo>
                      <a:pt x="371040" y="35339"/>
                    </a:lnTo>
                    <a:lnTo>
                      <a:pt x="374730" y="35339"/>
                    </a:lnTo>
                    <a:lnTo>
                      <a:pt x="374730" y="39025"/>
                    </a:lnTo>
                    <a:lnTo>
                      <a:pt x="374730" y="42711"/>
                    </a:lnTo>
                    <a:lnTo>
                      <a:pt x="371040" y="46407"/>
                    </a:lnTo>
                    <a:lnTo>
                      <a:pt x="367351" y="46407"/>
                    </a:lnTo>
                    <a:lnTo>
                      <a:pt x="363662" y="46407"/>
                    </a:lnTo>
                    <a:lnTo>
                      <a:pt x="359973" y="46407"/>
                    </a:lnTo>
                    <a:lnTo>
                      <a:pt x="356284" y="46407"/>
                    </a:lnTo>
                    <a:lnTo>
                      <a:pt x="352594" y="46407"/>
                    </a:lnTo>
                    <a:lnTo>
                      <a:pt x="348905" y="50093"/>
                    </a:lnTo>
                    <a:lnTo>
                      <a:pt x="345216" y="50093"/>
                    </a:lnTo>
                    <a:lnTo>
                      <a:pt x="337838" y="42711"/>
                    </a:lnTo>
                    <a:lnTo>
                      <a:pt x="323081" y="39025"/>
                    </a:lnTo>
                    <a:lnTo>
                      <a:pt x="319392" y="39025"/>
                    </a:lnTo>
                    <a:lnTo>
                      <a:pt x="312014" y="42711"/>
                    </a:lnTo>
                    <a:lnTo>
                      <a:pt x="308325" y="46407"/>
                    </a:lnTo>
                    <a:lnTo>
                      <a:pt x="304635" y="46407"/>
                    </a:lnTo>
                    <a:lnTo>
                      <a:pt x="297257" y="50093"/>
                    </a:lnTo>
                    <a:lnTo>
                      <a:pt x="293568" y="53789"/>
                    </a:lnTo>
                    <a:lnTo>
                      <a:pt x="289879" y="50093"/>
                    </a:lnTo>
                    <a:lnTo>
                      <a:pt x="282500" y="53789"/>
                    </a:lnTo>
                    <a:lnTo>
                      <a:pt x="278811" y="57475"/>
                    </a:lnTo>
                    <a:lnTo>
                      <a:pt x="278811" y="64857"/>
                    </a:lnTo>
                    <a:lnTo>
                      <a:pt x="282500" y="64857"/>
                    </a:lnTo>
                    <a:lnTo>
                      <a:pt x="282500" y="68553"/>
                    </a:lnTo>
                    <a:lnTo>
                      <a:pt x="286190" y="68553"/>
                    </a:lnTo>
                    <a:lnTo>
                      <a:pt x="289879" y="68553"/>
                    </a:lnTo>
                    <a:lnTo>
                      <a:pt x="293568" y="72239"/>
                    </a:lnTo>
                    <a:lnTo>
                      <a:pt x="297257" y="75935"/>
                    </a:lnTo>
                    <a:lnTo>
                      <a:pt x="300946" y="75935"/>
                    </a:lnTo>
                    <a:lnTo>
                      <a:pt x="300946" y="79621"/>
                    </a:lnTo>
                    <a:lnTo>
                      <a:pt x="300946" y="83317"/>
                    </a:lnTo>
                    <a:lnTo>
                      <a:pt x="304635" y="87003"/>
                    </a:lnTo>
                    <a:lnTo>
                      <a:pt x="308325" y="87003"/>
                    </a:lnTo>
                    <a:lnTo>
                      <a:pt x="312014" y="90689"/>
                    </a:lnTo>
                    <a:lnTo>
                      <a:pt x="315703" y="94384"/>
                    </a:lnTo>
                    <a:lnTo>
                      <a:pt x="315703" y="101766"/>
                    </a:lnTo>
                    <a:lnTo>
                      <a:pt x="319392" y="105453"/>
                    </a:lnTo>
                    <a:lnTo>
                      <a:pt x="323081" y="105453"/>
                    </a:lnTo>
                    <a:lnTo>
                      <a:pt x="323081" y="109148"/>
                    </a:lnTo>
                    <a:lnTo>
                      <a:pt x="326770" y="109148"/>
                    </a:lnTo>
                    <a:lnTo>
                      <a:pt x="330460" y="109148"/>
                    </a:lnTo>
                    <a:lnTo>
                      <a:pt x="345216" y="109148"/>
                    </a:lnTo>
                    <a:lnTo>
                      <a:pt x="348905" y="109148"/>
                    </a:lnTo>
                    <a:lnTo>
                      <a:pt x="352594" y="109148"/>
                    </a:lnTo>
                    <a:lnTo>
                      <a:pt x="356284" y="112835"/>
                    </a:lnTo>
                    <a:lnTo>
                      <a:pt x="359973" y="112835"/>
                    </a:lnTo>
                    <a:lnTo>
                      <a:pt x="359973" y="109148"/>
                    </a:lnTo>
                    <a:lnTo>
                      <a:pt x="367351" y="112835"/>
                    </a:lnTo>
                    <a:lnTo>
                      <a:pt x="374730" y="116530"/>
                    </a:lnTo>
                    <a:lnTo>
                      <a:pt x="371040" y="120216"/>
                    </a:lnTo>
                    <a:lnTo>
                      <a:pt x="371040" y="123912"/>
                    </a:lnTo>
                    <a:lnTo>
                      <a:pt x="371040" y="127598"/>
                    </a:lnTo>
                    <a:lnTo>
                      <a:pt x="374730" y="127598"/>
                    </a:lnTo>
                    <a:lnTo>
                      <a:pt x="389487" y="134980"/>
                    </a:lnTo>
                    <a:lnTo>
                      <a:pt x="393176" y="138666"/>
                    </a:lnTo>
                    <a:lnTo>
                      <a:pt x="393176" y="160812"/>
                    </a:lnTo>
                    <a:lnTo>
                      <a:pt x="393176" y="164508"/>
                    </a:lnTo>
                    <a:lnTo>
                      <a:pt x="396865" y="179271"/>
                    </a:lnTo>
                    <a:lnTo>
                      <a:pt x="393176" y="179271"/>
                    </a:lnTo>
                    <a:lnTo>
                      <a:pt x="389487" y="179271"/>
                    </a:lnTo>
                    <a:lnTo>
                      <a:pt x="385798" y="179271"/>
                    </a:lnTo>
                    <a:lnTo>
                      <a:pt x="382109" y="175576"/>
                    </a:lnTo>
                    <a:lnTo>
                      <a:pt x="378419" y="175576"/>
                    </a:lnTo>
                    <a:lnTo>
                      <a:pt x="374730" y="175576"/>
                    </a:lnTo>
                    <a:lnTo>
                      <a:pt x="371040" y="175576"/>
                    </a:lnTo>
                    <a:lnTo>
                      <a:pt x="367351" y="179271"/>
                    </a:lnTo>
                    <a:lnTo>
                      <a:pt x="363662" y="179271"/>
                    </a:lnTo>
                    <a:lnTo>
                      <a:pt x="359973" y="182958"/>
                    </a:lnTo>
                    <a:lnTo>
                      <a:pt x="356284" y="182958"/>
                    </a:lnTo>
                    <a:lnTo>
                      <a:pt x="352594" y="182958"/>
                    </a:lnTo>
                    <a:lnTo>
                      <a:pt x="348905" y="182958"/>
                    </a:lnTo>
                    <a:lnTo>
                      <a:pt x="348905" y="179271"/>
                    </a:lnTo>
                    <a:lnTo>
                      <a:pt x="345216" y="179271"/>
                    </a:lnTo>
                    <a:lnTo>
                      <a:pt x="334149" y="171890"/>
                    </a:lnTo>
                    <a:lnTo>
                      <a:pt x="330460" y="171890"/>
                    </a:lnTo>
                    <a:lnTo>
                      <a:pt x="326770" y="160812"/>
                    </a:lnTo>
                    <a:lnTo>
                      <a:pt x="323081" y="160812"/>
                    </a:lnTo>
                    <a:lnTo>
                      <a:pt x="315703" y="149744"/>
                    </a:lnTo>
                    <a:lnTo>
                      <a:pt x="315703" y="146048"/>
                    </a:lnTo>
                    <a:lnTo>
                      <a:pt x="312014" y="142362"/>
                    </a:lnTo>
                    <a:lnTo>
                      <a:pt x="315703" y="138666"/>
                    </a:lnTo>
                    <a:lnTo>
                      <a:pt x="312014" y="134980"/>
                    </a:lnTo>
                    <a:lnTo>
                      <a:pt x="312014" y="131294"/>
                    </a:lnTo>
                    <a:lnTo>
                      <a:pt x="312014" y="127598"/>
                    </a:lnTo>
                    <a:lnTo>
                      <a:pt x="308325" y="127598"/>
                    </a:lnTo>
                    <a:lnTo>
                      <a:pt x="304635" y="123912"/>
                    </a:lnTo>
                    <a:lnTo>
                      <a:pt x="297257" y="116530"/>
                    </a:lnTo>
                    <a:lnTo>
                      <a:pt x="293568" y="112835"/>
                    </a:lnTo>
                    <a:lnTo>
                      <a:pt x="289879" y="112835"/>
                    </a:lnTo>
                    <a:lnTo>
                      <a:pt x="286190" y="112835"/>
                    </a:lnTo>
                    <a:lnTo>
                      <a:pt x="282500" y="109148"/>
                    </a:lnTo>
                    <a:lnTo>
                      <a:pt x="278811" y="109148"/>
                    </a:lnTo>
                    <a:lnTo>
                      <a:pt x="271433" y="105453"/>
                    </a:lnTo>
                    <a:lnTo>
                      <a:pt x="267744" y="105453"/>
                    </a:lnTo>
                    <a:lnTo>
                      <a:pt x="264055" y="101766"/>
                    </a:lnTo>
                    <a:lnTo>
                      <a:pt x="260365" y="105453"/>
                    </a:lnTo>
                    <a:lnTo>
                      <a:pt x="256676" y="105453"/>
                    </a:lnTo>
                    <a:lnTo>
                      <a:pt x="256676" y="109148"/>
                    </a:lnTo>
                    <a:lnTo>
                      <a:pt x="249298" y="98071"/>
                    </a:lnTo>
                    <a:lnTo>
                      <a:pt x="252987" y="98071"/>
                    </a:lnTo>
                    <a:lnTo>
                      <a:pt x="249298" y="94384"/>
                    </a:lnTo>
                    <a:lnTo>
                      <a:pt x="249298" y="90689"/>
                    </a:lnTo>
                    <a:lnTo>
                      <a:pt x="245609" y="90689"/>
                    </a:lnTo>
                    <a:lnTo>
                      <a:pt x="241920" y="90689"/>
                    </a:lnTo>
                    <a:lnTo>
                      <a:pt x="238231" y="90689"/>
                    </a:lnTo>
                    <a:lnTo>
                      <a:pt x="234541" y="94384"/>
                    </a:lnTo>
                    <a:lnTo>
                      <a:pt x="230852" y="94384"/>
                    </a:lnTo>
                    <a:lnTo>
                      <a:pt x="227162" y="94384"/>
                    </a:lnTo>
                    <a:lnTo>
                      <a:pt x="219784" y="94384"/>
                    </a:lnTo>
                    <a:lnTo>
                      <a:pt x="216095" y="94384"/>
                    </a:lnTo>
                    <a:lnTo>
                      <a:pt x="212405" y="94384"/>
                    </a:lnTo>
                    <a:lnTo>
                      <a:pt x="208716" y="94384"/>
                    </a:lnTo>
                    <a:lnTo>
                      <a:pt x="208716" y="90689"/>
                    </a:lnTo>
                    <a:lnTo>
                      <a:pt x="205027" y="87003"/>
                    </a:lnTo>
                    <a:lnTo>
                      <a:pt x="197649" y="87003"/>
                    </a:lnTo>
                    <a:lnTo>
                      <a:pt x="190270" y="90689"/>
                    </a:lnTo>
                    <a:lnTo>
                      <a:pt x="186581" y="90689"/>
                    </a:lnTo>
                    <a:lnTo>
                      <a:pt x="182892" y="94384"/>
                    </a:lnTo>
                    <a:lnTo>
                      <a:pt x="171825" y="90689"/>
                    </a:lnTo>
                    <a:lnTo>
                      <a:pt x="168136" y="90689"/>
                    </a:lnTo>
                    <a:lnTo>
                      <a:pt x="164446" y="87003"/>
                    </a:lnTo>
                    <a:lnTo>
                      <a:pt x="160757" y="90689"/>
                    </a:lnTo>
                    <a:lnTo>
                      <a:pt x="153379" y="94384"/>
                    </a:lnTo>
                    <a:lnTo>
                      <a:pt x="153379" y="98071"/>
                    </a:lnTo>
                    <a:lnTo>
                      <a:pt x="149690" y="101766"/>
                    </a:lnTo>
                    <a:lnTo>
                      <a:pt x="149690" y="105453"/>
                    </a:lnTo>
                    <a:lnTo>
                      <a:pt x="146001" y="109148"/>
                    </a:lnTo>
                    <a:lnTo>
                      <a:pt x="142311" y="109148"/>
                    </a:lnTo>
                    <a:lnTo>
                      <a:pt x="138622" y="112835"/>
                    </a:lnTo>
                    <a:lnTo>
                      <a:pt x="142311" y="112835"/>
                    </a:lnTo>
                    <a:lnTo>
                      <a:pt x="146001" y="112835"/>
                    </a:lnTo>
                    <a:lnTo>
                      <a:pt x="138622" y="116530"/>
                    </a:lnTo>
                    <a:lnTo>
                      <a:pt x="138622" y="112835"/>
                    </a:lnTo>
                    <a:lnTo>
                      <a:pt x="131244" y="105453"/>
                    </a:lnTo>
                    <a:lnTo>
                      <a:pt x="127555" y="101766"/>
                    </a:lnTo>
                    <a:lnTo>
                      <a:pt x="127555" y="98071"/>
                    </a:lnTo>
                    <a:lnTo>
                      <a:pt x="123866" y="87003"/>
                    </a:lnTo>
                    <a:lnTo>
                      <a:pt x="123866" y="83317"/>
                    </a:lnTo>
                    <a:lnTo>
                      <a:pt x="120176" y="83317"/>
                    </a:lnTo>
                    <a:lnTo>
                      <a:pt x="116487" y="79621"/>
                    </a:lnTo>
                    <a:lnTo>
                      <a:pt x="109109" y="75935"/>
                    </a:lnTo>
                    <a:lnTo>
                      <a:pt x="105420" y="72239"/>
                    </a:lnTo>
                    <a:lnTo>
                      <a:pt x="101731" y="68553"/>
                    </a:lnTo>
                    <a:lnTo>
                      <a:pt x="101731" y="64857"/>
                    </a:lnTo>
                    <a:lnTo>
                      <a:pt x="101731" y="57475"/>
                    </a:lnTo>
                    <a:lnTo>
                      <a:pt x="105420" y="53789"/>
                    </a:lnTo>
                    <a:lnTo>
                      <a:pt x="101731" y="53789"/>
                    </a:lnTo>
                    <a:lnTo>
                      <a:pt x="98041" y="53789"/>
                    </a:lnTo>
                    <a:lnTo>
                      <a:pt x="94352" y="50093"/>
                    </a:lnTo>
                    <a:lnTo>
                      <a:pt x="83284" y="50093"/>
                    </a:lnTo>
                    <a:lnTo>
                      <a:pt x="79595" y="50093"/>
                    </a:lnTo>
                    <a:lnTo>
                      <a:pt x="75906" y="50093"/>
                    </a:lnTo>
                    <a:lnTo>
                      <a:pt x="68527" y="50093"/>
                    </a:lnTo>
                    <a:lnTo>
                      <a:pt x="68527" y="53789"/>
                    </a:lnTo>
                    <a:lnTo>
                      <a:pt x="64838" y="53789"/>
                    </a:lnTo>
                    <a:lnTo>
                      <a:pt x="61149" y="53789"/>
                    </a:lnTo>
                    <a:lnTo>
                      <a:pt x="57460" y="57475"/>
                    </a:lnTo>
                    <a:lnTo>
                      <a:pt x="50081" y="61171"/>
                    </a:lnTo>
                    <a:lnTo>
                      <a:pt x="46393" y="64857"/>
                    </a:lnTo>
                    <a:lnTo>
                      <a:pt x="39014" y="68553"/>
                    </a:lnTo>
                    <a:lnTo>
                      <a:pt x="35325" y="68553"/>
                    </a:lnTo>
                    <a:lnTo>
                      <a:pt x="31636" y="72239"/>
                    </a:lnTo>
                    <a:lnTo>
                      <a:pt x="27947" y="75935"/>
                    </a:lnTo>
                    <a:lnTo>
                      <a:pt x="20568" y="79621"/>
                    </a:lnTo>
                    <a:lnTo>
                      <a:pt x="16879" y="83317"/>
                    </a:lnTo>
                    <a:lnTo>
                      <a:pt x="13190" y="83317"/>
                    </a:lnTo>
                    <a:lnTo>
                      <a:pt x="9501" y="87003"/>
                    </a:lnTo>
                    <a:lnTo>
                      <a:pt x="5812" y="90689"/>
                    </a:lnTo>
                    <a:lnTo>
                      <a:pt x="5812" y="94384"/>
                    </a:lnTo>
                    <a:lnTo>
                      <a:pt x="5812" y="98071"/>
                    </a:lnTo>
                    <a:lnTo>
                      <a:pt x="5812" y="101766"/>
                    </a:lnTo>
                    <a:lnTo>
                      <a:pt x="9501" y="109148"/>
                    </a:lnTo>
                    <a:lnTo>
                      <a:pt x="13190" y="109148"/>
                    </a:lnTo>
                    <a:lnTo>
                      <a:pt x="16879" y="112835"/>
                    </a:lnTo>
                    <a:lnTo>
                      <a:pt x="20568" y="116530"/>
                    </a:lnTo>
                    <a:lnTo>
                      <a:pt x="27947" y="120216"/>
                    </a:lnTo>
                    <a:lnTo>
                      <a:pt x="27947" y="123912"/>
                    </a:lnTo>
                    <a:lnTo>
                      <a:pt x="31636" y="123912"/>
                    </a:lnTo>
                    <a:lnTo>
                      <a:pt x="35325" y="127598"/>
                    </a:lnTo>
                    <a:lnTo>
                      <a:pt x="39014" y="131294"/>
                    </a:lnTo>
                    <a:lnTo>
                      <a:pt x="39014" y="134980"/>
                    </a:lnTo>
                    <a:lnTo>
                      <a:pt x="42703" y="138666"/>
                    </a:lnTo>
                    <a:lnTo>
                      <a:pt x="42703" y="142362"/>
                    </a:lnTo>
                    <a:lnTo>
                      <a:pt x="46393" y="146048"/>
                    </a:lnTo>
                    <a:lnTo>
                      <a:pt x="46393" y="149744"/>
                    </a:lnTo>
                    <a:lnTo>
                      <a:pt x="50081" y="153430"/>
                    </a:lnTo>
                    <a:lnTo>
                      <a:pt x="53771" y="157126"/>
                    </a:lnTo>
                    <a:lnTo>
                      <a:pt x="61149" y="160812"/>
                    </a:lnTo>
                    <a:lnTo>
                      <a:pt x="61149" y="164508"/>
                    </a:lnTo>
                    <a:lnTo>
                      <a:pt x="64838" y="164508"/>
                    </a:lnTo>
                    <a:lnTo>
                      <a:pt x="68527" y="168194"/>
                    </a:lnTo>
                    <a:lnTo>
                      <a:pt x="68527" y="171890"/>
                    </a:lnTo>
                    <a:lnTo>
                      <a:pt x="72216" y="171890"/>
                    </a:lnTo>
                    <a:lnTo>
                      <a:pt x="79595" y="171890"/>
                    </a:lnTo>
                    <a:lnTo>
                      <a:pt x="83284" y="171890"/>
                    </a:lnTo>
                    <a:lnTo>
                      <a:pt x="83284" y="168194"/>
                    </a:lnTo>
                    <a:lnTo>
                      <a:pt x="83284" y="160812"/>
                    </a:lnTo>
                    <a:lnTo>
                      <a:pt x="86974" y="160812"/>
                    </a:lnTo>
                    <a:lnTo>
                      <a:pt x="86974" y="168194"/>
                    </a:lnTo>
                    <a:lnTo>
                      <a:pt x="90663" y="171890"/>
                    </a:lnTo>
                    <a:lnTo>
                      <a:pt x="94352" y="171890"/>
                    </a:lnTo>
                    <a:lnTo>
                      <a:pt x="101731" y="171890"/>
                    </a:lnTo>
                    <a:lnTo>
                      <a:pt x="105420" y="168194"/>
                    </a:lnTo>
                    <a:lnTo>
                      <a:pt x="105420" y="164508"/>
                    </a:lnTo>
                    <a:lnTo>
                      <a:pt x="109109" y="164508"/>
                    </a:lnTo>
                    <a:lnTo>
                      <a:pt x="116487" y="164508"/>
                    </a:lnTo>
                    <a:lnTo>
                      <a:pt x="120176" y="164508"/>
                    </a:lnTo>
                    <a:lnTo>
                      <a:pt x="112798" y="160812"/>
                    </a:lnTo>
                    <a:lnTo>
                      <a:pt x="116487" y="157126"/>
                    </a:lnTo>
                    <a:lnTo>
                      <a:pt x="123866" y="153430"/>
                    </a:lnTo>
                    <a:lnTo>
                      <a:pt x="127555" y="153430"/>
                    </a:lnTo>
                    <a:lnTo>
                      <a:pt x="127555" y="157126"/>
                    </a:lnTo>
                    <a:lnTo>
                      <a:pt x="138622" y="149744"/>
                    </a:lnTo>
                    <a:lnTo>
                      <a:pt x="138622" y="146048"/>
                    </a:lnTo>
                    <a:lnTo>
                      <a:pt x="138622" y="142362"/>
                    </a:lnTo>
                    <a:lnTo>
                      <a:pt x="142311" y="146048"/>
                    </a:lnTo>
                    <a:lnTo>
                      <a:pt x="142311" y="149744"/>
                    </a:lnTo>
                    <a:lnTo>
                      <a:pt x="146001" y="149744"/>
                    </a:lnTo>
                    <a:lnTo>
                      <a:pt x="142311" y="153430"/>
                    </a:lnTo>
                    <a:lnTo>
                      <a:pt x="142311" y="160812"/>
                    </a:lnTo>
                    <a:lnTo>
                      <a:pt x="146001" y="160812"/>
                    </a:lnTo>
                    <a:lnTo>
                      <a:pt x="142311" y="164508"/>
                    </a:lnTo>
                    <a:lnTo>
                      <a:pt x="146001" y="168194"/>
                    </a:lnTo>
                    <a:lnTo>
                      <a:pt x="146001" y="171890"/>
                    </a:lnTo>
                    <a:lnTo>
                      <a:pt x="142311" y="168194"/>
                    </a:lnTo>
                    <a:lnTo>
                      <a:pt x="138622" y="171890"/>
                    </a:lnTo>
                    <a:lnTo>
                      <a:pt x="134933" y="171890"/>
                    </a:lnTo>
                    <a:lnTo>
                      <a:pt x="138622" y="175576"/>
                    </a:lnTo>
                    <a:lnTo>
                      <a:pt x="142311" y="179271"/>
                    </a:lnTo>
                    <a:lnTo>
                      <a:pt x="142311" y="182958"/>
                    </a:lnTo>
                    <a:lnTo>
                      <a:pt x="146001" y="182958"/>
                    </a:lnTo>
                    <a:lnTo>
                      <a:pt x="146001" y="190339"/>
                    </a:lnTo>
                    <a:lnTo>
                      <a:pt x="146001" y="194026"/>
                    </a:lnTo>
                    <a:lnTo>
                      <a:pt x="149690" y="194026"/>
                    </a:lnTo>
                    <a:lnTo>
                      <a:pt x="153379" y="197721"/>
                    </a:lnTo>
                    <a:lnTo>
                      <a:pt x="157068" y="197721"/>
                    </a:lnTo>
                    <a:lnTo>
                      <a:pt x="157068" y="194026"/>
                    </a:lnTo>
                    <a:lnTo>
                      <a:pt x="160757" y="194026"/>
                    </a:lnTo>
                    <a:lnTo>
                      <a:pt x="168136" y="197721"/>
                    </a:lnTo>
                    <a:lnTo>
                      <a:pt x="171825" y="197721"/>
                    </a:lnTo>
                    <a:lnTo>
                      <a:pt x="171825" y="201407"/>
                    </a:lnTo>
                    <a:lnTo>
                      <a:pt x="179203" y="205103"/>
                    </a:lnTo>
                    <a:lnTo>
                      <a:pt x="179203" y="208789"/>
                    </a:lnTo>
                    <a:lnTo>
                      <a:pt x="182892" y="208789"/>
                    </a:lnTo>
                    <a:lnTo>
                      <a:pt x="190270" y="216171"/>
                    </a:lnTo>
                    <a:lnTo>
                      <a:pt x="193960" y="216171"/>
                    </a:lnTo>
                    <a:lnTo>
                      <a:pt x="201338" y="216171"/>
                    </a:lnTo>
                    <a:lnTo>
                      <a:pt x="208716" y="212485"/>
                    </a:lnTo>
                    <a:lnTo>
                      <a:pt x="212405" y="212485"/>
                    </a:lnTo>
                    <a:lnTo>
                      <a:pt x="216095" y="208789"/>
                    </a:lnTo>
                    <a:lnTo>
                      <a:pt x="223473" y="208789"/>
                    </a:lnTo>
                    <a:lnTo>
                      <a:pt x="227162" y="208789"/>
                    </a:lnTo>
                    <a:lnTo>
                      <a:pt x="230852" y="212485"/>
                    </a:lnTo>
                    <a:lnTo>
                      <a:pt x="234541" y="208789"/>
                    </a:lnTo>
                    <a:lnTo>
                      <a:pt x="238231" y="194026"/>
                    </a:lnTo>
                    <a:lnTo>
                      <a:pt x="241920" y="194026"/>
                    </a:lnTo>
                    <a:lnTo>
                      <a:pt x="241920" y="190339"/>
                    </a:lnTo>
                    <a:lnTo>
                      <a:pt x="241920" y="186644"/>
                    </a:lnTo>
                    <a:lnTo>
                      <a:pt x="245609" y="186644"/>
                    </a:lnTo>
                    <a:lnTo>
                      <a:pt x="245609" y="179271"/>
                    </a:lnTo>
                    <a:lnTo>
                      <a:pt x="245609" y="175576"/>
                    </a:lnTo>
                    <a:lnTo>
                      <a:pt x="245609" y="171890"/>
                    </a:lnTo>
                    <a:lnTo>
                      <a:pt x="245609" y="168194"/>
                    </a:lnTo>
                    <a:lnTo>
                      <a:pt x="245609" y="164508"/>
                    </a:lnTo>
                    <a:lnTo>
                      <a:pt x="252987" y="168194"/>
                    </a:lnTo>
                    <a:lnTo>
                      <a:pt x="260365" y="164508"/>
                    </a:lnTo>
                    <a:lnTo>
                      <a:pt x="264055" y="164508"/>
                    </a:lnTo>
                    <a:lnTo>
                      <a:pt x="271433" y="157126"/>
                    </a:lnTo>
                    <a:lnTo>
                      <a:pt x="275122" y="160812"/>
                    </a:lnTo>
                    <a:lnTo>
                      <a:pt x="278811" y="164508"/>
                    </a:lnTo>
                    <a:lnTo>
                      <a:pt x="282500" y="168194"/>
                    </a:lnTo>
                    <a:lnTo>
                      <a:pt x="282500" y="171890"/>
                    </a:lnTo>
                    <a:lnTo>
                      <a:pt x="286190" y="171890"/>
                    </a:lnTo>
                    <a:lnTo>
                      <a:pt x="286190" y="175576"/>
                    </a:lnTo>
                    <a:lnTo>
                      <a:pt x="289879" y="175576"/>
                    </a:lnTo>
                    <a:lnTo>
                      <a:pt x="293568" y="175576"/>
                    </a:lnTo>
                    <a:lnTo>
                      <a:pt x="297257" y="179271"/>
                    </a:lnTo>
                    <a:lnTo>
                      <a:pt x="300946" y="182958"/>
                    </a:lnTo>
                    <a:lnTo>
                      <a:pt x="308325" y="182958"/>
                    </a:lnTo>
                    <a:lnTo>
                      <a:pt x="308325" y="186644"/>
                    </a:lnTo>
                    <a:lnTo>
                      <a:pt x="308325" y="194026"/>
                    </a:lnTo>
                    <a:lnTo>
                      <a:pt x="315703" y="197721"/>
                    </a:lnTo>
                    <a:lnTo>
                      <a:pt x="319392" y="197721"/>
                    </a:lnTo>
                    <a:lnTo>
                      <a:pt x="323081" y="201407"/>
                    </a:lnTo>
                    <a:lnTo>
                      <a:pt x="326770" y="201407"/>
                    </a:lnTo>
                    <a:lnTo>
                      <a:pt x="334149" y="205103"/>
                    </a:lnTo>
                    <a:lnTo>
                      <a:pt x="341527" y="208789"/>
                    </a:lnTo>
                    <a:lnTo>
                      <a:pt x="348905" y="208789"/>
                    </a:lnTo>
                    <a:lnTo>
                      <a:pt x="352594" y="212485"/>
                    </a:lnTo>
                    <a:lnTo>
                      <a:pt x="359973" y="212485"/>
                    </a:lnTo>
                    <a:lnTo>
                      <a:pt x="371040" y="208789"/>
                    </a:lnTo>
                    <a:lnTo>
                      <a:pt x="378419" y="205103"/>
                    </a:lnTo>
                    <a:lnTo>
                      <a:pt x="382109" y="205103"/>
                    </a:lnTo>
                    <a:lnTo>
                      <a:pt x="385798" y="205103"/>
                    </a:lnTo>
                    <a:lnTo>
                      <a:pt x="385798" y="208789"/>
                    </a:lnTo>
                    <a:lnTo>
                      <a:pt x="389487" y="208789"/>
                    </a:lnTo>
                    <a:lnTo>
                      <a:pt x="393176" y="208789"/>
                    </a:lnTo>
                    <a:lnTo>
                      <a:pt x="400555" y="212485"/>
                    </a:lnTo>
                    <a:lnTo>
                      <a:pt x="404244" y="223553"/>
                    </a:lnTo>
                    <a:lnTo>
                      <a:pt x="404244" y="230935"/>
                    </a:lnTo>
                    <a:lnTo>
                      <a:pt x="415311" y="230935"/>
                    </a:lnTo>
                    <a:lnTo>
                      <a:pt x="422690" y="227249"/>
                    </a:lnTo>
                    <a:lnTo>
                      <a:pt x="419000" y="223553"/>
                    </a:lnTo>
                    <a:lnTo>
                      <a:pt x="415311" y="223553"/>
                    </a:lnTo>
                    <a:lnTo>
                      <a:pt x="415311" y="219867"/>
                    </a:lnTo>
                    <a:lnTo>
                      <a:pt x="419000" y="208789"/>
                    </a:lnTo>
                    <a:lnTo>
                      <a:pt x="415311" y="197721"/>
                    </a:lnTo>
                    <a:lnTo>
                      <a:pt x="415311" y="194026"/>
                    </a:lnTo>
                    <a:lnTo>
                      <a:pt x="422690" y="190339"/>
                    </a:lnTo>
                    <a:lnTo>
                      <a:pt x="415311" y="179271"/>
                    </a:lnTo>
                    <a:lnTo>
                      <a:pt x="400555" y="138666"/>
                    </a:lnTo>
                    <a:lnTo>
                      <a:pt x="393176" y="123912"/>
                    </a:lnTo>
                    <a:lnTo>
                      <a:pt x="393176" y="120216"/>
                    </a:lnTo>
                    <a:lnTo>
                      <a:pt x="396865" y="112835"/>
                    </a:lnTo>
                    <a:lnTo>
                      <a:pt x="400555" y="101766"/>
                    </a:lnTo>
                    <a:lnTo>
                      <a:pt x="404244" y="94384"/>
                    </a:lnTo>
                    <a:lnTo>
                      <a:pt x="404244" y="90689"/>
                    </a:lnTo>
                    <a:lnTo>
                      <a:pt x="400555" y="87003"/>
                    </a:lnTo>
                    <a:lnTo>
                      <a:pt x="400555" y="79621"/>
                    </a:lnTo>
                    <a:lnTo>
                      <a:pt x="385798" y="61171"/>
                    </a:lnTo>
                    <a:lnTo>
                      <a:pt x="382109" y="57475"/>
                    </a:lnTo>
                    <a:lnTo>
                      <a:pt x="382109" y="53789"/>
                    </a:lnTo>
                    <a:lnTo>
                      <a:pt x="382109" y="46407"/>
                    </a:lnTo>
                    <a:lnTo>
                      <a:pt x="382109" y="42711"/>
                    </a:lnTo>
                    <a:lnTo>
                      <a:pt x="385798" y="35339"/>
                    </a:lnTo>
                    <a:lnTo>
                      <a:pt x="389487" y="31643"/>
                    </a:lnTo>
                    <a:lnTo>
                      <a:pt x="393176" y="27957"/>
                    </a:lnTo>
                    <a:lnTo>
                      <a:pt x="404244" y="24261"/>
                    </a:lnTo>
                    <a:lnTo>
                      <a:pt x="400555" y="24261"/>
                    </a:lnTo>
                    <a:lnTo>
                      <a:pt x="393176" y="20575"/>
                    </a:lnTo>
                    <a:lnTo>
                      <a:pt x="385798" y="20575"/>
                    </a:lnTo>
                    <a:lnTo>
                      <a:pt x="382109" y="20575"/>
                    </a:lnTo>
                    <a:lnTo>
                      <a:pt x="378419" y="20575"/>
                    </a:lnTo>
                    <a:lnTo>
                      <a:pt x="371040" y="16880"/>
                    </a:lnTo>
                    <a:lnTo>
                      <a:pt x="359973" y="9498"/>
                    </a:lnTo>
                    <a:lnTo>
                      <a:pt x="356284" y="9498"/>
                    </a:lnTo>
                    <a:lnTo>
                      <a:pt x="345216" y="5812"/>
                    </a:lnTo>
                    <a:close/>
                    <a:moveTo>
                      <a:pt x="134933" y="171890"/>
                    </a:moveTo>
                    <a:lnTo>
                      <a:pt x="138622" y="164508"/>
                    </a:lnTo>
                    <a:lnTo>
                      <a:pt x="134933" y="168194"/>
                    </a:lnTo>
                    <a:lnTo>
                      <a:pt x="134933" y="171890"/>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26" name="Freeform: Shape 125">
                <a:extLst>
                  <a:ext uri="{FF2B5EF4-FFF2-40B4-BE49-F238E27FC236}">
                    <a16:creationId xmlns:a16="http://schemas.microsoft.com/office/drawing/2014/main" id="{CD86F4AD-9C42-4EF1-8F6B-F1B132F7ED60}"/>
                  </a:ext>
                </a:extLst>
              </p:cNvPr>
              <p:cNvSpPr/>
              <p:nvPr/>
            </p:nvSpPr>
            <p:spPr>
              <a:xfrm>
                <a:off x="1949468" y="5022874"/>
                <a:ext cx="43320" cy="43320"/>
              </a:xfrm>
              <a:custGeom>
                <a:avLst/>
                <a:gdLst>
                  <a:gd name="connsiteX0" fmla="*/ 13190 w 19050"/>
                  <a:gd name="connsiteY0" fmla="*/ 5812 h 19050"/>
                  <a:gd name="connsiteX1" fmla="*/ 13190 w 19050"/>
                  <a:gd name="connsiteY1" fmla="*/ 9507 h 19050"/>
                  <a:gd name="connsiteX2" fmla="*/ 16879 w 19050"/>
                  <a:gd name="connsiteY2" fmla="*/ 9507 h 19050"/>
                  <a:gd name="connsiteX3" fmla="*/ 16879 w 19050"/>
                  <a:gd name="connsiteY3" fmla="*/ 13193 h 19050"/>
                  <a:gd name="connsiteX4" fmla="*/ 13190 w 19050"/>
                  <a:gd name="connsiteY4" fmla="*/ 13193 h 19050"/>
                  <a:gd name="connsiteX5" fmla="*/ 13190 w 19050"/>
                  <a:gd name="connsiteY5" fmla="*/ 16889 h 19050"/>
                  <a:gd name="connsiteX6" fmla="*/ 16879 w 19050"/>
                  <a:gd name="connsiteY6" fmla="*/ 16889 h 19050"/>
                  <a:gd name="connsiteX7" fmla="*/ 13190 w 19050"/>
                  <a:gd name="connsiteY7" fmla="*/ 16889 h 19050"/>
                  <a:gd name="connsiteX8" fmla="*/ 9501 w 19050"/>
                  <a:gd name="connsiteY8" fmla="*/ 16889 h 19050"/>
                  <a:gd name="connsiteX9" fmla="*/ 5812 w 19050"/>
                  <a:gd name="connsiteY9" fmla="*/ 13193 h 19050"/>
                  <a:gd name="connsiteX10" fmla="*/ 5812 w 19050"/>
                  <a:gd name="connsiteY10" fmla="*/ 9507 h 19050"/>
                  <a:gd name="connsiteX11" fmla="*/ 5812 w 19050"/>
                  <a:gd name="connsiteY11" fmla="*/ 5812 h 19050"/>
                  <a:gd name="connsiteX12" fmla="*/ 5812 w 19050"/>
                  <a:gd name="connsiteY12" fmla="*/ 5812 h 19050"/>
                  <a:gd name="connsiteX13" fmla="*/ 5812 w 19050"/>
                  <a:gd name="connsiteY13" fmla="*/ 5812 h 19050"/>
                  <a:gd name="connsiteX14" fmla="*/ 9501 w 19050"/>
                  <a:gd name="connsiteY14" fmla="*/ 5812 h 19050"/>
                  <a:gd name="connsiteX15" fmla="*/ 13190 w 19050"/>
                  <a:gd name="connsiteY15"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050" h="19050">
                    <a:moveTo>
                      <a:pt x="13190" y="5812"/>
                    </a:moveTo>
                    <a:lnTo>
                      <a:pt x="13190" y="9507"/>
                    </a:lnTo>
                    <a:lnTo>
                      <a:pt x="16879" y="9507"/>
                    </a:lnTo>
                    <a:lnTo>
                      <a:pt x="16879" y="13193"/>
                    </a:lnTo>
                    <a:lnTo>
                      <a:pt x="13190" y="13193"/>
                    </a:lnTo>
                    <a:lnTo>
                      <a:pt x="13190" y="16889"/>
                    </a:lnTo>
                    <a:lnTo>
                      <a:pt x="16879" y="16889"/>
                    </a:lnTo>
                    <a:lnTo>
                      <a:pt x="13190" y="16889"/>
                    </a:lnTo>
                    <a:lnTo>
                      <a:pt x="9501" y="16889"/>
                    </a:lnTo>
                    <a:lnTo>
                      <a:pt x="5812" y="13193"/>
                    </a:lnTo>
                    <a:lnTo>
                      <a:pt x="5812" y="9507"/>
                    </a:lnTo>
                    <a:lnTo>
                      <a:pt x="5812" y="5812"/>
                    </a:lnTo>
                    <a:lnTo>
                      <a:pt x="5812" y="5812"/>
                    </a:lnTo>
                    <a:lnTo>
                      <a:pt x="5812" y="5812"/>
                    </a:lnTo>
                    <a:lnTo>
                      <a:pt x="9501" y="5812"/>
                    </a:lnTo>
                    <a:lnTo>
                      <a:pt x="13190" y="5812"/>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27" name="Freeform: Shape 126">
                <a:extLst>
                  <a:ext uri="{FF2B5EF4-FFF2-40B4-BE49-F238E27FC236}">
                    <a16:creationId xmlns:a16="http://schemas.microsoft.com/office/drawing/2014/main" id="{7579FC24-87BC-457A-8E23-C90B64CAF16F}"/>
                  </a:ext>
                </a:extLst>
              </p:cNvPr>
              <p:cNvSpPr/>
              <p:nvPr/>
            </p:nvSpPr>
            <p:spPr>
              <a:xfrm>
                <a:off x="1706183" y="5014492"/>
                <a:ext cx="21660" cy="21660"/>
              </a:xfrm>
              <a:custGeom>
                <a:avLst/>
                <a:gdLst>
                  <a:gd name="connsiteX0" fmla="*/ 5812 w 9525"/>
                  <a:gd name="connsiteY0" fmla="*/ 9498 h 9525"/>
                  <a:gd name="connsiteX1" fmla="*/ 9501 w 9525"/>
                  <a:gd name="connsiteY1" fmla="*/ 9498 h 9525"/>
                  <a:gd name="connsiteX2" fmla="*/ 13190 w 9525"/>
                  <a:gd name="connsiteY2" fmla="*/ 5812 h 9525"/>
                  <a:gd name="connsiteX3" fmla="*/ 13190 w 9525"/>
                  <a:gd name="connsiteY3" fmla="*/ 9498 h 9525"/>
                  <a:gd name="connsiteX4" fmla="*/ 13190 w 9525"/>
                  <a:gd name="connsiteY4" fmla="*/ 9498 h 9525"/>
                  <a:gd name="connsiteX5" fmla="*/ 13190 w 9525"/>
                  <a:gd name="connsiteY5" fmla="*/ 9498 h 9525"/>
                  <a:gd name="connsiteX6" fmla="*/ 5812 w 9525"/>
                  <a:gd name="connsiteY6" fmla="*/ 9498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9525">
                    <a:moveTo>
                      <a:pt x="5812" y="9498"/>
                    </a:moveTo>
                    <a:lnTo>
                      <a:pt x="9501" y="9498"/>
                    </a:lnTo>
                    <a:lnTo>
                      <a:pt x="13190" y="5812"/>
                    </a:lnTo>
                    <a:lnTo>
                      <a:pt x="13190" y="9498"/>
                    </a:lnTo>
                    <a:lnTo>
                      <a:pt x="13190" y="9498"/>
                    </a:lnTo>
                    <a:lnTo>
                      <a:pt x="13190" y="9498"/>
                    </a:lnTo>
                    <a:lnTo>
                      <a:pt x="5812" y="9498"/>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28" name="Freeform: Shape 127">
                <a:extLst>
                  <a:ext uri="{FF2B5EF4-FFF2-40B4-BE49-F238E27FC236}">
                    <a16:creationId xmlns:a16="http://schemas.microsoft.com/office/drawing/2014/main" id="{C827399F-0727-42ED-9E3F-6F63B3735C47}"/>
                  </a:ext>
                </a:extLst>
              </p:cNvPr>
              <p:cNvSpPr/>
              <p:nvPr/>
            </p:nvSpPr>
            <p:spPr>
              <a:xfrm>
                <a:off x="1899133" y="5031279"/>
                <a:ext cx="64980" cy="43320"/>
              </a:xfrm>
              <a:custGeom>
                <a:avLst/>
                <a:gdLst>
                  <a:gd name="connsiteX0" fmla="*/ 24258 w 28575"/>
                  <a:gd name="connsiteY0" fmla="*/ 13193 h 19050"/>
                  <a:gd name="connsiteX1" fmla="*/ 24258 w 28575"/>
                  <a:gd name="connsiteY1" fmla="*/ 13193 h 19050"/>
                  <a:gd name="connsiteX2" fmla="*/ 24258 w 28575"/>
                  <a:gd name="connsiteY2" fmla="*/ 16880 h 19050"/>
                  <a:gd name="connsiteX3" fmla="*/ 24258 w 28575"/>
                  <a:gd name="connsiteY3" fmla="*/ 16880 h 19050"/>
                  <a:gd name="connsiteX4" fmla="*/ 24258 w 28575"/>
                  <a:gd name="connsiteY4" fmla="*/ 20575 h 19050"/>
                  <a:gd name="connsiteX5" fmla="*/ 24258 w 28575"/>
                  <a:gd name="connsiteY5" fmla="*/ 20575 h 19050"/>
                  <a:gd name="connsiteX6" fmla="*/ 20568 w 28575"/>
                  <a:gd name="connsiteY6" fmla="*/ 20575 h 19050"/>
                  <a:gd name="connsiteX7" fmla="*/ 20568 w 28575"/>
                  <a:gd name="connsiteY7" fmla="*/ 20575 h 19050"/>
                  <a:gd name="connsiteX8" fmla="*/ 16879 w 28575"/>
                  <a:gd name="connsiteY8" fmla="*/ 20575 h 19050"/>
                  <a:gd name="connsiteX9" fmla="*/ 16879 w 28575"/>
                  <a:gd name="connsiteY9" fmla="*/ 16880 h 19050"/>
                  <a:gd name="connsiteX10" fmla="*/ 13190 w 28575"/>
                  <a:gd name="connsiteY10" fmla="*/ 16880 h 19050"/>
                  <a:gd name="connsiteX11" fmla="*/ 13190 w 28575"/>
                  <a:gd name="connsiteY11" fmla="*/ 16880 h 19050"/>
                  <a:gd name="connsiteX12" fmla="*/ 16879 w 28575"/>
                  <a:gd name="connsiteY12" fmla="*/ 16880 h 19050"/>
                  <a:gd name="connsiteX13" fmla="*/ 20568 w 28575"/>
                  <a:gd name="connsiteY13" fmla="*/ 16880 h 19050"/>
                  <a:gd name="connsiteX14" fmla="*/ 16879 w 28575"/>
                  <a:gd name="connsiteY14" fmla="*/ 13193 h 19050"/>
                  <a:gd name="connsiteX15" fmla="*/ 20568 w 28575"/>
                  <a:gd name="connsiteY15" fmla="*/ 13193 h 19050"/>
                  <a:gd name="connsiteX16" fmla="*/ 20568 w 28575"/>
                  <a:gd name="connsiteY16" fmla="*/ 13193 h 19050"/>
                  <a:gd name="connsiteX17" fmla="*/ 16879 w 28575"/>
                  <a:gd name="connsiteY17" fmla="*/ 13193 h 19050"/>
                  <a:gd name="connsiteX18" fmla="*/ 13190 w 28575"/>
                  <a:gd name="connsiteY18" fmla="*/ 16880 h 19050"/>
                  <a:gd name="connsiteX19" fmla="*/ 13190 w 28575"/>
                  <a:gd name="connsiteY19" fmla="*/ 13193 h 19050"/>
                  <a:gd name="connsiteX20" fmla="*/ 13190 w 28575"/>
                  <a:gd name="connsiteY20" fmla="*/ 13193 h 19050"/>
                  <a:gd name="connsiteX21" fmla="*/ 16879 w 28575"/>
                  <a:gd name="connsiteY21" fmla="*/ 13193 h 19050"/>
                  <a:gd name="connsiteX22" fmla="*/ 16879 w 28575"/>
                  <a:gd name="connsiteY22" fmla="*/ 13193 h 19050"/>
                  <a:gd name="connsiteX23" fmla="*/ 13190 w 28575"/>
                  <a:gd name="connsiteY23" fmla="*/ 13193 h 19050"/>
                  <a:gd name="connsiteX24" fmla="*/ 16879 w 28575"/>
                  <a:gd name="connsiteY24" fmla="*/ 9498 h 19050"/>
                  <a:gd name="connsiteX25" fmla="*/ 16879 w 28575"/>
                  <a:gd name="connsiteY25" fmla="*/ 9498 h 19050"/>
                  <a:gd name="connsiteX26" fmla="*/ 13190 w 28575"/>
                  <a:gd name="connsiteY26" fmla="*/ 9498 h 19050"/>
                  <a:gd name="connsiteX27" fmla="*/ 13190 w 28575"/>
                  <a:gd name="connsiteY27" fmla="*/ 9498 h 19050"/>
                  <a:gd name="connsiteX28" fmla="*/ 9501 w 28575"/>
                  <a:gd name="connsiteY28" fmla="*/ 9498 h 19050"/>
                  <a:gd name="connsiteX29" fmla="*/ 9501 w 28575"/>
                  <a:gd name="connsiteY29" fmla="*/ 9498 h 19050"/>
                  <a:gd name="connsiteX30" fmla="*/ 9501 w 28575"/>
                  <a:gd name="connsiteY30" fmla="*/ 5812 h 19050"/>
                  <a:gd name="connsiteX31" fmla="*/ 9501 w 28575"/>
                  <a:gd name="connsiteY31" fmla="*/ 9498 h 19050"/>
                  <a:gd name="connsiteX32" fmla="*/ 5812 w 28575"/>
                  <a:gd name="connsiteY32" fmla="*/ 9498 h 19050"/>
                  <a:gd name="connsiteX33" fmla="*/ 5812 w 28575"/>
                  <a:gd name="connsiteY33" fmla="*/ 5812 h 19050"/>
                  <a:gd name="connsiteX34" fmla="*/ 13190 w 28575"/>
                  <a:gd name="connsiteY34" fmla="*/ 5812 h 19050"/>
                  <a:gd name="connsiteX35" fmla="*/ 16879 w 28575"/>
                  <a:gd name="connsiteY35" fmla="*/ 5812 h 19050"/>
                  <a:gd name="connsiteX36" fmla="*/ 16879 w 28575"/>
                  <a:gd name="connsiteY36" fmla="*/ 5812 h 19050"/>
                  <a:gd name="connsiteX37" fmla="*/ 20568 w 28575"/>
                  <a:gd name="connsiteY37" fmla="*/ 9498 h 19050"/>
                  <a:gd name="connsiteX38" fmla="*/ 20568 w 28575"/>
                  <a:gd name="connsiteY38" fmla="*/ 9498 h 19050"/>
                  <a:gd name="connsiteX39" fmla="*/ 24258 w 28575"/>
                  <a:gd name="connsiteY39" fmla="*/ 13193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575" h="19050">
                    <a:moveTo>
                      <a:pt x="24258" y="13193"/>
                    </a:moveTo>
                    <a:lnTo>
                      <a:pt x="24258" y="13193"/>
                    </a:lnTo>
                    <a:lnTo>
                      <a:pt x="24258" y="16880"/>
                    </a:lnTo>
                    <a:lnTo>
                      <a:pt x="24258" y="16880"/>
                    </a:lnTo>
                    <a:lnTo>
                      <a:pt x="24258" y="20575"/>
                    </a:lnTo>
                    <a:lnTo>
                      <a:pt x="24258" y="20575"/>
                    </a:lnTo>
                    <a:lnTo>
                      <a:pt x="20568" y="20575"/>
                    </a:lnTo>
                    <a:lnTo>
                      <a:pt x="20568" y="20575"/>
                    </a:lnTo>
                    <a:lnTo>
                      <a:pt x="16879" y="20575"/>
                    </a:lnTo>
                    <a:lnTo>
                      <a:pt x="16879" y="16880"/>
                    </a:lnTo>
                    <a:lnTo>
                      <a:pt x="13190" y="16880"/>
                    </a:lnTo>
                    <a:lnTo>
                      <a:pt x="13190" y="16880"/>
                    </a:lnTo>
                    <a:lnTo>
                      <a:pt x="16879" y="16880"/>
                    </a:lnTo>
                    <a:lnTo>
                      <a:pt x="20568" y="16880"/>
                    </a:lnTo>
                    <a:lnTo>
                      <a:pt x="16879" y="13193"/>
                    </a:lnTo>
                    <a:lnTo>
                      <a:pt x="20568" y="13193"/>
                    </a:lnTo>
                    <a:lnTo>
                      <a:pt x="20568" y="13193"/>
                    </a:lnTo>
                    <a:lnTo>
                      <a:pt x="16879" y="13193"/>
                    </a:lnTo>
                    <a:lnTo>
                      <a:pt x="13190" y="16880"/>
                    </a:lnTo>
                    <a:lnTo>
                      <a:pt x="13190" y="13193"/>
                    </a:lnTo>
                    <a:lnTo>
                      <a:pt x="13190" y="13193"/>
                    </a:lnTo>
                    <a:lnTo>
                      <a:pt x="16879" y="13193"/>
                    </a:lnTo>
                    <a:lnTo>
                      <a:pt x="16879" y="13193"/>
                    </a:lnTo>
                    <a:lnTo>
                      <a:pt x="13190" y="13193"/>
                    </a:lnTo>
                    <a:lnTo>
                      <a:pt x="16879" y="9498"/>
                    </a:lnTo>
                    <a:lnTo>
                      <a:pt x="16879" y="9498"/>
                    </a:lnTo>
                    <a:lnTo>
                      <a:pt x="13190" y="9498"/>
                    </a:lnTo>
                    <a:lnTo>
                      <a:pt x="13190" y="9498"/>
                    </a:lnTo>
                    <a:lnTo>
                      <a:pt x="9501" y="9498"/>
                    </a:lnTo>
                    <a:lnTo>
                      <a:pt x="9501" y="9498"/>
                    </a:lnTo>
                    <a:lnTo>
                      <a:pt x="9501" y="5812"/>
                    </a:lnTo>
                    <a:lnTo>
                      <a:pt x="9501" y="9498"/>
                    </a:lnTo>
                    <a:lnTo>
                      <a:pt x="5812" y="9498"/>
                    </a:lnTo>
                    <a:lnTo>
                      <a:pt x="5812" y="5812"/>
                    </a:lnTo>
                    <a:lnTo>
                      <a:pt x="13190" y="5812"/>
                    </a:lnTo>
                    <a:lnTo>
                      <a:pt x="16879" y="5812"/>
                    </a:lnTo>
                    <a:lnTo>
                      <a:pt x="16879" y="5812"/>
                    </a:lnTo>
                    <a:lnTo>
                      <a:pt x="20568" y="9498"/>
                    </a:lnTo>
                    <a:lnTo>
                      <a:pt x="20568" y="9498"/>
                    </a:lnTo>
                    <a:lnTo>
                      <a:pt x="24258" y="13193"/>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29" name="Freeform: Shape 128">
                <a:extLst>
                  <a:ext uri="{FF2B5EF4-FFF2-40B4-BE49-F238E27FC236}">
                    <a16:creationId xmlns:a16="http://schemas.microsoft.com/office/drawing/2014/main" id="{D4531C59-421E-4CCD-BA80-F428449A3BEC}"/>
                  </a:ext>
                </a:extLst>
              </p:cNvPr>
              <p:cNvSpPr/>
              <p:nvPr/>
            </p:nvSpPr>
            <p:spPr>
              <a:xfrm>
                <a:off x="1043430" y="4938961"/>
                <a:ext cx="1018018" cy="389880"/>
              </a:xfrm>
              <a:custGeom>
                <a:avLst/>
                <a:gdLst>
                  <a:gd name="connsiteX0" fmla="*/ 79595 w 447675"/>
                  <a:gd name="connsiteY0" fmla="*/ 5812 h 171450"/>
                  <a:gd name="connsiteX1" fmla="*/ 79595 w 447675"/>
                  <a:gd name="connsiteY1" fmla="*/ 9498 h 171450"/>
                  <a:gd name="connsiteX2" fmla="*/ 75906 w 447675"/>
                  <a:gd name="connsiteY2" fmla="*/ 9498 h 171450"/>
                  <a:gd name="connsiteX3" fmla="*/ 72217 w 447675"/>
                  <a:gd name="connsiteY3" fmla="*/ 9498 h 171450"/>
                  <a:gd name="connsiteX4" fmla="*/ 64839 w 447675"/>
                  <a:gd name="connsiteY4" fmla="*/ 13194 h 171450"/>
                  <a:gd name="connsiteX5" fmla="*/ 61149 w 447675"/>
                  <a:gd name="connsiteY5" fmla="*/ 13194 h 171450"/>
                  <a:gd name="connsiteX6" fmla="*/ 57460 w 447675"/>
                  <a:gd name="connsiteY6" fmla="*/ 13194 h 171450"/>
                  <a:gd name="connsiteX7" fmla="*/ 53771 w 447675"/>
                  <a:gd name="connsiteY7" fmla="*/ 16880 h 171450"/>
                  <a:gd name="connsiteX8" fmla="*/ 50082 w 447675"/>
                  <a:gd name="connsiteY8" fmla="*/ 16880 h 171450"/>
                  <a:gd name="connsiteX9" fmla="*/ 46393 w 447675"/>
                  <a:gd name="connsiteY9" fmla="*/ 16880 h 171450"/>
                  <a:gd name="connsiteX10" fmla="*/ 42703 w 447675"/>
                  <a:gd name="connsiteY10" fmla="*/ 16880 h 171450"/>
                  <a:gd name="connsiteX11" fmla="*/ 39014 w 447675"/>
                  <a:gd name="connsiteY11" fmla="*/ 16880 h 171450"/>
                  <a:gd name="connsiteX12" fmla="*/ 35325 w 447675"/>
                  <a:gd name="connsiteY12" fmla="*/ 16880 h 171450"/>
                  <a:gd name="connsiteX13" fmla="*/ 35325 w 447675"/>
                  <a:gd name="connsiteY13" fmla="*/ 20575 h 171450"/>
                  <a:gd name="connsiteX14" fmla="*/ 31636 w 447675"/>
                  <a:gd name="connsiteY14" fmla="*/ 20575 h 171450"/>
                  <a:gd name="connsiteX15" fmla="*/ 27947 w 447675"/>
                  <a:gd name="connsiteY15" fmla="*/ 24262 h 171450"/>
                  <a:gd name="connsiteX16" fmla="*/ 24258 w 447675"/>
                  <a:gd name="connsiteY16" fmla="*/ 24262 h 171450"/>
                  <a:gd name="connsiteX17" fmla="*/ 20568 w 447675"/>
                  <a:gd name="connsiteY17" fmla="*/ 24262 h 171450"/>
                  <a:gd name="connsiteX18" fmla="*/ 16879 w 447675"/>
                  <a:gd name="connsiteY18" fmla="*/ 27957 h 171450"/>
                  <a:gd name="connsiteX19" fmla="*/ 13190 w 447675"/>
                  <a:gd name="connsiteY19" fmla="*/ 27957 h 171450"/>
                  <a:gd name="connsiteX20" fmla="*/ 13190 w 447675"/>
                  <a:gd name="connsiteY20" fmla="*/ 31643 h 171450"/>
                  <a:gd name="connsiteX21" fmla="*/ 16879 w 447675"/>
                  <a:gd name="connsiteY21" fmla="*/ 35339 h 171450"/>
                  <a:gd name="connsiteX22" fmla="*/ 16879 w 447675"/>
                  <a:gd name="connsiteY22" fmla="*/ 42711 h 171450"/>
                  <a:gd name="connsiteX23" fmla="*/ 16879 w 447675"/>
                  <a:gd name="connsiteY23" fmla="*/ 46407 h 171450"/>
                  <a:gd name="connsiteX24" fmla="*/ 16879 w 447675"/>
                  <a:gd name="connsiteY24" fmla="*/ 50093 h 171450"/>
                  <a:gd name="connsiteX25" fmla="*/ 20568 w 447675"/>
                  <a:gd name="connsiteY25" fmla="*/ 53789 h 171450"/>
                  <a:gd name="connsiteX26" fmla="*/ 20568 w 447675"/>
                  <a:gd name="connsiteY26" fmla="*/ 61171 h 171450"/>
                  <a:gd name="connsiteX27" fmla="*/ 9501 w 447675"/>
                  <a:gd name="connsiteY27" fmla="*/ 72239 h 171450"/>
                  <a:gd name="connsiteX28" fmla="*/ 5812 w 447675"/>
                  <a:gd name="connsiteY28" fmla="*/ 75935 h 171450"/>
                  <a:gd name="connsiteX29" fmla="*/ 9501 w 447675"/>
                  <a:gd name="connsiteY29" fmla="*/ 79621 h 171450"/>
                  <a:gd name="connsiteX30" fmla="*/ 16879 w 447675"/>
                  <a:gd name="connsiteY30" fmla="*/ 87003 h 171450"/>
                  <a:gd name="connsiteX31" fmla="*/ 13190 w 447675"/>
                  <a:gd name="connsiteY31" fmla="*/ 87003 h 171450"/>
                  <a:gd name="connsiteX32" fmla="*/ 9501 w 447675"/>
                  <a:gd name="connsiteY32" fmla="*/ 87003 h 171450"/>
                  <a:gd name="connsiteX33" fmla="*/ 9501 w 447675"/>
                  <a:gd name="connsiteY33" fmla="*/ 90689 h 171450"/>
                  <a:gd name="connsiteX34" fmla="*/ 13190 w 447675"/>
                  <a:gd name="connsiteY34" fmla="*/ 94385 h 171450"/>
                  <a:gd name="connsiteX35" fmla="*/ 16879 w 447675"/>
                  <a:gd name="connsiteY35" fmla="*/ 98071 h 171450"/>
                  <a:gd name="connsiteX36" fmla="*/ 16879 w 447675"/>
                  <a:gd name="connsiteY36" fmla="*/ 101766 h 171450"/>
                  <a:gd name="connsiteX37" fmla="*/ 13190 w 447675"/>
                  <a:gd name="connsiteY37" fmla="*/ 105453 h 171450"/>
                  <a:gd name="connsiteX38" fmla="*/ 16879 w 447675"/>
                  <a:gd name="connsiteY38" fmla="*/ 109148 h 171450"/>
                  <a:gd name="connsiteX39" fmla="*/ 20568 w 447675"/>
                  <a:gd name="connsiteY39" fmla="*/ 109148 h 171450"/>
                  <a:gd name="connsiteX40" fmla="*/ 24258 w 447675"/>
                  <a:gd name="connsiteY40" fmla="*/ 116530 h 171450"/>
                  <a:gd name="connsiteX41" fmla="*/ 27947 w 447675"/>
                  <a:gd name="connsiteY41" fmla="*/ 116530 h 171450"/>
                  <a:gd name="connsiteX42" fmla="*/ 31636 w 447675"/>
                  <a:gd name="connsiteY42" fmla="*/ 123912 h 171450"/>
                  <a:gd name="connsiteX43" fmla="*/ 35325 w 447675"/>
                  <a:gd name="connsiteY43" fmla="*/ 120216 h 171450"/>
                  <a:gd name="connsiteX44" fmla="*/ 39014 w 447675"/>
                  <a:gd name="connsiteY44" fmla="*/ 123912 h 171450"/>
                  <a:gd name="connsiteX45" fmla="*/ 39014 w 447675"/>
                  <a:gd name="connsiteY45" fmla="*/ 127598 h 171450"/>
                  <a:gd name="connsiteX46" fmla="*/ 39014 w 447675"/>
                  <a:gd name="connsiteY46" fmla="*/ 131294 h 171450"/>
                  <a:gd name="connsiteX47" fmla="*/ 42703 w 447675"/>
                  <a:gd name="connsiteY47" fmla="*/ 131294 h 171450"/>
                  <a:gd name="connsiteX48" fmla="*/ 46393 w 447675"/>
                  <a:gd name="connsiteY48" fmla="*/ 134980 h 171450"/>
                  <a:gd name="connsiteX49" fmla="*/ 50082 w 447675"/>
                  <a:gd name="connsiteY49" fmla="*/ 134980 h 171450"/>
                  <a:gd name="connsiteX50" fmla="*/ 61149 w 447675"/>
                  <a:gd name="connsiteY50" fmla="*/ 134980 h 171450"/>
                  <a:gd name="connsiteX51" fmla="*/ 90663 w 447675"/>
                  <a:gd name="connsiteY51" fmla="*/ 131294 h 171450"/>
                  <a:gd name="connsiteX52" fmla="*/ 86974 w 447675"/>
                  <a:gd name="connsiteY52" fmla="*/ 105453 h 171450"/>
                  <a:gd name="connsiteX53" fmla="*/ 83284 w 447675"/>
                  <a:gd name="connsiteY53" fmla="*/ 101766 h 171450"/>
                  <a:gd name="connsiteX54" fmla="*/ 90663 w 447675"/>
                  <a:gd name="connsiteY54" fmla="*/ 98071 h 171450"/>
                  <a:gd name="connsiteX55" fmla="*/ 94352 w 447675"/>
                  <a:gd name="connsiteY55" fmla="*/ 101766 h 171450"/>
                  <a:gd name="connsiteX56" fmla="*/ 98042 w 447675"/>
                  <a:gd name="connsiteY56" fmla="*/ 101766 h 171450"/>
                  <a:gd name="connsiteX57" fmla="*/ 98042 w 447675"/>
                  <a:gd name="connsiteY57" fmla="*/ 98071 h 171450"/>
                  <a:gd name="connsiteX58" fmla="*/ 101731 w 447675"/>
                  <a:gd name="connsiteY58" fmla="*/ 98071 h 171450"/>
                  <a:gd name="connsiteX59" fmla="*/ 105420 w 447675"/>
                  <a:gd name="connsiteY59" fmla="*/ 98071 h 171450"/>
                  <a:gd name="connsiteX60" fmla="*/ 105420 w 447675"/>
                  <a:gd name="connsiteY60" fmla="*/ 94385 h 171450"/>
                  <a:gd name="connsiteX61" fmla="*/ 109109 w 447675"/>
                  <a:gd name="connsiteY61" fmla="*/ 94385 h 171450"/>
                  <a:gd name="connsiteX62" fmla="*/ 112798 w 447675"/>
                  <a:gd name="connsiteY62" fmla="*/ 98071 h 171450"/>
                  <a:gd name="connsiteX63" fmla="*/ 116487 w 447675"/>
                  <a:gd name="connsiteY63" fmla="*/ 101766 h 171450"/>
                  <a:gd name="connsiteX64" fmla="*/ 120177 w 447675"/>
                  <a:gd name="connsiteY64" fmla="*/ 98071 h 171450"/>
                  <a:gd name="connsiteX65" fmla="*/ 116487 w 447675"/>
                  <a:gd name="connsiteY65" fmla="*/ 90689 h 171450"/>
                  <a:gd name="connsiteX66" fmla="*/ 123866 w 447675"/>
                  <a:gd name="connsiteY66" fmla="*/ 87003 h 171450"/>
                  <a:gd name="connsiteX67" fmla="*/ 127555 w 447675"/>
                  <a:gd name="connsiteY67" fmla="*/ 90689 h 171450"/>
                  <a:gd name="connsiteX68" fmla="*/ 134933 w 447675"/>
                  <a:gd name="connsiteY68" fmla="*/ 94385 h 171450"/>
                  <a:gd name="connsiteX69" fmla="*/ 138622 w 447675"/>
                  <a:gd name="connsiteY69" fmla="*/ 98071 h 171450"/>
                  <a:gd name="connsiteX70" fmla="*/ 146001 w 447675"/>
                  <a:gd name="connsiteY70" fmla="*/ 101766 h 171450"/>
                  <a:gd name="connsiteX71" fmla="*/ 149690 w 447675"/>
                  <a:gd name="connsiteY71" fmla="*/ 101766 h 171450"/>
                  <a:gd name="connsiteX72" fmla="*/ 149690 w 447675"/>
                  <a:gd name="connsiteY72" fmla="*/ 98071 h 171450"/>
                  <a:gd name="connsiteX73" fmla="*/ 157068 w 447675"/>
                  <a:gd name="connsiteY73" fmla="*/ 98071 h 171450"/>
                  <a:gd name="connsiteX74" fmla="*/ 164446 w 447675"/>
                  <a:gd name="connsiteY74" fmla="*/ 105453 h 171450"/>
                  <a:gd name="connsiteX75" fmla="*/ 168136 w 447675"/>
                  <a:gd name="connsiteY75" fmla="*/ 105453 h 171450"/>
                  <a:gd name="connsiteX76" fmla="*/ 171825 w 447675"/>
                  <a:gd name="connsiteY76" fmla="*/ 109148 h 171450"/>
                  <a:gd name="connsiteX77" fmla="*/ 171825 w 447675"/>
                  <a:gd name="connsiteY77" fmla="*/ 112835 h 171450"/>
                  <a:gd name="connsiteX78" fmla="*/ 182892 w 447675"/>
                  <a:gd name="connsiteY78" fmla="*/ 112835 h 171450"/>
                  <a:gd name="connsiteX79" fmla="*/ 186581 w 447675"/>
                  <a:gd name="connsiteY79" fmla="*/ 116530 h 171450"/>
                  <a:gd name="connsiteX80" fmla="*/ 186581 w 447675"/>
                  <a:gd name="connsiteY80" fmla="*/ 112835 h 171450"/>
                  <a:gd name="connsiteX81" fmla="*/ 201338 w 447675"/>
                  <a:gd name="connsiteY81" fmla="*/ 116530 h 171450"/>
                  <a:gd name="connsiteX82" fmla="*/ 205027 w 447675"/>
                  <a:gd name="connsiteY82" fmla="*/ 116530 h 171450"/>
                  <a:gd name="connsiteX83" fmla="*/ 208716 w 447675"/>
                  <a:gd name="connsiteY83" fmla="*/ 123912 h 171450"/>
                  <a:gd name="connsiteX84" fmla="*/ 212406 w 447675"/>
                  <a:gd name="connsiteY84" fmla="*/ 123912 h 171450"/>
                  <a:gd name="connsiteX85" fmla="*/ 212406 w 447675"/>
                  <a:gd name="connsiteY85" fmla="*/ 120216 h 171450"/>
                  <a:gd name="connsiteX86" fmla="*/ 216095 w 447675"/>
                  <a:gd name="connsiteY86" fmla="*/ 123912 h 171450"/>
                  <a:gd name="connsiteX87" fmla="*/ 219784 w 447675"/>
                  <a:gd name="connsiteY87" fmla="*/ 127598 h 171450"/>
                  <a:gd name="connsiteX88" fmla="*/ 223473 w 447675"/>
                  <a:gd name="connsiteY88" fmla="*/ 127598 h 171450"/>
                  <a:gd name="connsiteX89" fmla="*/ 223473 w 447675"/>
                  <a:gd name="connsiteY89" fmla="*/ 131294 h 171450"/>
                  <a:gd name="connsiteX90" fmla="*/ 219784 w 447675"/>
                  <a:gd name="connsiteY90" fmla="*/ 134980 h 171450"/>
                  <a:gd name="connsiteX91" fmla="*/ 219784 w 447675"/>
                  <a:gd name="connsiteY91" fmla="*/ 142362 h 171450"/>
                  <a:gd name="connsiteX92" fmla="*/ 219784 w 447675"/>
                  <a:gd name="connsiteY92" fmla="*/ 153430 h 171450"/>
                  <a:gd name="connsiteX93" fmla="*/ 219784 w 447675"/>
                  <a:gd name="connsiteY93" fmla="*/ 160812 h 171450"/>
                  <a:gd name="connsiteX94" fmla="*/ 223473 w 447675"/>
                  <a:gd name="connsiteY94" fmla="*/ 164508 h 171450"/>
                  <a:gd name="connsiteX95" fmla="*/ 227162 w 447675"/>
                  <a:gd name="connsiteY95" fmla="*/ 164508 h 171450"/>
                  <a:gd name="connsiteX96" fmla="*/ 227162 w 447675"/>
                  <a:gd name="connsiteY96" fmla="*/ 160812 h 171450"/>
                  <a:gd name="connsiteX97" fmla="*/ 230852 w 447675"/>
                  <a:gd name="connsiteY97" fmla="*/ 164508 h 171450"/>
                  <a:gd name="connsiteX98" fmla="*/ 234541 w 447675"/>
                  <a:gd name="connsiteY98" fmla="*/ 164508 h 171450"/>
                  <a:gd name="connsiteX99" fmla="*/ 238231 w 447675"/>
                  <a:gd name="connsiteY99" fmla="*/ 164508 h 171450"/>
                  <a:gd name="connsiteX100" fmla="*/ 241920 w 447675"/>
                  <a:gd name="connsiteY100" fmla="*/ 164508 h 171450"/>
                  <a:gd name="connsiteX101" fmla="*/ 245609 w 447675"/>
                  <a:gd name="connsiteY101" fmla="*/ 164508 h 171450"/>
                  <a:gd name="connsiteX102" fmla="*/ 249298 w 447675"/>
                  <a:gd name="connsiteY102" fmla="*/ 164508 h 171450"/>
                  <a:gd name="connsiteX103" fmla="*/ 252987 w 447675"/>
                  <a:gd name="connsiteY103" fmla="*/ 164508 h 171450"/>
                  <a:gd name="connsiteX104" fmla="*/ 256676 w 447675"/>
                  <a:gd name="connsiteY104" fmla="*/ 164508 h 171450"/>
                  <a:gd name="connsiteX105" fmla="*/ 264055 w 447675"/>
                  <a:gd name="connsiteY105" fmla="*/ 157126 h 171450"/>
                  <a:gd name="connsiteX106" fmla="*/ 267744 w 447675"/>
                  <a:gd name="connsiteY106" fmla="*/ 157126 h 171450"/>
                  <a:gd name="connsiteX107" fmla="*/ 271433 w 447675"/>
                  <a:gd name="connsiteY107" fmla="*/ 157126 h 171450"/>
                  <a:gd name="connsiteX108" fmla="*/ 271433 w 447675"/>
                  <a:gd name="connsiteY108" fmla="*/ 164508 h 171450"/>
                  <a:gd name="connsiteX109" fmla="*/ 267744 w 447675"/>
                  <a:gd name="connsiteY109" fmla="*/ 164508 h 171450"/>
                  <a:gd name="connsiteX110" fmla="*/ 264055 w 447675"/>
                  <a:gd name="connsiteY110" fmla="*/ 168194 h 171450"/>
                  <a:gd name="connsiteX111" fmla="*/ 267744 w 447675"/>
                  <a:gd name="connsiteY111" fmla="*/ 171890 h 171450"/>
                  <a:gd name="connsiteX112" fmla="*/ 271433 w 447675"/>
                  <a:gd name="connsiteY112" fmla="*/ 171890 h 171450"/>
                  <a:gd name="connsiteX113" fmla="*/ 275122 w 447675"/>
                  <a:gd name="connsiteY113" fmla="*/ 171890 h 171450"/>
                  <a:gd name="connsiteX114" fmla="*/ 282501 w 447675"/>
                  <a:gd name="connsiteY114" fmla="*/ 168194 h 171450"/>
                  <a:gd name="connsiteX115" fmla="*/ 286190 w 447675"/>
                  <a:gd name="connsiteY115" fmla="*/ 168194 h 171450"/>
                  <a:gd name="connsiteX116" fmla="*/ 282501 w 447675"/>
                  <a:gd name="connsiteY116" fmla="*/ 160812 h 171450"/>
                  <a:gd name="connsiteX117" fmla="*/ 289879 w 447675"/>
                  <a:gd name="connsiteY117" fmla="*/ 157126 h 171450"/>
                  <a:gd name="connsiteX118" fmla="*/ 293568 w 447675"/>
                  <a:gd name="connsiteY118" fmla="*/ 164508 h 171450"/>
                  <a:gd name="connsiteX119" fmla="*/ 297257 w 447675"/>
                  <a:gd name="connsiteY119" fmla="*/ 164508 h 171450"/>
                  <a:gd name="connsiteX120" fmla="*/ 297257 w 447675"/>
                  <a:gd name="connsiteY120" fmla="*/ 160812 h 171450"/>
                  <a:gd name="connsiteX121" fmla="*/ 300946 w 447675"/>
                  <a:gd name="connsiteY121" fmla="*/ 160812 h 171450"/>
                  <a:gd name="connsiteX122" fmla="*/ 304635 w 447675"/>
                  <a:gd name="connsiteY122" fmla="*/ 160812 h 171450"/>
                  <a:gd name="connsiteX123" fmla="*/ 308325 w 447675"/>
                  <a:gd name="connsiteY123" fmla="*/ 157126 h 171450"/>
                  <a:gd name="connsiteX124" fmla="*/ 308325 w 447675"/>
                  <a:gd name="connsiteY124" fmla="*/ 153430 h 171450"/>
                  <a:gd name="connsiteX125" fmla="*/ 315703 w 447675"/>
                  <a:gd name="connsiteY125" fmla="*/ 153430 h 171450"/>
                  <a:gd name="connsiteX126" fmla="*/ 319392 w 447675"/>
                  <a:gd name="connsiteY126" fmla="*/ 146048 h 171450"/>
                  <a:gd name="connsiteX127" fmla="*/ 323081 w 447675"/>
                  <a:gd name="connsiteY127" fmla="*/ 146048 h 171450"/>
                  <a:gd name="connsiteX128" fmla="*/ 326770 w 447675"/>
                  <a:gd name="connsiteY128" fmla="*/ 142362 h 171450"/>
                  <a:gd name="connsiteX129" fmla="*/ 334149 w 447675"/>
                  <a:gd name="connsiteY129" fmla="*/ 138666 h 171450"/>
                  <a:gd name="connsiteX130" fmla="*/ 337838 w 447675"/>
                  <a:gd name="connsiteY130" fmla="*/ 138666 h 171450"/>
                  <a:gd name="connsiteX131" fmla="*/ 337838 w 447675"/>
                  <a:gd name="connsiteY131" fmla="*/ 142362 h 171450"/>
                  <a:gd name="connsiteX132" fmla="*/ 341527 w 447675"/>
                  <a:gd name="connsiteY132" fmla="*/ 142362 h 171450"/>
                  <a:gd name="connsiteX133" fmla="*/ 345216 w 447675"/>
                  <a:gd name="connsiteY133" fmla="*/ 138666 h 171450"/>
                  <a:gd name="connsiteX134" fmla="*/ 345216 w 447675"/>
                  <a:gd name="connsiteY134" fmla="*/ 142362 h 171450"/>
                  <a:gd name="connsiteX135" fmla="*/ 352595 w 447675"/>
                  <a:gd name="connsiteY135" fmla="*/ 142362 h 171450"/>
                  <a:gd name="connsiteX136" fmla="*/ 356284 w 447675"/>
                  <a:gd name="connsiteY136" fmla="*/ 138666 h 171450"/>
                  <a:gd name="connsiteX137" fmla="*/ 359973 w 447675"/>
                  <a:gd name="connsiteY137" fmla="*/ 138666 h 171450"/>
                  <a:gd name="connsiteX138" fmla="*/ 363662 w 447675"/>
                  <a:gd name="connsiteY138" fmla="*/ 134980 h 171450"/>
                  <a:gd name="connsiteX139" fmla="*/ 371040 w 447675"/>
                  <a:gd name="connsiteY139" fmla="*/ 127598 h 171450"/>
                  <a:gd name="connsiteX140" fmla="*/ 378419 w 447675"/>
                  <a:gd name="connsiteY140" fmla="*/ 123912 h 171450"/>
                  <a:gd name="connsiteX141" fmla="*/ 385798 w 447675"/>
                  <a:gd name="connsiteY141" fmla="*/ 120216 h 171450"/>
                  <a:gd name="connsiteX142" fmla="*/ 404244 w 447675"/>
                  <a:gd name="connsiteY142" fmla="*/ 105453 h 171450"/>
                  <a:gd name="connsiteX143" fmla="*/ 407933 w 447675"/>
                  <a:gd name="connsiteY143" fmla="*/ 101766 h 171450"/>
                  <a:gd name="connsiteX144" fmla="*/ 444825 w 447675"/>
                  <a:gd name="connsiteY144" fmla="*/ 57475 h 171450"/>
                  <a:gd name="connsiteX145" fmla="*/ 441135 w 447675"/>
                  <a:gd name="connsiteY145" fmla="*/ 57475 h 171450"/>
                  <a:gd name="connsiteX146" fmla="*/ 441135 w 447675"/>
                  <a:gd name="connsiteY146" fmla="*/ 53789 h 171450"/>
                  <a:gd name="connsiteX147" fmla="*/ 437446 w 447675"/>
                  <a:gd name="connsiteY147" fmla="*/ 53789 h 171450"/>
                  <a:gd name="connsiteX148" fmla="*/ 437446 w 447675"/>
                  <a:gd name="connsiteY148" fmla="*/ 50093 h 171450"/>
                  <a:gd name="connsiteX149" fmla="*/ 437446 w 447675"/>
                  <a:gd name="connsiteY149" fmla="*/ 46407 h 171450"/>
                  <a:gd name="connsiteX150" fmla="*/ 433757 w 447675"/>
                  <a:gd name="connsiteY150" fmla="*/ 50093 h 171450"/>
                  <a:gd name="connsiteX151" fmla="*/ 433757 w 447675"/>
                  <a:gd name="connsiteY151" fmla="*/ 46407 h 171450"/>
                  <a:gd name="connsiteX152" fmla="*/ 433757 w 447675"/>
                  <a:gd name="connsiteY152" fmla="*/ 42711 h 171450"/>
                  <a:gd name="connsiteX153" fmla="*/ 430068 w 447675"/>
                  <a:gd name="connsiteY153" fmla="*/ 39025 h 171450"/>
                  <a:gd name="connsiteX154" fmla="*/ 426379 w 447675"/>
                  <a:gd name="connsiteY154" fmla="*/ 39025 h 171450"/>
                  <a:gd name="connsiteX155" fmla="*/ 422690 w 447675"/>
                  <a:gd name="connsiteY155" fmla="*/ 39025 h 171450"/>
                  <a:gd name="connsiteX156" fmla="*/ 426379 w 447675"/>
                  <a:gd name="connsiteY156" fmla="*/ 35339 h 171450"/>
                  <a:gd name="connsiteX157" fmla="*/ 422690 w 447675"/>
                  <a:gd name="connsiteY157" fmla="*/ 35339 h 171450"/>
                  <a:gd name="connsiteX158" fmla="*/ 419000 w 447675"/>
                  <a:gd name="connsiteY158" fmla="*/ 35339 h 171450"/>
                  <a:gd name="connsiteX159" fmla="*/ 419000 w 447675"/>
                  <a:gd name="connsiteY159" fmla="*/ 39025 h 171450"/>
                  <a:gd name="connsiteX160" fmla="*/ 415311 w 447675"/>
                  <a:gd name="connsiteY160" fmla="*/ 42711 h 171450"/>
                  <a:gd name="connsiteX161" fmla="*/ 415311 w 447675"/>
                  <a:gd name="connsiteY161" fmla="*/ 46407 h 171450"/>
                  <a:gd name="connsiteX162" fmla="*/ 419000 w 447675"/>
                  <a:gd name="connsiteY162" fmla="*/ 50093 h 171450"/>
                  <a:gd name="connsiteX163" fmla="*/ 422690 w 447675"/>
                  <a:gd name="connsiteY163" fmla="*/ 50093 h 171450"/>
                  <a:gd name="connsiteX164" fmla="*/ 422690 w 447675"/>
                  <a:gd name="connsiteY164" fmla="*/ 53789 h 171450"/>
                  <a:gd name="connsiteX165" fmla="*/ 422690 w 447675"/>
                  <a:gd name="connsiteY165" fmla="*/ 57475 h 171450"/>
                  <a:gd name="connsiteX166" fmla="*/ 419000 w 447675"/>
                  <a:gd name="connsiteY166" fmla="*/ 53789 h 171450"/>
                  <a:gd name="connsiteX167" fmla="*/ 415311 w 447675"/>
                  <a:gd name="connsiteY167" fmla="*/ 57475 h 171450"/>
                  <a:gd name="connsiteX168" fmla="*/ 419000 w 447675"/>
                  <a:gd name="connsiteY168" fmla="*/ 57475 h 171450"/>
                  <a:gd name="connsiteX169" fmla="*/ 415311 w 447675"/>
                  <a:gd name="connsiteY169" fmla="*/ 61171 h 171450"/>
                  <a:gd name="connsiteX170" fmla="*/ 419000 w 447675"/>
                  <a:gd name="connsiteY170" fmla="*/ 61171 h 171450"/>
                  <a:gd name="connsiteX171" fmla="*/ 419000 w 447675"/>
                  <a:gd name="connsiteY171" fmla="*/ 64857 h 171450"/>
                  <a:gd name="connsiteX172" fmla="*/ 415311 w 447675"/>
                  <a:gd name="connsiteY172" fmla="*/ 61171 h 171450"/>
                  <a:gd name="connsiteX173" fmla="*/ 407933 w 447675"/>
                  <a:gd name="connsiteY173" fmla="*/ 61171 h 171450"/>
                  <a:gd name="connsiteX174" fmla="*/ 411622 w 447675"/>
                  <a:gd name="connsiteY174" fmla="*/ 64857 h 171450"/>
                  <a:gd name="connsiteX175" fmla="*/ 411622 w 447675"/>
                  <a:gd name="connsiteY175" fmla="*/ 68553 h 171450"/>
                  <a:gd name="connsiteX176" fmla="*/ 407933 w 447675"/>
                  <a:gd name="connsiteY176" fmla="*/ 61171 h 171450"/>
                  <a:gd name="connsiteX177" fmla="*/ 404244 w 447675"/>
                  <a:gd name="connsiteY177" fmla="*/ 57475 h 171450"/>
                  <a:gd name="connsiteX178" fmla="*/ 400555 w 447675"/>
                  <a:gd name="connsiteY178" fmla="*/ 57475 h 171450"/>
                  <a:gd name="connsiteX179" fmla="*/ 404244 w 447675"/>
                  <a:gd name="connsiteY179" fmla="*/ 61171 h 171450"/>
                  <a:gd name="connsiteX180" fmla="*/ 407933 w 447675"/>
                  <a:gd name="connsiteY180" fmla="*/ 64857 h 171450"/>
                  <a:gd name="connsiteX181" fmla="*/ 404244 w 447675"/>
                  <a:gd name="connsiteY181" fmla="*/ 64857 h 171450"/>
                  <a:gd name="connsiteX182" fmla="*/ 404244 w 447675"/>
                  <a:gd name="connsiteY182" fmla="*/ 61171 h 171450"/>
                  <a:gd name="connsiteX183" fmla="*/ 400555 w 447675"/>
                  <a:gd name="connsiteY183" fmla="*/ 61171 h 171450"/>
                  <a:gd name="connsiteX184" fmla="*/ 396865 w 447675"/>
                  <a:gd name="connsiteY184" fmla="*/ 61171 h 171450"/>
                  <a:gd name="connsiteX185" fmla="*/ 393176 w 447675"/>
                  <a:gd name="connsiteY185" fmla="*/ 61171 h 171450"/>
                  <a:gd name="connsiteX186" fmla="*/ 393176 w 447675"/>
                  <a:gd name="connsiteY186" fmla="*/ 64857 h 171450"/>
                  <a:gd name="connsiteX187" fmla="*/ 396865 w 447675"/>
                  <a:gd name="connsiteY187" fmla="*/ 64857 h 171450"/>
                  <a:gd name="connsiteX188" fmla="*/ 396865 w 447675"/>
                  <a:gd name="connsiteY188" fmla="*/ 68553 h 171450"/>
                  <a:gd name="connsiteX189" fmla="*/ 393176 w 447675"/>
                  <a:gd name="connsiteY189" fmla="*/ 68553 h 171450"/>
                  <a:gd name="connsiteX190" fmla="*/ 385798 w 447675"/>
                  <a:gd name="connsiteY190" fmla="*/ 53789 h 171450"/>
                  <a:gd name="connsiteX191" fmla="*/ 382109 w 447675"/>
                  <a:gd name="connsiteY191" fmla="*/ 53789 h 171450"/>
                  <a:gd name="connsiteX192" fmla="*/ 371040 w 447675"/>
                  <a:gd name="connsiteY192" fmla="*/ 46407 h 171450"/>
                  <a:gd name="connsiteX193" fmla="*/ 371040 w 447675"/>
                  <a:gd name="connsiteY193" fmla="*/ 42711 h 171450"/>
                  <a:gd name="connsiteX194" fmla="*/ 367351 w 447675"/>
                  <a:gd name="connsiteY194" fmla="*/ 42711 h 171450"/>
                  <a:gd name="connsiteX195" fmla="*/ 367351 w 447675"/>
                  <a:gd name="connsiteY195" fmla="*/ 46407 h 171450"/>
                  <a:gd name="connsiteX196" fmla="*/ 352595 w 447675"/>
                  <a:gd name="connsiteY196" fmla="*/ 42711 h 171450"/>
                  <a:gd name="connsiteX197" fmla="*/ 348905 w 447675"/>
                  <a:gd name="connsiteY197" fmla="*/ 39025 h 171450"/>
                  <a:gd name="connsiteX198" fmla="*/ 348905 w 447675"/>
                  <a:gd name="connsiteY198" fmla="*/ 35339 h 171450"/>
                  <a:gd name="connsiteX199" fmla="*/ 345216 w 447675"/>
                  <a:gd name="connsiteY199" fmla="*/ 31643 h 171450"/>
                  <a:gd name="connsiteX200" fmla="*/ 345216 w 447675"/>
                  <a:gd name="connsiteY200" fmla="*/ 27957 h 171450"/>
                  <a:gd name="connsiteX201" fmla="*/ 341527 w 447675"/>
                  <a:gd name="connsiteY201" fmla="*/ 24262 h 171450"/>
                  <a:gd name="connsiteX202" fmla="*/ 345216 w 447675"/>
                  <a:gd name="connsiteY202" fmla="*/ 20575 h 171450"/>
                  <a:gd name="connsiteX203" fmla="*/ 341527 w 447675"/>
                  <a:gd name="connsiteY203" fmla="*/ 20575 h 171450"/>
                  <a:gd name="connsiteX204" fmla="*/ 337838 w 447675"/>
                  <a:gd name="connsiteY204" fmla="*/ 16880 h 171450"/>
                  <a:gd name="connsiteX205" fmla="*/ 337838 w 447675"/>
                  <a:gd name="connsiteY205" fmla="*/ 13194 h 171450"/>
                  <a:gd name="connsiteX206" fmla="*/ 330460 w 447675"/>
                  <a:gd name="connsiteY206" fmla="*/ 13194 h 171450"/>
                  <a:gd name="connsiteX207" fmla="*/ 326770 w 447675"/>
                  <a:gd name="connsiteY207" fmla="*/ 13194 h 171450"/>
                  <a:gd name="connsiteX208" fmla="*/ 323081 w 447675"/>
                  <a:gd name="connsiteY208" fmla="*/ 9498 h 171450"/>
                  <a:gd name="connsiteX209" fmla="*/ 315703 w 447675"/>
                  <a:gd name="connsiteY209" fmla="*/ 9498 h 171450"/>
                  <a:gd name="connsiteX210" fmla="*/ 312014 w 447675"/>
                  <a:gd name="connsiteY210" fmla="*/ 16880 h 171450"/>
                  <a:gd name="connsiteX211" fmla="*/ 312014 w 447675"/>
                  <a:gd name="connsiteY211" fmla="*/ 20575 h 171450"/>
                  <a:gd name="connsiteX212" fmla="*/ 308325 w 447675"/>
                  <a:gd name="connsiteY212" fmla="*/ 20575 h 171450"/>
                  <a:gd name="connsiteX213" fmla="*/ 308325 w 447675"/>
                  <a:gd name="connsiteY213" fmla="*/ 27957 h 171450"/>
                  <a:gd name="connsiteX214" fmla="*/ 308325 w 447675"/>
                  <a:gd name="connsiteY214" fmla="*/ 31643 h 171450"/>
                  <a:gd name="connsiteX215" fmla="*/ 308325 w 447675"/>
                  <a:gd name="connsiteY215" fmla="*/ 35339 h 171450"/>
                  <a:gd name="connsiteX216" fmla="*/ 308325 w 447675"/>
                  <a:gd name="connsiteY216" fmla="*/ 39025 h 171450"/>
                  <a:gd name="connsiteX217" fmla="*/ 304635 w 447675"/>
                  <a:gd name="connsiteY217" fmla="*/ 42711 h 171450"/>
                  <a:gd name="connsiteX218" fmla="*/ 297257 w 447675"/>
                  <a:gd name="connsiteY218" fmla="*/ 42711 h 171450"/>
                  <a:gd name="connsiteX219" fmla="*/ 286190 w 447675"/>
                  <a:gd name="connsiteY219" fmla="*/ 46407 h 171450"/>
                  <a:gd name="connsiteX220" fmla="*/ 278811 w 447675"/>
                  <a:gd name="connsiteY220" fmla="*/ 50093 h 171450"/>
                  <a:gd name="connsiteX221" fmla="*/ 275122 w 447675"/>
                  <a:gd name="connsiteY221" fmla="*/ 53789 h 171450"/>
                  <a:gd name="connsiteX222" fmla="*/ 271433 w 447675"/>
                  <a:gd name="connsiteY222" fmla="*/ 53789 h 171450"/>
                  <a:gd name="connsiteX223" fmla="*/ 271433 w 447675"/>
                  <a:gd name="connsiteY223" fmla="*/ 57475 h 171450"/>
                  <a:gd name="connsiteX224" fmla="*/ 264055 w 447675"/>
                  <a:gd name="connsiteY224" fmla="*/ 57475 h 171450"/>
                  <a:gd name="connsiteX225" fmla="*/ 264055 w 447675"/>
                  <a:gd name="connsiteY225" fmla="*/ 61171 h 171450"/>
                  <a:gd name="connsiteX226" fmla="*/ 260366 w 447675"/>
                  <a:gd name="connsiteY226" fmla="*/ 64857 h 171450"/>
                  <a:gd name="connsiteX227" fmla="*/ 256676 w 447675"/>
                  <a:gd name="connsiteY227" fmla="*/ 64857 h 171450"/>
                  <a:gd name="connsiteX228" fmla="*/ 249298 w 447675"/>
                  <a:gd name="connsiteY228" fmla="*/ 64857 h 171450"/>
                  <a:gd name="connsiteX229" fmla="*/ 245609 w 447675"/>
                  <a:gd name="connsiteY229" fmla="*/ 64857 h 171450"/>
                  <a:gd name="connsiteX230" fmla="*/ 241920 w 447675"/>
                  <a:gd name="connsiteY230" fmla="*/ 61171 h 171450"/>
                  <a:gd name="connsiteX231" fmla="*/ 238231 w 447675"/>
                  <a:gd name="connsiteY231" fmla="*/ 61171 h 171450"/>
                  <a:gd name="connsiteX232" fmla="*/ 238231 w 447675"/>
                  <a:gd name="connsiteY232" fmla="*/ 64857 h 171450"/>
                  <a:gd name="connsiteX233" fmla="*/ 234541 w 447675"/>
                  <a:gd name="connsiteY233" fmla="*/ 61171 h 171450"/>
                  <a:gd name="connsiteX234" fmla="*/ 234541 w 447675"/>
                  <a:gd name="connsiteY234" fmla="*/ 64857 h 171450"/>
                  <a:gd name="connsiteX235" fmla="*/ 234541 w 447675"/>
                  <a:gd name="connsiteY235" fmla="*/ 68553 h 171450"/>
                  <a:gd name="connsiteX236" fmla="*/ 230852 w 447675"/>
                  <a:gd name="connsiteY236" fmla="*/ 61171 h 171450"/>
                  <a:gd name="connsiteX237" fmla="*/ 230852 w 447675"/>
                  <a:gd name="connsiteY237" fmla="*/ 57475 h 171450"/>
                  <a:gd name="connsiteX238" fmla="*/ 227162 w 447675"/>
                  <a:gd name="connsiteY238" fmla="*/ 57475 h 171450"/>
                  <a:gd name="connsiteX239" fmla="*/ 223473 w 447675"/>
                  <a:gd name="connsiteY239" fmla="*/ 57475 h 171450"/>
                  <a:gd name="connsiteX240" fmla="*/ 223473 w 447675"/>
                  <a:gd name="connsiteY240" fmla="*/ 53789 h 171450"/>
                  <a:gd name="connsiteX241" fmla="*/ 212406 w 447675"/>
                  <a:gd name="connsiteY241" fmla="*/ 53789 h 171450"/>
                  <a:gd name="connsiteX242" fmla="*/ 212406 w 447675"/>
                  <a:gd name="connsiteY242" fmla="*/ 64857 h 171450"/>
                  <a:gd name="connsiteX243" fmla="*/ 205027 w 447675"/>
                  <a:gd name="connsiteY243" fmla="*/ 61171 h 171450"/>
                  <a:gd name="connsiteX244" fmla="*/ 205027 w 447675"/>
                  <a:gd name="connsiteY244" fmla="*/ 57475 h 171450"/>
                  <a:gd name="connsiteX245" fmla="*/ 208716 w 447675"/>
                  <a:gd name="connsiteY245" fmla="*/ 53789 h 171450"/>
                  <a:gd name="connsiteX246" fmla="*/ 205027 w 447675"/>
                  <a:gd name="connsiteY246" fmla="*/ 53789 h 171450"/>
                  <a:gd name="connsiteX247" fmla="*/ 197649 w 447675"/>
                  <a:gd name="connsiteY247" fmla="*/ 53789 h 171450"/>
                  <a:gd name="connsiteX248" fmla="*/ 193960 w 447675"/>
                  <a:gd name="connsiteY248" fmla="*/ 53789 h 171450"/>
                  <a:gd name="connsiteX249" fmla="*/ 190271 w 447675"/>
                  <a:gd name="connsiteY249" fmla="*/ 53789 h 171450"/>
                  <a:gd name="connsiteX250" fmla="*/ 186581 w 447675"/>
                  <a:gd name="connsiteY250" fmla="*/ 53789 h 171450"/>
                  <a:gd name="connsiteX251" fmla="*/ 186581 w 447675"/>
                  <a:gd name="connsiteY251" fmla="*/ 50093 h 171450"/>
                  <a:gd name="connsiteX252" fmla="*/ 182892 w 447675"/>
                  <a:gd name="connsiteY252" fmla="*/ 46407 h 171450"/>
                  <a:gd name="connsiteX253" fmla="*/ 179203 w 447675"/>
                  <a:gd name="connsiteY253" fmla="*/ 42711 h 171450"/>
                  <a:gd name="connsiteX254" fmla="*/ 175514 w 447675"/>
                  <a:gd name="connsiteY254" fmla="*/ 42711 h 171450"/>
                  <a:gd name="connsiteX255" fmla="*/ 175514 w 447675"/>
                  <a:gd name="connsiteY255" fmla="*/ 39025 h 171450"/>
                  <a:gd name="connsiteX256" fmla="*/ 171825 w 447675"/>
                  <a:gd name="connsiteY256" fmla="*/ 35339 h 171450"/>
                  <a:gd name="connsiteX257" fmla="*/ 160757 w 447675"/>
                  <a:gd name="connsiteY257" fmla="*/ 35339 h 171450"/>
                  <a:gd name="connsiteX258" fmla="*/ 153379 w 447675"/>
                  <a:gd name="connsiteY258" fmla="*/ 31643 h 171450"/>
                  <a:gd name="connsiteX259" fmla="*/ 149690 w 447675"/>
                  <a:gd name="connsiteY259" fmla="*/ 31643 h 171450"/>
                  <a:gd name="connsiteX260" fmla="*/ 138622 w 447675"/>
                  <a:gd name="connsiteY260" fmla="*/ 27957 h 171450"/>
                  <a:gd name="connsiteX261" fmla="*/ 134933 w 447675"/>
                  <a:gd name="connsiteY261" fmla="*/ 27957 h 171450"/>
                  <a:gd name="connsiteX262" fmla="*/ 134933 w 447675"/>
                  <a:gd name="connsiteY262" fmla="*/ 24262 h 171450"/>
                  <a:gd name="connsiteX263" fmla="*/ 131244 w 447675"/>
                  <a:gd name="connsiteY263" fmla="*/ 24262 h 171450"/>
                  <a:gd name="connsiteX264" fmla="*/ 123866 w 447675"/>
                  <a:gd name="connsiteY264" fmla="*/ 20575 h 171450"/>
                  <a:gd name="connsiteX265" fmla="*/ 120177 w 447675"/>
                  <a:gd name="connsiteY265" fmla="*/ 20575 h 171450"/>
                  <a:gd name="connsiteX266" fmla="*/ 116487 w 447675"/>
                  <a:gd name="connsiteY266" fmla="*/ 16880 h 171450"/>
                  <a:gd name="connsiteX267" fmla="*/ 112798 w 447675"/>
                  <a:gd name="connsiteY267" fmla="*/ 13194 h 171450"/>
                  <a:gd name="connsiteX268" fmla="*/ 109109 w 447675"/>
                  <a:gd name="connsiteY268" fmla="*/ 13194 h 171450"/>
                  <a:gd name="connsiteX269" fmla="*/ 105420 w 447675"/>
                  <a:gd name="connsiteY269" fmla="*/ 9498 h 171450"/>
                  <a:gd name="connsiteX270" fmla="*/ 101731 w 447675"/>
                  <a:gd name="connsiteY270" fmla="*/ 9498 h 171450"/>
                  <a:gd name="connsiteX271" fmla="*/ 101731 w 447675"/>
                  <a:gd name="connsiteY271" fmla="*/ 5812 h 171450"/>
                  <a:gd name="connsiteX272" fmla="*/ 90663 w 447675"/>
                  <a:gd name="connsiteY272" fmla="*/ 5812 h 171450"/>
                  <a:gd name="connsiteX273" fmla="*/ 86974 w 447675"/>
                  <a:gd name="connsiteY273" fmla="*/ 5812 h 171450"/>
                  <a:gd name="connsiteX274" fmla="*/ 79595 w 447675"/>
                  <a:gd name="connsiteY274" fmla="*/ 5812 h 171450"/>
                  <a:gd name="connsiteX275" fmla="*/ 415311 w 447675"/>
                  <a:gd name="connsiteY275" fmla="*/ 57475 h 171450"/>
                  <a:gd name="connsiteX276" fmla="*/ 411622 w 447675"/>
                  <a:gd name="connsiteY276" fmla="*/ 53789 h 171450"/>
                  <a:gd name="connsiteX277" fmla="*/ 407933 w 447675"/>
                  <a:gd name="connsiteY277" fmla="*/ 57475 h 171450"/>
                  <a:gd name="connsiteX278" fmla="*/ 415311 w 447675"/>
                  <a:gd name="connsiteY278" fmla="*/ 57475 h 171450"/>
                  <a:gd name="connsiteX279" fmla="*/ 411622 w 447675"/>
                  <a:gd name="connsiteY279" fmla="*/ 53789 h 171450"/>
                  <a:gd name="connsiteX280" fmla="*/ 415311 w 447675"/>
                  <a:gd name="connsiteY280" fmla="*/ 53789 h 171450"/>
                  <a:gd name="connsiteX281" fmla="*/ 419000 w 447675"/>
                  <a:gd name="connsiteY281" fmla="*/ 53789 h 171450"/>
                  <a:gd name="connsiteX282" fmla="*/ 422690 w 447675"/>
                  <a:gd name="connsiteY282" fmla="*/ 53789 h 171450"/>
                  <a:gd name="connsiteX283" fmla="*/ 419000 w 447675"/>
                  <a:gd name="connsiteY283" fmla="*/ 50093 h 171450"/>
                  <a:gd name="connsiteX284" fmla="*/ 415311 w 447675"/>
                  <a:gd name="connsiteY284" fmla="*/ 50093 h 171450"/>
                  <a:gd name="connsiteX285" fmla="*/ 411622 w 447675"/>
                  <a:gd name="connsiteY285" fmla="*/ 50093 h 171450"/>
                  <a:gd name="connsiteX286" fmla="*/ 411622 w 447675"/>
                  <a:gd name="connsiteY286" fmla="*/ 53789 h 171450"/>
                  <a:gd name="connsiteX287" fmla="*/ 419000 w 447675"/>
                  <a:gd name="connsiteY287" fmla="*/ 42711 h 171450"/>
                  <a:gd name="connsiteX288" fmla="*/ 422690 w 447675"/>
                  <a:gd name="connsiteY288" fmla="*/ 46407 h 171450"/>
                  <a:gd name="connsiteX289" fmla="*/ 419000 w 447675"/>
                  <a:gd name="connsiteY289" fmla="*/ 46407 h 171450"/>
                  <a:gd name="connsiteX290" fmla="*/ 419000 w 447675"/>
                  <a:gd name="connsiteY290" fmla="*/ 42711 h 171450"/>
                  <a:gd name="connsiteX291" fmla="*/ 426379 w 447675"/>
                  <a:gd name="connsiteY291" fmla="*/ 42711 h 171450"/>
                  <a:gd name="connsiteX292" fmla="*/ 430068 w 447675"/>
                  <a:gd name="connsiteY292" fmla="*/ 42711 h 171450"/>
                  <a:gd name="connsiteX293" fmla="*/ 426379 w 447675"/>
                  <a:gd name="connsiteY293" fmla="*/ 46407 h 171450"/>
                  <a:gd name="connsiteX294" fmla="*/ 426379 w 447675"/>
                  <a:gd name="connsiteY294" fmla="*/ 42711 h 171450"/>
                  <a:gd name="connsiteX295" fmla="*/ 400555 w 447675"/>
                  <a:gd name="connsiteY295" fmla="*/ 68553 h 171450"/>
                  <a:gd name="connsiteX296" fmla="*/ 404244 w 447675"/>
                  <a:gd name="connsiteY296" fmla="*/ 68553 h 171450"/>
                  <a:gd name="connsiteX297" fmla="*/ 404244 w 447675"/>
                  <a:gd name="connsiteY297" fmla="*/ 72239 h 171450"/>
                  <a:gd name="connsiteX298" fmla="*/ 400555 w 447675"/>
                  <a:gd name="connsiteY298" fmla="*/ 72239 h 171450"/>
                  <a:gd name="connsiteX299" fmla="*/ 400555 w 447675"/>
                  <a:gd name="connsiteY299" fmla="*/ 6855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Lst>
                <a:rect l="l" t="t" r="r" b="b"/>
                <a:pathLst>
                  <a:path w="447675" h="171450">
                    <a:moveTo>
                      <a:pt x="79595" y="5812"/>
                    </a:moveTo>
                    <a:lnTo>
                      <a:pt x="79595" y="9498"/>
                    </a:lnTo>
                    <a:lnTo>
                      <a:pt x="75906" y="9498"/>
                    </a:lnTo>
                    <a:lnTo>
                      <a:pt x="72217" y="9498"/>
                    </a:lnTo>
                    <a:lnTo>
                      <a:pt x="64839" y="13194"/>
                    </a:lnTo>
                    <a:lnTo>
                      <a:pt x="61149" y="13194"/>
                    </a:lnTo>
                    <a:lnTo>
                      <a:pt x="57460" y="13194"/>
                    </a:lnTo>
                    <a:lnTo>
                      <a:pt x="53771" y="16880"/>
                    </a:lnTo>
                    <a:lnTo>
                      <a:pt x="50082" y="16880"/>
                    </a:lnTo>
                    <a:lnTo>
                      <a:pt x="46393" y="16880"/>
                    </a:lnTo>
                    <a:lnTo>
                      <a:pt x="42703" y="16880"/>
                    </a:lnTo>
                    <a:lnTo>
                      <a:pt x="39014" y="16880"/>
                    </a:lnTo>
                    <a:lnTo>
                      <a:pt x="35325" y="16880"/>
                    </a:lnTo>
                    <a:lnTo>
                      <a:pt x="35325" y="20575"/>
                    </a:lnTo>
                    <a:lnTo>
                      <a:pt x="31636" y="20575"/>
                    </a:lnTo>
                    <a:lnTo>
                      <a:pt x="27947" y="24262"/>
                    </a:lnTo>
                    <a:lnTo>
                      <a:pt x="24258" y="24262"/>
                    </a:lnTo>
                    <a:lnTo>
                      <a:pt x="20568" y="24262"/>
                    </a:lnTo>
                    <a:lnTo>
                      <a:pt x="16879" y="27957"/>
                    </a:lnTo>
                    <a:lnTo>
                      <a:pt x="13190" y="27957"/>
                    </a:lnTo>
                    <a:lnTo>
                      <a:pt x="13190" y="31643"/>
                    </a:lnTo>
                    <a:lnTo>
                      <a:pt x="16879" y="35339"/>
                    </a:lnTo>
                    <a:lnTo>
                      <a:pt x="16879" y="42711"/>
                    </a:lnTo>
                    <a:lnTo>
                      <a:pt x="16879" y="46407"/>
                    </a:lnTo>
                    <a:lnTo>
                      <a:pt x="16879" y="50093"/>
                    </a:lnTo>
                    <a:lnTo>
                      <a:pt x="20568" y="53789"/>
                    </a:lnTo>
                    <a:lnTo>
                      <a:pt x="20568" y="61171"/>
                    </a:lnTo>
                    <a:lnTo>
                      <a:pt x="9501" y="72239"/>
                    </a:lnTo>
                    <a:lnTo>
                      <a:pt x="5812" y="75935"/>
                    </a:lnTo>
                    <a:lnTo>
                      <a:pt x="9501" y="79621"/>
                    </a:lnTo>
                    <a:lnTo>
                      <a:pt x="16879" y="87003"/>
                    </a:lnTo>
                    <a:lnTo>
                      <a:pt x="13190" y="87003"/>
                    </a:lnTo>
                    <a:lnTo>
                      <a:pt x="9501" y="87003"/>
                    </a:lnTo>
                    <a:lnTo>
                      <a:pt x="9501" y="90689"/>
                    </a:lnTo>
                    <a:lnTo>
                      <a:pt x="13190" y="94385"/>
                    </a:lnTo>
                    <a:lnTo>
                      <a:pt x="16879" y="98071"/>
                    </a:lnTo>
                    <a:lnTo>
                      <a:pt x="16879" y="101766"/>
                    </a:lnTo>
                    <a:lnTo>
                      <a:pt x="13190" y="105453"/>
                    </a:lnTo>
                    <a:lnTo>
                      <a:pt x="16879" y="109148"/>
                    </a:lnTo>
                    <a:lnTo>
                      <a:pt x="20568" y="109148"/>
                    </a:lnTo>
                    <a:lnTo>
                      <a:pt x="24258" y="116530"/>
                    </a:lnTo>
                    <a:lnTo>
                      <a:pt x="27947" y="116530"/>
                    </a:lnTo>
                    <a:lnTo>
                      <a:pt x="31636" y="123912"/>
                    </a:lnTo>
                    <a:lnTo>
                      <a:pt x="35325" y="120216"/>
                    </a:lnTo>
                    <a:lnTo>
                      <a:pt x="39014" y="123912"/>
                    </a:lnTo>
                    <a:lnTo>
                      <a:pt x="39014" y="127598"/>
                    </a:lnTo>
                    <a:lnTo>
                      <a:pt x="39014" y="131294"/>
                    </a:lnTo>
                    <a:lnTo>
                      <a:pt x="42703" y="131294"/>
                    </a:lnTo>
                    <a:lnTo>
                      <a:pt x="46393" y="134980"/>
                    </a:lnTo>
                    <a:lnTo>
                      <a:pt x="50082" y="134980"/>
                    </a:lnTo>
                    <a:lnTo>
                      <a:pt x="61149" y="134980"/>
                    </a:lnTo>
                    <a:lnTo>
                      <a:pt x="90663" y="131294"/>
                    </a:lnTo>
                    <a:lnTo>
                      <a:pt x="86974" y="105453"/>
                    </a:lnTo>
                    <a:lnTo>
                      <a:pt x="83284" y="101766"/>
                    </a:lnTo>
                    <a:lnTo>
                      <a:pt x="90663" y="98071"/>
                    </a:lnTo>
                    <a:lnTo>
                      <a:pt x="94352" y="101766"/>
                    </a:lnTo>
                    <a:lnTo>
                      <a:pt x="98042" y="101766"/>
                    </a:lnTo>
                    <a:lnTo>
                      <a:pt x="98042" y="98071"/>
                    </a:lnTo>
                    <a:lnTo>
                      <a:pt x="101731" y="98071"/>
                    </a:lnTo>
                    <a:lnTo>
                      <a:pt x="105420" y="98071"/>
                    </a:lnTo>
                    <a:lnTo>
                      <a:pt x="105420" y="94385"/>
                    </a:lnTo>
                    <a:lnTo>
                      <a:pt x="109109" y="94385"/>
                    </a:lnTo>
                    <a:lnTo>
                      <a:pt x="112798" y="98071"/>
                    </a:lnTo>
                    <a:lnTo>
                      <a:pt x="116487" y="101766"/>
                    </a:lnTo>
                    <a:lnTo>
                      <a:pt x="120177" y="98071"/>
                    </a:lnTo>
                    <a:lnTo>
                      <a:pt x="116487" y="90689"/>
                    </a:lnTo>
                    <a:lnTo>
                      <a:pt x="123866" y="87003"/>
                    </a:lnTo>
                    <a:lnTo>
                      <a:pt x="127555" y="90689"/>
                    </a:lnTo>
                    <a:lnTo>
                      <a:pt x="134933" y="94385"/>
                    </a:lnTo>
                    <a:lnTo>
                      <a:pt x="138622" y="98071"/>
                    </a:lnTo>
                    <a:lnTo>
                      <a:pt x="146001" y="101766"/>
                    </a:lnTo>
                    <a:lnTo>
                      <a:pt x="149690" y="101766"/>
                    </a:lnTo>
                    <a:lnTo>
                      <a:pt x="149690" y="98071"/>
                    </a:lnTo>
                    <a:lnTo>
                      <a:pt x="157068" y="98071"/>
                    </a:lnTo>
                    <a:lnTo>
                      <a:pt x="164446" y="105453"/>
                    </a:lnTo>
                    <a:lnTo>
                      <a:pt x="168136" y="105453"/>
                    </a:lnTo>
                    <a:lnTo>
                      <a:pt x="171825" y="109148"/>
                    </a:lnTo>
                    <a:lnTo>
                      <a:pt x="171825" y="112835"/>
                    </a:lnTo>
                    <a:lnTo>
                      <a:pt x="182892" y="112835"/>
                    </a:lnTo>
                    <a:lnTo>
                      <a:pt x="186581" y="116530"/>
                    </a:lnTo>
                    <a:lnTo>
                      <a:pt x="186581" y="112835"/>
                    </a:lnTo>
                    <a:lnTo>
                      <a:pt x="201338" y="116530"/>
                    </a:lnTo>
                    <a:lnTo>
                      <a:pt x="205027" y="116530"/>
                    </a:lnTo>
                    <a:lnTo>
                      <a:pt x="208716" y="123912"/>
                    </a:lnTo>
                    <a:lnTo>
                      <a:pt x="212406" y="123912"/>
                    </a:lnTo>
                    <a:lnTo>
                      <a:pt x="212406" y="120216"/>
                    </a:lnTo>
                    <a:lnTo>
                      <a:pt x="216095" y="123912"/>
                    </a:lnTo>
                    <a:lnTo>
                      <a:pt x="219784" y="127598"/>
                    </a:lnTo>
                    <a:lnTo>
                      <a:pt x="223473" y="127598"/>
                    </a:lnTo>
                    <a:lnTo>
                      <a:pt x="223473" y="131294"/>
                    </a:lnTo>
                    <a:lnTo>
                      <a:pt x="219784" y="134980"/>
                    </a:lnTo>
                    <a:lnTo>
                      <a:pt x="219784" y="142362"/>
                    </a:lnTo>
                    <a:lnTo>
                      <a:pt x="219784" y="153430"/>
                    </a:lnTo>
                    <a:lnTo>
                      <a:pt x="219784" y="160812"/>
                    </a:lnTo>
                    <a:lnTo>
                      <a:pt x="223473" y="164508"/>
                    </a:lnTo>
                    <a:lnTo>
                      <a:pt x="227162" y="164508"/>
                    </a:lnTo>
                    <a:lnTo>
                      <a:pt x="227162" y="160812"/>
                    </a:lnTo>
                    <a:lnTo>
                      <a:pt x="230852" y="164508"/>
                    </a:lnTo>
                    <a:lnTo>
                      <a:pt x="234541" y="164508"/>
                    </a:lnTo>
                    <a:lnTo>
                      <a:pt x="238231" y="164508"/>
                    </a:lnTo>
                    <a:lnTo>
                      <a:pt x="241920" y="164508"/>
                    </a:lnTo>
                    <a:lnTo>
                      <a:pt x="245609" y="164508"/>
                    </a:lnTo>
                    <a:lnTo>
                      <a:pt x="249298" y="164508"/>
                    </a:lnTo>
                    <a:lnTo>
                      <a:pt x="252987" y="164508"/>
                    </a:lnTo>
                    <a:lnTo>
                      <a:pt x="256676" y="164508"/>
                    </a:lnTo>
                    <a:lnTo>
                      <a:pt x="264055" y="157126"/>
                    </a:lnTo>
                    <a:lnTo>
                      <a:pt x="267744" y="157126"/>
                    </a:lnTo>
                    <a:lnTo>
                      <a:pt x="271433" y="157126"/>
                    </a:lnTo>
                    <a:lnTo>
                      <a:pt x="271433" y="164508"/>
                    </a:lnTo>
                    <a:lnTo>
                      <a:pt x="267744" y="164508"/>
                    </a:lnTo>
                    <a:lnTo>
                      <a:pt x="264055" y="168194"/>
                    </a:lnTo>
                    <a:lnTo>
                      <a:pt x="267744" y="171890"/>
                    </a:lnTo>
                    <a:lnTo>
                      <a:pt x="271433" y="171890"/>
                    </a:lnTo>
                    <a:lnTo>
                      <a:pt x="275122" y="171890"/>
                    </a:lnTo>
                    <a:lnTo>
                      <a:pt x="282501" y="168194"/>
                    </a:lnTo>
                    <a:lnTo>
                      <a:pt x="286190" y="168194"/>
                    </a:lnTo>
                    <a:lnTo>
                      <a:pt x="282501" y="160812"/>
                    </a:lnTo>
                    <a:lnTo>
                      <a:pt x="289879" y="157126"/>
                    </a:lnTo>
                    <a:lnTo>
                      <a:pt x="293568" y="164508"/>
                    </a:lnTo>
                    <a:lnTo>
                      <a:pt x="297257" y="164508"/>
                    </a:lnTo>
                    <a:lnTo>
                      <a:pt x="297257" y="160812"/>
                    </a:lnTo>
                    <a:lnTo>
                      <a:pt x="300946" y="160812"/>
                    </a:lnTo>
                    <a:lnTo>
                      <a:pt x="304635" y="160812"/>
                    </a:lnTo>
                    <a:lnTo>
                      <a:pt x="308325" y="157126"/>
                    </a:lnTo>
                    <a:lnTo>
                      <a:pt x="308325" y="153430"/>
                    </a:lnTo>
                    <a:lnTo>
                      <a:pt x="315703" y="153430"/>
                    </a:lnTo>
                    <a:lnTo>
                      <a:pt x="319392" y="146048"/>
                    </a:lnTo>
                    <a:lnTo>
                      <a:pt x="323081" y="146048"/>
                    </a:lnTo>
                    <a:lnTo>
                      <a:pt x="326770" y="142362"/>
                    </a:lnTo>
                    <a:lnTo>
                      <a:pt x="334149" y="138666"/>
                    </a:lnTo>
                    <a:lnTo>
                      <a:pt x="337838" y="138666"/>
                    </a:lnTo>
                    <a:lnTo>
                      <a:pt x="337838" y="142362"/>
                    </a:lnTo>
                    <a:lnTo>
                      <a:pt x="341527" y="142362"/>
                    </a:lnTo>
                    <a:lnTo>
                      <a:pt x="345216" y="138666"/>
                    </a:lnTo>
                    <a:lnTo>
                      <a:pt x="345216" y="142362"/>
                    </a:lnTo>
                    <a:lnTo>
                      <a:pt x="352595" y="142362"/>
                    </a:lnTo>
                    <a:lnTo>
                      <a:pt x="356284" y="138666"/>
                    </a:lnTo>
                    <a:lnTo>
                      <a:pt x="359973" y="138666"/>
                    </a:lnTo>
                    <a:lnTo>
                      <a:pt x="363662" y="134980"/>
                    </a:lnTo>
                    <a:lnTo>
                      <a:pt x="371040" y="127598"/>
                    </a:lnTo>
                    <a:lnTo>
                      <a:pt x="378419" y="123912"/>
                    </a:lnTo>
                    <a:lnTo>
                      <a:pt x="385798" y="120216"/>
                    </a:lnTo>
                    <a:lnTo>
                      <a:pt x="404244" y="105453"/>
                    </a:lnTo>
                    <a:lnTo>
                      <a:pt x="407933" y="101766"/>
                    </a:lnTo>
                    <a:lnTo>
                      <a:pt x="444825" y="57475"/>
                    </a:lnTo>
                    <a:lnTo>
                      <a:pt x="441135" y="57475"/>
                    </a:lnTo>
                    <a:lnTo>
                      <a:pt x="441135" y="53789"/>
                    </a:lnTo>
                    <a:lnTo>
                      <a:pt x="437446" y="53789"/>
                    </a:lnTo>
                    <a:lnTo>
                      <a:pt x="437446" y="50093"/>
                    </a:lnTo>
                    <a:lnTo>
                      <a:pt x="437446" y="46407"/>
                    </a:lnTo>
                    <a:lnTo>
                      <a:pt x="433757" y="50093"/>
                    </a:lnTo>
                    <a:lnTo>
                      <a:pt x="433757" y="46407"/>
                    </a:lnTo>
                    <a:lnTo>
                      <a:pt x="433757" y="42711"/>
                    </a:lnTo>
                    <a:lnTo>
                      <a:pt x="430068" y="39025"/>
                    </a:lnTo>
                    <a:lnTo>
                      <a:pt x="426379" y="39025"/>
                    </a:lnTo>
                    <a:lnTo>
                      <a:pt x="422690" y="39025"/>
                    </a:lnTo>
                    <a:lnTo>
                      <a:pt x="426379" y="35339"/>
                    </a:lnTo>
                    <a:lnTo>
                      <a:pt x="422690" y="35339"/>
                    </a:lnTo>
                    <a:lnTo>
                      <a:pt x="419000" y="35339"/>
                    </a:lnTo>
                    <a:lnTo>
                      <a:pt x="419000" y="39025"/>
                    </a:lnTo>
                    <a:lnTo>
                      <a:pt x="415311" y="42711"/>
                    </a:lnTo>
                    <a:lnTo>
                      <a:pt x="415311" y="46407"/>
                    </a:lnTo>
                    <a:lnTo>
                      <a:pt x="419000" y="50093"/>
                    </a:lnTo>
                    <a:lnTo>
                      <a:pt x="422690" y="50093"/>
                    </a:lnTo>
                    <a:lnTo>
                      <a:pt x="422690" y="53789"/>
                    </a:lnTo>
                    <a:lnTo>
                      <a:pt x="422690" y="57475"/>
                    </a:lnTo>
                    <a:lnTo>
                      <a:pt x="419000" y="53789"/>
                    </a:lnTo>
                    <a:lnTo>
                      <a:pt x="415311" y="57475"/>
                    </a:lnTo>
                    <a:lnTo>
                      <a:pt x="419000" y="57475"/>
                    </a:lnTo>
                    <a:lnTo>
                      <a:pt x="415311" y="61171"/>
                    </a:lnTo>
                    <a:lnTo>
                      <a:pt x="419000" y="61171"/>
                    </a:lnTo>
                    <a:lnTo>
                      <a:pt x="419000" y="64857"/>
                    </a:lnTo>
                    <a:lnTo>
                      <a:pt x="415311" y="61171"/>
                    </a:lnTo>
                    <a:lnTo>
                      <a:pt x="407933" y="61171"/>
                    </a:lnTo>
                    <a:lnTo>
                      <a:pt x="411622" y="64857"/>
                    </a:lnTo>
                    <a:lnTo>
                      <a:pt x="411622" y="68553"/>
                    </a:lnTo>
                    <a:lnTo>
                      <a:pt x="407933" y="61171"/>
                    </a:lnTo>
                    <a:lnTo>
                      <a:pt x="404244" y="57475"/>
                    </a:lnTo>
                    <a:lnTo>
                      <a:pt x="400555" y="57475"/>
                    </a:lnTo>
                    <a:lnTo>
                      <a:pt x="404244" y="61171"/>
                    </a:lnTo>
                    <a:lnTo>
                      <a:pt x="407933" y="64857"/>
                    </a:lnTo>
                    <a:lnTo>
                      <a:pt x="404244" y="64857"/>
                    </a:lnTo>
                    <a:lnTo>
                      <a:pt x="404244" y="61171"/>
                    </a:lnTo>
                    <a:lnTo>
                      <a:pt x="400555" y="61171"/>
                    </a:lnTo>
                    <a:lnTo>
                      <a:pt x="396865" y="61171"/>
                    </a:lnTo>
                    <a:lnTo>
                      <a:pt x="393176" y="61171"/>
                    </a:lnTo>
                    <a:lnTo>
                      <a:pt x="393176" y="64857"/>
                    </a:lnTo>
                    <a:lnTo>
                      <a:pt x="396865" y="64857"/>
                    </a:lnTo>
                    <a:lnTo>
                      <a:pt x="396865" y="68553"/>
                    </a:lnTo>
                    <a:lnTo>
                      <a:pt x="393176" y="68553"/>
                    </a:lnTo>
                    <a:lnTo>
                      <a:pt x="385798" y="53789"/>
                    </a:lnTo>
                    <a:lnTo>
                      <a:pt x="382109" y="53789"/>
                    </a:lnTo>
                    <a:lnTo>
                      <a:pt x="371040" y="46407"/>
                    </a:lnTo>
                    <a:lnTo>
                      <a:pt x="371040" y="42711"/>
                    </a:lnTo>
                    <a:lnTo>
                      <a:pt x="367351" y="42711"/>
                    </a:lnTo>
                    <a:lnTo>
                      <a:pt x="367351" y="46407"/>
                    </a:lnTo>
                    <a:lnTo>
                      <a:pt x="352595" y="42711"/>
                    </a:lnTo>
                    <a:lnTo>
                      <a:pt x="348905" y="39025"/>
                    </a:lnTo>
                    <a:lnTo>
                      <a:pt x="348905" y="35339"/>
                    </a:lnTo>
                    <a:lnTo>
                      <a:pt x="345216" y="31643"/>
                    </a:lnTo>
                    <a:lnTo>
                      <a:pt x="345216" y="27957"/>
                    </a:lnTo>
                    <a:lnTo>
                      <a:pt x="341527" y="24262"/>
                    </a:lnTo>
                    <a:lnTo>
                      <a:pt x="345216" y="20575"/>
                    </a:lnTo>
                    <a:lnTo>
                      <a:pt x="341527" y="20575"/>
                    </a:lnTo>
                    <a:lnTo>
                      <a:pt x="337838" y="16880"/>
                    </a:lnTo>
                    <a:lnTo>
                      <a:pt x="337838" y="13194"/>
                    </a:lnTo>
                    <a:lnTo>
                      <a:pt x="330460" y="13194"/>
                    </a:lnTo>
                    <a:lnTo>
                      <a:pt x="326770" y="13194"/>
                    </a:lnTo>
                    <a:lnTo>
                      <a:pt x="323081" y="9498"/>
                    </a:lnTo>
                    <a:lnTo>
                      <a:pt x="315703" y="9498"/>
                    </a:lnTo>
                    <a:lnTo>
                      <a:pt x="312014" y="16880"/>
                    </a:lnTo>
                    <a:lnTo>
                      <a:pt x="312014" y="20575"/>
                    </a:lnTo>
                    <a:lnTo>
                      <a:pt x="308325" y="20575"/>
                    </a:lnTo>
                    <a:lnTo>
                      <a:pt x="308325" y="27957"/>
                    </a:lnTo>
                    <a:lnTo>
                      <a:pt x="308325" y="31643"/>
                    </a:lnTo>
                    <a:lnTo>
                      <a:pt x="308325" y="35339"/>
                    </a:lnTo>
                    <a:lnTo>
                      <a:pt x="308325" y="39025"/>
                    </a:lnTo>
                    <a:lnTo>
                      <a:pt x="304635" y="42711"/>
                    </a:lnTo>
                    <a:lnTo>
                      <a:pt x="297257" y="42711"/>
                    </a:lnTo>
                    <a:lnTo>
                      <a:pt x="286190" y="46407"/>
                    </a:lnTo>
                    <a:lnTo>
                      <a:pt x="278811" y="50093"/>
                    </a:lnTo>
                    <a:lnTo>
                      <a:pt x="275122" y="53789"/>
                    </a:lnTo>
                    <a:lnTo>
                      <a:pt x="271433" y="53789"/>
                    </a:lnTo>
                    <a:lnTo>
                      <a:pt x="271433" y="57475"/>
                    </a:lnTo>
                    <a:lnTo>
                      <a:pt x="264055" y="57475"/>
                    </a:lnTo>
                    <a:lnTo>
                      <a:pt x="264055" y="61171"/>
                    </a:lnTo>
                    <a:lnTo>
                      <a:pt x="260366" y="64857"/>
                    </a:lnTo>
                    <a:lnTo>
                      <a:pt x="256676" y="64857"/>
                    </a:lnTo>
                    <a:lnTo>
                      <a:pt x="249298" y="64857"/>
                    </a:lnTo>
                    <a:lnTo>
                      <a:pt x="245609" y="64857"/>
                    </a:lnTo>
                    <a:lnTo>
                      <a:pt x="241920" y="61171"/>
                    </a:lnTo>
                    <a:lnTo>
                      <a:pt x="238231" y="61171"/>
                    </a:lnTo>
                    <a:lnTo>
                      <a:pt x="238231" y="64857"/>
                    </a:lnTo>
                    <a:lnTo>
                      <a:pt x="234541" y="61171"/>
                    </a:lnTo>
                    <a:lnTo>
                      <a:pt x="234541" y="64857"/>
                    </a:lnTo>
                    <a:lnTo>
                      <a:pt x="234541" y="68553"/>
                    </a:lnTo>
                    <a:lnTo>
                      <a:pt x="230852" y="61171"/>
                    </a:lnTo>
                    <a:lnTo>
                      <a:pt x="230852" y="57475"/>
                    </a:lnTo>
                    <a:lnTo>
                      <a:pt x="227162" y="57475"/>
                    </a:lnTo>
                    <a:lnTo>
                      <a:pt x="223473" y="57475"/>
                    </a:lnTo>
                    <a:lnTo>
                      <a:pt x="223473" y="53789"/>
                    </a:lnTo>
                    <a:lnTo>
                      <a:pt x="212406" y="53789"/>
                    </a:lnTo>
                    <a:lnTo>
                      <a:pt x="212406" y="64857"/>
                    </a:lnTo>
                    <a:lnTo>
                      <a:pt x="205027" y="61171"/>
                    </a:lnTo>
                    <a:lnTo>
                      <a:pt x="205027" y="57475"/>
                    </a:lnTo>
                    <a:lnTo>
                      <a:pt x="208716" y="53789"/>
                    </a:lnTo>
                    <a:lnTo>
                      <a:pt x="205027" y="53789"/>
                    </a:lnTo>
                    <a:lnTo>
                      <a:pt x="197649" y="53789"/>
                    </a:lnTo>
                    <a:lnTo>
                      <a:pt x="193960" y="53789"/>
                    </a:lnTo>
                    <a:lnTo>
                      <a:pt x="190271" y="53789"/>
                    </a:lnTo>
                    <a:lnTo>
                      <a:pt x="186581" y="53789"/>
                    </a:lnTo>
                    <a:lnTo>
                      <a:pt x="186581" y="50093"/>
                    </a:lnTo>
                    <a:lnTo>
                      <a:pt x="182892" y="46407"/>
                    </a:lnTo>
                    <a:lnTo>
                      <a:pt x="179203" y="42711"/>
                    </a:lnTo>
                    <a:lnTo>
                      <a:pt x="175514" y="42711"/>
                    </a:lnTo>
                    <a:lnTo>
                      <a:pt x="175514" y="39025"/>
                    </a:lnTo>
                    <a:lnTo>
                      <a:pt x="171825" y="35339"/>
                    </a:lnTo>
                    <a:lnTo>
                      <a:pt x="160757" y="35339"/>
                    </a:lnTo>
                    <a:lnTo>
                      <a:pt x="153379" y="31643"/>
                    </a:lnTo>
                    <a:lnTo>
                      <a:pt x="149690" y="31643"/>
                    </a:lnTo>
                    <a:lnTo>
                      <a:pt x="138622" y="27957"/>
                    </a:lnTo>
                    <a:lnTo>
                      <a:pt x="134933" y="27957"/>
                    </a:lnTo>
                    <a:lnTo>
                      <a:pt x="134933" y="24262"/>
                    </a:lnTo>
                    <a:lnTo>
                      <a:pt x="131244" y="24262"/>
                    </a:lnTo>
                    <a:lnTo>
                      <a:pt x="123866" y="20575"/>
                    </a:lnTo>
                    <a:lnTo>
                      <a:pt x="120177" y="20575"/>
                    </a:lnTo>
                    <a:lnTo>
                      <a:pt x="116487" y="16880"/>
                    </a:lnTo>
                    <a:lnTo>
                      <a:pt x="112798" y="13194"/>
                    </a:lnTo>
                    <a:lnTo>
                      <a:pt x="109109" y="13194"/>
                    </a:lnTo>
                    <a:lnTo>
                      <a:pt x="105420" y="9498"/>
                    </a:lnTo>
                    <a:lnTo>
                      <a:pt x="101731" y="9498"/>
                    </a:lnTo>
                    <a:lnTo>
                      <a:pt x="101731" y="5812"/>
                    </a:lnTo>
                    <a:lnTo>
                      <a:pt x="90663" y="5812"/>
                    </a:lnTo>
                    <a:lnTo>
                      <a:pt x="86974" y="5812"/>
                    </a:lnTo>
                    <a:lnTo>
                      <a:pt x="79595" y="5812"/>
                    </a:lnTo>
                    <a:close/>
                    <a:moveTo>
                      <a:pt x="415311" y="57475"/>
                    </a:moveTo>
                    <a:lnTo>
                      <a:pt x="411622" y="53789"/>
                    </a:lnTo>
                    <a:lnTo>
                      <a:pt x="407933" y="57475"/>
                    </a:lnTo>
                    <a:lnTo>
                      <a:pt x="415311" y="57475"/>
                    </a:lnTo>
                    <a:close/>
                    <a:moveTo>
                      <a:pt x="411622" y="53789"/>
                    </a:moveTo>
                    <a:lnTo>
                      <a:pt x="415311" y="53789"/>
                    </a:lnTo>
                    <a:lnTo>
                      <a:pt x="419000" y="53789"/>
                    </a:lnTo>
                    <a:lnTo>
                      <a:pt x="422690" y="53789"/>
                    </a:lnTo>
                    <a:lnTo>
                      <a:pt x="419000" y="50093"/>
                    </a:lnTo>
                    <a:lnTo>
                      <a:pt x="415311" y="50093"/>
                    </a:lnTo>
                    <a:lnTo>
                      <a:pt x="411622" y="50093"/>
                    </a:lnTo>
                    <a:lnTo>
                      <a:pt x="411622" y="53789"/>
                    </a:lnTo>
                    <a:close/>
                    <a:moveTo>
                      <a:pt x="419000" y="42711"/>
                    </a:moveTo>
                    <a:lnTo>
                      <a:pt x="422690" y="46407"/>
                    </a:lnTo>
                    <a:lnTo>
                      <a:pt x="419000" y="46407"/>
                    </a:lnTo>
                    <a:lnTo>
                      <a:pt x="419000" y="42711"/>
                    </a:lnTo>
                    <a:close/>
                    <a:moveTo>
                      <a:pt x="426379" y="42711"/>
                    </a:moveTo>
                    <a:lnTo>
                      <a:pt x="430068" y="42711"/>
                    </a:lnTo>
                    <a:lnTo>
                      <a:pt x="426379" y="46407"/>
                    </a:lnTo>
                    <a:lnTo>
                      <a:pt x="426379" y="42711"/>
                    </a:lnTo>
                    <a:close/>
                    <a:moveTo>
                      <a:pt x="400555" y="68553"/>
                    </a:moveTo>
                    <a:lnTo>
                      <a:pt x="404244" y="68553"/>
                    </a:lnTo>
                    <a:lnTo>
                      <a:pt x="404244" y="72239"/>
                    </a:lnTo>
                    <a:lnTo>
                      <a:pt x="400555" y="72239"/>
                    </a:lnTo>
                    <a:lnTo>
                      <a:pt x="400555" y="68553"/>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30" name="Freeform: Shape 129">
                <a:extLst>
                  <a:ext uri="{FF2B5EF4-FFF2-40B4-BE49-F238E27FC236}">
                    <a16:creationId xmlns:a16="http://schemas.microsoft.com/office/drawing/2014/main" id="{E6AE2AFF-BB4A-4191-BD8F-BB6A1E93D596}"/>
                  </a:ext>
                </a:extLst>
              </p:cNvPr>
              <p:cNvSpPr/>
              <p:nvPr/>
            </p:nvSpPr>
            <p:spPr>
              <a:xfrm>
                <a:off x="1420946" y="4678804"/>
                <a:ext cx="21660" cy="43320"/>
              </a:xfrm>
              <a:custGeom>
                <a:avLst/>
                <a:gdLst>
                  <a:gd name="connsiteX0" fmla="*/ 9501 w 9525"/>
                  <a:gd name="connsiteY0" fmla="*/ 13184 h 19050"/>
                  <a:gd name="connsiteX1" fmla="*/ 9501 w 9525"/>
                  <a:gd name="connsiteY1" fmla="*/ 13184 h 19050"/>
                  <a:gd name="connsiteX2" fmla="*/ 5812 w 9525"/>
                  <a:gd name="connsiteY2" fmla="*/ 9498 h 19050"/>
                  <a:gd name="connsiteX3" fmla="*/ 5812 w 9525"/>
                  <a:gd name="connsiteY3" fmla="*/ 5812 h 19050"/>
                  <a:gd name="connsiteX4" fmla="*/ 5812 w 9525"/>
                  <a:gd name="connsiteY4" fmla="*/ 5812 h 19050"/>
                  <a:gd name="connsiteX5" fmla="*/ 9501 w 9525"/>
                  <a:gd name="connsiteY5" fmla="*/ 5812 h 19050"/>
                  <a:gd name="connsiteX6" fmla="*/ 13190 w 9525"/>
                  <a:gd name="connsiteY6" fmla="*/ 9498 h 19050"/>
                  <a:gd name="connsiteX7" fmla="*/ 13190 w 9525"/>
                  <a:gd name="connsiteY7" fmla="*/ 13184 h 19050"/>
                  <a:gd name="connsiteX8" fmla="*/ 9501 w 9525"/>
                  <a:gd name="connsiteY8" fmla="*/ 16879 h 19050"/>
                  <a:gd name="connsiteX9" fmla="*/ 9501 w 9525"/>
                  <a:gd name="connsiteY9" fmla="*/ 16879 h 19050"/>
                  <a:gd name="connsiteX10" fmla="*/ 9501 w 9525"/>
                  <a:gd name="connsiteY10" fmla="*/ 13184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25" h="19050">
                    <a:moveTo>
                      <a:pt x="9501" y="13184"/>
                    </a:moveTo>
                    <a:lnTo>
                      <a:pt x="9501" y="13184"/>
                    </a:lnTo>
                    <a:lnTo>
                      <a:pt x="5812" y="9498"/>
                    </a:lnTo>
                    <a:lnTo>
                      <a:pt x="5812" y="5812"/>
                    </a:lnTo>
                    <a:lnTo>
                      <a:pt x="5812" y="5812"/>
                    </a:lnTo>
                    <a:lnTo>
                      <a:pt x="9501" y="5812"/>
                    </a:lnTo>
                    <a:lnTo>
                      <a:pt x="13190" y="9498"/>
                    </a:lnTo>
                    <a:lnTo>
                      <a:pt x="13190" y="13184"/>
                    </a:lnTo>
                    <a:lnTo>
                      <a:pt x="9501" y="16879"/>
                    </a:lnTo>
                    <a:lnTo>
                      <a:pt x="9501" y="16879"/>
                    </a:lnTo>
                    <a:lnTo>
                      <a:pt x="9501" y="13184"/>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31" name="Freeform: Shape 130">
                <a:extLst>
                  <a:ext uri="{FF2B5EF4-FFF2-40B4-BE49-F238E27FC236}">
                    <a16:creationId xmlns:a16="http://schemas.microsoft.com/office/drawing/2014/main" id="{66D83C3A-CBE1-4482-82DF-4343FBDFC8F3}"/>
                  </a:ext>
                </a:extLst>
              </p:cNvPr>
              <p:cNvSpPr/>
              <p:nvPr/>
            </p:nvSpPr>
            <p:spPr>
              <a:xfrm>
                <a:off x="1412557" y="4502559"/>
                <a:ext cx="86640" cy="108300"/>
              </a:xfrm>
              <a:custGeom>
                <a:avLst/>
                <a:gdLst>
                  <a:gd name="connsiteX0" fmla="*/ 31636 w 38100"/>
                  <a:gd name="connsiteY0" fmla="*/ 5812 h 47625"/>
                  <a:gd name="connsiteX1" fmla="*/ 31636 w 38100"/>
                  <a:gd name="connsiteY1" fmla="*/ 5812 h 47625"/>
                  <a:gd name="connsiteX2" fmla="*/ 31636 w 38100"/>
                  <a:gd name="connsiteY2" fmla="*/ 5812 h 47625"/>
                  <a:gd name="connsiteX3" fmla="*/ 27947 w 38100"/>
                  <a:gd name="connsiteY3" fmla="*/ 9498 h 47625"/>
                  <a:gd name="connsiteX4" fmla="*/ 27947 w 38100"/>
                  <a:gd name="connsiteY4" fmla="*/ 16880 h 47625"/>
                  <a:gd name="connsiteX5" fmla="*/ 27947 w 38100"/>
                  <a:gd name="connsiteY5" fmla="*/ 20575 h 47625"/>
                  <a:gd name="connsiteX6" fmla="*/ 27947 w 38100"/>
                  <a:gd name="connsiteY6" fmla="*/ 20575 h 47625"/>
                  <a:gd name="connsiteX7" fmla="*/ 31636 w 38100"/>
                  <a:gd name="connsiteY7" fmla="*/ 24261 h 47625"/>
                  <a:gd name="connsiteX8" fmla="*/ 35325 w 38100"/>
                  <a:gd name="connsiteY8" fmla="*/ 20575 h 47625"/>
                  <a:gd name="connsiteX9" fmla="*/ 31636 w 38100"/>
                  <a:gd name="connsiteY9" fmla="*/ 16880 h 47625"/>
                  <a:gd name="connsiteX10" fmla="*/ 31636 w 38100"/>
                  <a:gd name="connsiteY10" fmla="*/ 16880 h 47625"/>
                  <a:gd name="connsiteX11" fmla="*/ 35325 w 38100"/>
                  <a:gd name="connsiteY11" fmla="*/ 20575 h 47625"/>
                  <a:gd name="connsiteX12" fmla="*/ 31636 w 38100"/>
                  <a:gd name="connsiteY12" fmla="*/ 24261 h 47625"/>
                  <a:gd name="connsiteX13" fmla="*/ 31636 w 38100"/>
                  <a:gd name="connsiteY13" fmla="*/ 24261 h 47625"/>
                  <a:gd name="connsiteX14" fmla="*/ 24257 w 38100"/>
                  <a:gd name="connsiteY14" fmla="*/ 20575 h 47625"/>
                  <a:gd name="connsiteX15" fmla="*/ 24257 w 38100"/>
                  <a:gd name="connsiteY15" fmla="*/ 24261 h 47625"/>
                  <a:gd name="connsiteX16" fmla="*/ 24257 w 38100"/>
                  <a:gd name="connsiteY16" fmla="*/ 27957 h 47625"/>
                  <a:gd name="connsiteX17" fmla="*/ 24257 w 38100"/>
                  <a:gd name="connsiteY17" fmla="*/ 27957 h 47625"/>
                  <a:gd name="connsiteX18" fmla="*/ 24257 w 38100"/>
                  <a:gd name="connsiteY18" fmla="*/ 27957 h 47625"/>
                  <a:gd name="connsiteX19" fmla="*/ 20568 w 38100"/>
                  <a:gd name="connsiteY19" fmla="*/ 24261 h 47625"/>
                  <a:gd name="connsiteX20" fmla="*/ 20568 w 38100"/>
                  <a:gd name="connsiteY20" fmla="*/ 24261 h 47625"/>
                  <a:gd name="connsiteX21" fmla="*/ 20568 w 38100"/>
                  <a:gd name="connsiteY21" fmla="*/ 24261 h 47625"/>
                  <a:gd name="connsiteX22" fmla="*/ 16879 w 38100"/>
                  <a:gd name="connsiteY22" fmla="*/ 27957 h 47625"/>
                  <a:gd name="connsiteX23" fmla="*/ 16879 w 38100"/>
                  <a:gd name="connsiteY23" fmla="*/ 27957 h 47625"/>
                  <a:gd name="connsiteX24" fmla="*/ 20568 w 38100"/>
                  <a:gd name="connsiteY24" fmla="*/ 27957 h 47625"/>
                  <a:gd name="connsiteX25" fmla="*/ 20568 w 38100"/>
                  <a:gd name="connsiteY25" fmla="*/ 31643 h 47625"/>
                  <a:gd name="connsiteX26" fmla="*/ 16879 w 38100"/>
                  <a:gd name="connsiteY26" fmla="*/ 31643 h 47625"/>
                  <a:gd name="connsiteX27" fmla="*/ 16879 w 38100"/>
                  <a:gd name="connsiteY27" fmla="*/ 27957 h 47625"/>
                  <a:gd name="connsiteX28" fmla="*/ 13190 w 38100"/>
                  <a:gd name="connsiteY28" fmla="*/ 31643 h 47625"/>
                  <a:gd name="connsiteX29" fmla="*/ 13190 w 38100"/>
                  <a:gd name="connsiteY29" fmla="*/ 31643 h 47625"/>
                  <a:gd name="connsiteX30" fmla="*/ 13190 w 38100"/>
                  <a:gd name="connsiteY30" fmla="*/ 35339 h 47625"/>
                  <a:gd name="connsiteX31" fmla="*/ 13190 w 38100"/>
                  <a:gd name="connsiteY31" fmla="*/ 42711 h 47625"/>
                  <a:gd name="connsiteX32" fmla="*/ 9501 w 38100"/>
                  <a:gd name="connsiteY32" fmla="*/ 42711 h 47625"/>
                  <a:gd name="connsiteX33" fmla="*/ 9501 w 38100"/>
                  <a:gd name="connsiteY33" fmla="*/ 42711 h 47625"/>
                  <a:gd name="connsiteX34" fmla="*/ 13190 w 38100"/>
                  <a:gd name="connsiteY34" fmla="*/ 35339 h 47625"/>
                  <a:gd name="connsiteX35" fmla="*/ 13190 w 38100"/>
                  <a:gd name="connsiteY35" fmla="*/ 31643 h 47625"/>
                  <a:gd name="connsiteX36" fmla="*/ 9501 w 38100"/>
                  <a:gd name="connsiteY36" fmla="*/ 27957 h 47625"/>
                  <a:gd name="connsiteX37" fmla="*/ 9501 w 38100"/>
                  <a:gd name="connsiteY37" fmla="*/ 27957 h 47625"/>
                  <a:gd name="connsiteX38" fmla="*/ 5812 w 38100"/>
                  <a:gd name="connsiteY38" fmla="*/ 27957 h 47625"/>
                  <a:gd name="connsiteX39" fmla="*/ 5812 w 38100"/>
                  <a:gd name="connsiteY39" fmla="*/ 27957 h 47625"/>
                  <a:gd name="connsiteX40" fmla="*/ 5812 w 38100"/>
                  <a:gd name="connsiteY40" fmla="*/ 27957 h 47625"/>
                  <a:gd name="connsiteX41" fmla="*/ 5812 w 38100"/>
                  <a:gd name="connsiteY41" fmla="*/ 27957 h 47625"/>
                  <a:gd name="connsiteX42" fmla="*/ 9501 w 38100"/>
                  <a:gd name="connsiteY42" fmla="*/ 27957 h 47625"/>
                  <a:gd name="connsiteX43" fmla="*/ 13190 w 38100"/>
                  <a:gd name="connsiteY43" fmla="*/ 20575 h 47625"/>
                  <a:gd name="connsiteX44" fmla="*/ 20568 w 38100"/>
                  <a:gd name="connsiteY44" fmla="*/ 16880 h 47625"/>
                  <a:gd name="connsiteX45" fmla="*/ 20568 w 38100"/>
                  <a:gd name="connsiteY45" fmla="*/ 13194 h 47625"/>
                  <a:gd name="connsiteX46" fmla="*/ 20568 w 38100"/>
                  <a:gd name="connsiteY46" fmla="*/ 13194 h 47625"/>
                  <a:gd name="connsiteX47" fmla="*/ 20568 w 38100"/>
                  <a:gd name="connsiteY47" fmla="*/ 9498 h 47625"/>
                  <a:gd name="connsiteX48" fmla="*/ 20568 w 38100"/>
                  <a:gd name="connsiteY48" fmla="*/ 9498 h 47625"/>
                  <a:gd name="connsiteX49" fmla="*/ 20568 w 38100"/>
                  <a:gd name="connsiteY49" fmla="*/ 9498 h 47625"/>
                  <a:gd name="connsiteX50" fmla="*/ 20568 w 38100"/>
                  <a:gd name="connsiteY50" fmla="*/ 13194 h 47625"/>
                  <a:gd name="connsiteX51" fmla="*/ 20568 w 38100"/>
                  <a:gd name="connsiteY51" fmla="*/ 13194 h 47625"/>
                  <a:gd name="connsiteX52" fmla="*/ 20568 w 38100"/>
                  <a:gd name="connsiteY52" fmla="*/ 13194 h 47625"/>
                  <a:gd name="connsiteX53" fmla="*/ 24257 w 38100"/>
                  <a:gd name="connsiteY53" fmla="*/ 13194 h 47625"/>
                  <a:gd name="connsiteX54" fmla="*/ 24257 w 38100"/>
                  <a:gd name="connsiteY54" fmla="*/ 13194 h 47625"/>
                  <a:gd name="connsiteX55" fmla="*/ 24257 w 38100"/>
                  <a:gd name="connsiteY55" fmla="*/ 13194 h 47625"/>
                  <a:gd name="connsiteX56" fmla="*/ 24257 w 38100"/>
                  <a:gd name="connsiteY56" fmla="*/ 13194 h 47625"/>
                  <a:gd name="connsiteX57" fmla="*/ 27947 w 38100"/>
                  <a:gd name="connsiteY57" fmla="*/ 13194 h 47625"/>
                  <a:gd name="connsiteX58" fmla="*/ 27947 w 38100"/>
                  <a:gd name="connsiteY58" fmla="*/ 9498 h 47625"/>
                  <a:gd name="connsiteX59" fmla="*/ 31636 w 38100"/>
                  <a:gd name="connsiteY59" fmla="*/ 5812 h 47625"/>
                  <a:gd name="connsiteX60" fmla="*/ 31636 w 38100"/>
                  <a:gd name="connsiteY60" fmla="*/ 581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100" h="47625">
                    <a:moveTo>
                      <a:pt x="31636" y="5812"/>
                    </a:moveTo>
                    <a:lnTo>
                      <a:pt x="31636" y="5812"/>
                    </a:lnTo>
                    <a:lnTo>
                      <a:pt x="31636" y="5812"/>
                    </a:lnTo>
                    <a:lnTo>
                      <a:pt x="27947" y="9498"/>
                    </a:lnTo>
                    <a:lnTo>
                      <a:pt x="27947" y="16880"/>
                    </a:lnTo>
                    <a:lnTo>
                      <a:pt x="27947" y="20575"/>
                    </a:lnTo>
                    <a:lnTo>
                      <a:pt x="27947" y="20575"/>
                    </a:lnTo>
                    <a:lnTo>
                      <a:pt x="31636" y="24261"/>
                    </a:lnTo>
                    <a:lnTo>
                      <a:pt x="35325" y="20575"/>
                    </a:lnTo>
                    <a:lnTo>
                      <a:pt x="31636" y="16880"/>
                    </a:lnTo>
                    <a:lnTo>
                      <a:pt x="31636" y="16880"/>
                    </a:lnTo>
                    <a:lnTo>
                      <a:pt x="35325" y="20575"/>
                    </a:lnTo>
                    <a:lnTo>
                      <a:pt x="31636" y="24261"/>
                    </a:lnTo>
                    <a:lnTo>
                      <a:pt x="31636" y="24261"/>
                    </a:lnTo>
                    <a:lnTo>
                      <a:pt x="24257" y="20575"/>
                    </a:lnTo>
                    <a:lnTo>
                      <a:pt x="24257" y="24261"/>
                    </a:lnTo>
                    <a:lnTo>
                      <a:pt x="24257" y="27957"/>
                    </a:lnTo>
                    <a:lnTo>
                      <a:pt x="24257" y="27957"/>
                    </a:lnTo>
                    <a:lnTo>
                      <a:pt x="24257" y="27957"/>
                    </a:lnTo>
                    <a:lnTo>
                      <a:pt x="20568" y="24261"/>
                    </a:lnTo>
                    <a:lnTo>
                      <a:pt x="20568" y="24261"/>
                    </a:lnTo>
                    <a:lnTo>
                      <a:pt x="20568" y="24261"/>
                    </a:lnTo>
                    <a:lnTo>
                      <a:pt x="16879" y="27957"/>
                    </a:lnTo>
                    <a:lnTo>
                      <a:pt x="16879" y="27957"/>
                    </a:lnTo>
                    <a:lnTo>
                      <a:pt x="20568" y="27957"/>
                    </a:lnTo>
                    <a:lnTo>
                      <a:pt x="20568" y="31643"/>
                    </a:lnTo>
                    <a:lnTo>
                      <a:pt x="16879" y="31643"/>
                    </a:lnTo>
                    <a:lnTo>
                      <a:pt x="16879" y="27957"/>
                    </a:lnTo>
                    <a:lnTo>
                      <a:pt x="13190" y="31643"/>
                    </a:lnTo>
                    <a:lnTo>
                      <a:pt x="13190" y="31643"/>
                    </a:lnTo>
                    <a:lnTo>
                      <a:pt x="13190" y="35339"/>
                    </a:lnTo>
                    <a:lnTo>
                      <a:pt x="13190" y="42711"/>
                    </a:lnTo>
                    <a:lnTo>
                      <a:pt x="9501" y="42711"/>
                    </a:lnTo>
                    <a:lnTo>
                      <a:pt x="9501" y="42711"/>
                    </a:lnTo>
                    <a:lnTo>
                      <a:pt x="13190" y="35339"/>
                    </a:lnTo>
                    <a:lnTo>
                      <a:pt x="13190" y="31643"/>
                    </a:lnTo>
                    <a:lnTo>
                      <a:pt x="9501" y="27957"/>
                    </a:lnTo>
                    <a:lnTo>
                      <a:pt x="9501" y="27957"/>
                    </a:lnTo>
                    <a:lnTo>
                      <a:pt x="5812" y="27957"/>
                    </a:lnTo>
                    <a:lnTo>
                      <a:pt x="5812" y="27957"/>
                    </a:lnTo>
                    <a:lnTo>
                      <a:pt x="5812" y="27957"/>
                    </a:lnTo>
                    <a:lnTo>
                      <a:pt x="5812" y="27957"/>
                    </a:lnTo>
                    <a:lnTo>
                      <a:pt x="9501" y="27957"/>
                    </a:lnTo>
                    <a:lnTo>
                      <a:pt x="13190" y="20575"/>
                    </a:lnTo>
                    <a:lnTo>
                      <a:pt x="20568" y="16880"/>
                    </a:lnTo>
                    <a:lnTo>
                      <a:pt x="20568" y="13194"/>
                    </a:lnTo>
                    <a:lnTo>
                      <a:pt x="20568" y="13194"/>
                    </a:lnTo>
                    <a:lnTo>
                      <a:pt x="20568" y="9498"/>
                    </a:lnTo>
                    <a:lnTo>
                      <a:pt x="20568" y="9498"/>
                    </a:lnTo>
                    <a:lnTo>
                      <a:pt x="20568" y="9498"/>
                    </a:lnTo>
                    <a:lnTo>
                      <a:pt x="20568" y="13194"/>
                    </a:lnTo>
                    <a:lnTo>
                      <a:pt x="20568" y="13194"/>
                    </a:lnTo>
                    <a:lnTo>
                      <a:pt x="20568" y="13194"/>
                    </a:lnTo>
                    <a:lnTo>
                      <a:pt x="24257" y="13194"/>
                    </a:lnTo>
                    <a:lnTo>
                      <a:pt x="24257" y="13194"/>
                    </a:lnTo>
                    <a:lnTo>
                      <a:pt x="24257" y="13194"/>
                    </a:lnTo>
                    <a:lnTo>
                      <a:pt x="24257" y="13194"/>
                    </a:lnTo>
                    <a:lnTo>
                      <a:pt x="27947" y="13194"/>
                    </a:lnTo>
                    <a:lnTo>
                      <a:pt x="27947" y="9498"/>
                    </a:lnTo>
                    <a:lnTo>
                      <a:pt x="31636" y="5812"/>
                    </a:lnTo>
                    <a:lnTo>
                      <a:pt x="31636" y="5812"/>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32" name="Freeform: Shape 131">
                <a:extLst>
                  <a:ext uri="{FF2B5EF4-FFF2-40B4-BE49-F238E27FC236}">
                    <a16:creationId xmlns:a16="http://schemas.microsoft.com/office/drawing/2014/main" id="{6B134C0D-FDA0-4283-9567-9B785846A8A5}"/>
                  </a:ext>
                </a:extLst>
              </p:cNvPr>
              <p:cNvSpPr/>
              <p:nvPr/>
            </p:nvSpPr>
            <p:spPr>
              <a:xfrm>
                <a:off x="1412557" y="4846647"/>
                <a:ext cx="43320" cy="64980"/>
              </a:xfrm>
              <a:custGeom>
                <a:avLst/>
                <a:gdLst>
                  <a:gd name="connsiteX0" fmla="*/ 20568 w 19050"/>
                  <a:gd name="connsiteY0" fmla="*/ 24261 h 28575"/>
                  <a:gd name="connsiteX1" fmla="*/ 9501 w 19050"/>
                  <a:gd name="connsiteY1" fmla="*/ 16880 h 28575"/>
                  <a:gd name="connsiteX2" fmla="*/ 5812 w 19050"/>
                  <a:gd name="connsiteY2" fmla="*/ 13193 h 28575"/>
                  <a:gd name="connsiteX3" fmla="*/ 5812 w 19050"/>
                  <a:gd name="connsiteY3" fmla="*/ 13193 h 28575"/>
                  <a:gd name="connsiteX4" fmla="*/ 9501 w 19050"/>
                  <a:gd name="connsiteY4" fmla="*/ 5812 h 28575"/>
                  <a:gd name="connsiteX5" fmla="*/ 13190 w 19050"/>
                  <a:gd name="connsiteY5" fmla="*/ 9498 h 28575"/>
                  <a:gd name="connsiteX6" fmla="*/ 20568 w 19050"/>
                  <a:gd name="connsiteY6" fmla="*/ 13193 h 28575"/>
                  <a:gd name="connsiteX7" fmla="*/ 16879 w 19050"/>
                  <a:gd name="connsiteY7" fmla="*/ 16880 h 28575"/>
                  <a:gd name="connsiteX8" fmla="*/ 16879 w 19050"/>
                  <a:gd name="connsiteY8" fmla="*/ 20575 h 28575"/>
                  <a:gd name="connsiteX9" fmla="*/ 20568 w 19050"/>
                  <a:gd name="connsiteY9" fmla="*/ 24261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28575">
                    <a:moveTo>
                      <a:pt x="20568" y="24261"/>
                    </a:moveTo>
                    <a:lnTo>
                      <a:pt x="9501" y="16880"/>
                    </a:lnTo>
                    <a:lnTo>
                      <a:pt x="5812" y="13193"/>
                    </a:lnTo>
                    <a:lnTo>
                      <a:pt x="5812" y="13193"/>
                    </a:lnTo>
                    <a:lnTo>
                      <a:pt x="9501" y="5812"/>
                    </a:lnTo>
                    <a:lnTo>
                      <a:pt x="13190" y="9498"/>
                    </a:lnTo>
                    <a:lnTo>
                      <a:pt x="20568" y="13193"/>
                    </a:lnTo>
                    <a:lnTo>
                      <a:pt x="16879" y="16880"/>
                    </a:lnTo>
                    <a:lnTo>
                      <a:pt x="16879" y="20575"/>
                    </a:lnTo>
                    <a:lnTo>
                      <a:pt x="20568" y="24261"/>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33" name="Freeform: Shape 132">
                <a:extLst>
                  <a:ext uri="{FF2B5EF4-FFF2-40B4-BE49-F238E27FC236}">
                    <a16:creationId xmlns:a16="http://schemas.microsoft.com/office/drawing/2014/main" id="{4D02E2D9-6A8D-4FD4-B3A1-3FF66678DDFC}"/>
                  </a:ext>
                </a:extLst>
              </p:cNvPr>
              <p:cNvSpPr/>
              <p:nvPr/>
            </p:nvSpPr>
            <p:spPr>
              <a:xfrm>
                <a:off x="1429335" y="4838242"/>
                <a:ext cx="43320" cy="21660"/>
              </a:xfrm>
              <a:custGeom>
                <a:avLst/>
                <a:gdLst>
                  <a:gd name="connsiteX0" fmla="*/ 16879 w 19050"/>
                  <a:gd name="connsiteY0" fmla="*/ 13193 h 9525"/>
                  <a:gd name="connsiteX1" fmla="*/ 13190 w 19050"/>
                  <a:gd name="connsiteY1" fmla="*/ 13193 h 9525"/>
                  <a:gd name="connsiteX2" fmla="*/ 5812 w 19050"/>
                  <a:gd name="connsiteY2" fmla="*/ 9507 h 9525"/>
                  <a:gd name="connsiteX3" fmla="*/ 5812 w 19050"/>
                  <a:gd name="connsiteY3" fmla="*/ 9507 h 9525"/>
                  <a:gd name="connsiteX4" fmla="*/ 13190 w 19050"/>
                  <a:gd name="connsiteY4" fmla="*/ 5812 h 9525"/>
                  <a:gd name="connsiteX5" fmla="*/ 16879 w 19050"/>
                  <a:gd name="connsiteY5" fmla="*/ 5812 h 9525"/>
                  <a:gd name="connsiteX6" fmla="*/ 16879 w 19050"/>
                  <a:gd name="connsiteY6" fmla="*/ 5812 h 9525"/>
                  <a:gd name="connsiteX7" fmla="*/ 16879 w 19050"/>
                  <a:gd name="connsiteY7" fmla="*/ 13193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 h="9525">
                    <a:moveTo>
                      <a:pt x="16879" y="13193"/>
                    </a:moveTo>
                    <a:lnTo>
                      <a:pt x="13190" y="13193"/>
                    </a:lnTo>
                    <a:lnTo>
                      <a:pt x="5812" y="9507"/>
                    </a:lnTo>
                    <a:lnTo>
                      <a:pt x="5812" y="9507"/>
                    </a:lnTo>
                    <a:lnTo>
                      <a:pt x="13190" y="5812"/>
                    </a:lnTo>
                    <a:lnTo>
                      <a:pt x="16879" y="5812"/>
                    </a:lnTo>
                    <a:lnTo>
                      <a:pt x="16879" y="5812"/>
                    </a:lnTo>
                    <a:lnTo>
                      <a:pt x="16879" y="13193"/>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34" name="Freeform: Shape 133">
                <a:extLst>
                  <a:ext uri="{FF2B5EF4-FFF2-40B4-BE49-F238E27FC236}">
                    <a16:creationId xmlns:a16="http://schemas.microsoft.com/office/drawing/2014/main" id="{C3996371-CFF7-43D5-965E-29AEB0731155}"/>
                  </a:ext>
                </a:extLst>
              </p:cNvPr>
              <p:cNvSpPr/>
              <p:nvPr/>
            </p:nvSpPr>
            <p:spPr>
              <a:xfrm>
                <a:off x="1689403" y="4343098"/>
                <a:ext cx="43320" cy="21660"/>
              </a:xfrm>
              <a:custGeom>
                <a:avLst/>
                <a:gdLst>
                  <a:gd name="connsiteX0" fmla="*/ 5812 w 19050"/>
                  <a:gd name="connsiteY0" fmla="*/ 9507 h 9525"/>
                  <a:gd name="connsiteX1" fmla="*/ 5812 w 19050"/>
                  <a:gd name="connsiteY1" fmla="*/ 9507 h 9525"/>
                  <a:gd name="connsiteX2" fmla="*/ 5812 w 19050"/>
                  <a:gd name="connsiteY2" fmla="*/ 9507 h 9525"/>
                  <a:gd name="connsiteX3" fmla="*/ 5812 w 19050"/>
                  <a:gd name="connsiteY3" fmla="*/ 5812 h 9525"/>
                  <a:gd name="connsiteX4" fmla="*/ 9501 w 19050"/>
                  <a:gd name="connsiteY4" fmla="*/ 5812 h 9525"/>
                  <a:gd name="connsiteX5" fmla="*/ 16879 w 19050"/>
                  <a:gd name="connsiteY5" fmla="*/ 9507 h 9525"/>
                  <a:gd name="connsiteX6" fmla="*/ 13190 w 19050"/>
                  <a:gd name="connsiteY6" fmla="*/ 9507 h 9525"/>
                  <a:gd name="connsiteX7" fmla="*/ 5812 w 19050"/>
                  <a:gd name="connsiteY7" fmla="*/ 9507 h 9525"/>
                  <a:gd name="connsiteX8" fmla="*/ 5812 w 19050"/>
                  <a:gd name="connsiteY8" fmla="*/ 9507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 h="9525">
                    <a:moveTo>
                      <a:pt x="5812" y="9507"/>
                    </a:moveTo>
                    <a:lnTo>
                      <a:pt x="5812" y="9507"/>
                    </a:lnTo>
                    <a:lnTo>
                      <a:pt x="5812" y="9507"/>
                    </a:lnTo>
                    <a:lnTo>
                      <a:pt x="5812" y="5812"/>
                    </a:lnTo>
                    <a:lnTo>
                      <a:pt x="9501" y="5812"/>
                    </a:lnTo>
                    <a:lnTo>
                      <a:pt x="16879" y="9507"/>
                    </a:lnTo>
                    <a:lnTo>
                      <a:pt x="13190" y="9507"/>
                    </a:lnTo>
                    <a:lnTo>
                      <a:pt x="5812" y="9507"/>
                    </a:lnTo>
                    <a:lnTo>
                      <a:pt x="5812" y="9507"/>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35" name="Freeform: Shape 134">
                <a:extLst>
                  <a:ext uri="{FF2B5EF4-FFF2-40B4-BE49-F238E27FC236}">
                    <a16:creationId xmlns:a16="http://schemas.microsoft.com/office/drawing/2014/main" id="{E468EE38-4422-4D3F-A581-F50B050B9C09}"/>
                  </a:ext>
                </a:extLst>
              </p:cNvPr>
              <p:cNvSpPr/>
              <p:nvPr/>
            </p:nvSpPr>
            <p:spPr>
              <a:xfrm>
                <a:off x="1941080" y="4494154"/>
                <a:ext cx="64980" cy="64980"/>
              </a:xfrm>
              <a:custGeom>
                <a:avLst/>
                <a:gdLst>
                  <a:gd name="connsiteX0" fmla="*/ 31636 w 28575"/>
                  <a:gd name="connsiteY0" fmla="*/ 24271 h 28575"/>
                  <a:gd name="connsiteX1" fmla="*/ 31636 w 28575"/>
                  <a:gd name="connsiteY1" fmla="*/ 20575 h 28575"/>
                  <a:gd name="connsiteX2" fmla="*/ 27947 w 28575"/>
                  <a:gd name="connsiteY2" fmla="*/ 16889 h 28575"/>
                  <a:gd name="connsiteX3" fmla="*/ 24257 w 28575"/>
                  <a:gd name="connsiteY3" fmla="*/ 13194 h 28575"/>
                  <a:gd name="connsiteX4" fmla="*/ 24257 w 28575"/>
                  <a:gd name="connsiteY4" fmla="*/ 16889 h 28575"/>
                  <a:gd name="connsiteX5" fmla="*/ 20568 w 28575"/>
                  <a:gd name="connsiteY5" fmla="*/ 16889 h 28575"/>
                  <a:gd name="connsiteX6" fmla="*/ 13190 w 28575"/>
                  <a:gd name="connsiteY6" fmla="*/ 9507 h 28575"/>
                  <a:gd name="connsiteX7" fmla="*/ 16879 w 28575"/>
                  <a:gd name="connsiteY7" fmla="*/ 5812 h 28575"/>
                  <a:gd name="connsiteX8" fmla="*/ 16879 w 28575"/>
                  <a:gd name="connsiteY8" fmla="*/ 5812 h 28575"/>
                  <a:gd name="connsiteX9" fmla="*/ 13190 w 28575"/>
                  <a:gd name="connsiteY9" fmla="*/ 5812 h 28575"/>
                  <a:gd name="connsiteX10" fmla="*/ 13190 w 28575"/>
                  <a:gd name="connsiteY10" fmla="*/ 9507 h 28575"/>
                  <a:gd name="connsiteX11" fmla="*/ 5812 w 28575"/>
                  <a:gd name="connsiteY11" fmla="*/ 9507 h 28575"/>
                  <a:gd name="connsiteX12" fmla="*/ 5812 w 28575"/>
                  <a:gd name="connsiteY12" fmla="*/ 5812 h 28575"/>
                  <a:gd name="connsiteX13" fmla="*/ 13190 w 28575"/>
                  <a:gd name="connsiteY13" fmla="*/ 5812 h 28575"/>
                  <a:gd name="connsiteX14" fmla="*/ 13190 w 28575"/>
                  <a:gd name="connsiteY14" fmla="*/ 5812 h 28575"/>
                  <a:gd name="connsiteX15" fmla="*/ 24257 w 28575"/>
                  <a:gd name="connsiteY15" fmla="*/ 5812 h 28575"/>
                  <a:gd name="connsiteX16" fmla="*/ 27947 w 28575"/>
                  <a:gd name="connsiteY16" fmla="*/ 5812 h 28575"/>
                  <a:gd name="connsiteX17" fmla="*/ 27947 w 28575"/>
                  <a:gd name="connsiteY17" fmla="*/ 5812 h 28575"/>
                  <a:gd name="connsiteX18" fmla="*/ 24257 w 28575"/>
                  <a:gd name="connsiteY18" fmla="*/ 5812 h 28575"/>
                  <a:gd name="connsiteX19" fmla="*/ 24257 w 28575"/>
                  <a:gd name="connsiteY19" fmla="*/ 5812 h 28575"/>
                  <a:gd name="connsiteX20" fmla="*/ 20568 w 28575"/>
                  <a:gd name="connsiteY20" fmla="*/ 5812 h 28575"/>
                  <a:gd name="connsiteX21" fmla="*/ 20568 w 28575"/>
                  <a:gd name="connsiteY21" fmla="*/ 5812 h 28575"/>
                  <a:gd name="connsiteX22" fmla="*/ 20568 w 28575"/>
                  <a:gd name="connsiteY22" fmla="*/ 9507 h 28575"/>
                  <a:gd name="connsiteX23" fmla="*/ 20568 w 28575"/>
                  <a:gd name="connsiteY23" fmla="*/ 9507 h 28575"/>
                  <a:gd name="connsiteX24" fmla="*/ 27947 w 28575"/>
                  <a:gd name="connsiteY24" fmla="*/ 9507 h 28575"/>
                  <a:gd name="connsiteX25" fmla="*/ 27947 w 28575"/>
                  <a:gd name="connsiteY25" fmla="*/ 13194 h 28575"/>
                  <a:gd name="connsiteX26" fmla="*/ 31636 w 28575"/>
                  <a:gd name="connsiteY26" fmla="*/ 16889 h 28575"/>
                  <a:gd name="connsiteX27" fmla="*/ 31636 w 28575"/>
                  <a:gd name="connsiteY27" fmla="*/ 20575 h 28575"/>
                  <a:gd name="connsiteX28" fmla="*/ 31636 w 28575"/>
                  <a:gd name="connsiteY28" fmla="*/ 24271 h 28575"/>
                  <a:gd name="connsiteX29" fmla="*/ 31636 w 28575"/>
                  <a:gd name="connsiteY29" fmla="*/ 24271 h 28575"/>
                  <a:gd name="connsiteX30" fmla="*/ 31636 w 28575"/>
                  <a:gd name="connsiteY30" fmla="*/ 24271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8575" h="28575">
                    <a:moveTo>
                      <a:pt x="31636" y="24271"/>
                    </a:moveTo>
                    <a:lnTo>
                      <a:pt x="31636" y="20575"/>
                    </a:lnTo>
                    <a:lnTo>
                      <a:pt x="27947" y="16889"/>
                    </a:lnTo>
                    <a:lnTo>
                      <a:pt x="24257" y="13194"/>
                    </a:lnTo>
                    <a:lnTo>
                      <a:pt x="24257" y="16889"/>
                    </a:lnTo>
                    <a:lnTo>
                      <a:pt x="20568" y="16889"/>
                    </a:lnTo>
                    <a:lnTo>
                      <a:pt x="13190" y="9507"/>
                    </a:lnTo>
                    <a:lnTo>
                      <a:pt x="16879" y="5812"/>
                    </a:lnTo>
                    <a:lnTo>
                      <a:pt x="16879" y="5812"/>
                    </a:lnTo>
                    <a:lnTo>
                      <a:pt x="13190" y="5812"/>
                    </a:lnTo>
                    <a:lnTo>
                      <a:pt x="13190" y="9507"/>
                    </a:lnTo>
                    <a:lnTo>
                      <a:pt x="5812" y="9507"/>
                    </a:lnTo>
                    <a:lnTo>
                      <a:pt x="5812" y="5812"/>
                    </a:lnTo>
                    <a:lnTo>
                      <a:pt x="13190" y="5812"/>
                    </a:lnTo>
                    <a:lnTo>
                      <a:pt x="13190" y="5812"/>
                    </a:lnTo>
                    <a:lnTo>
                      <a:pt x="24257" y="5812"/>
                    </a:lnTo>
                    <a:lnTo>
                      <a:pt x="27947" y="5812"/>
                    </a:lnTo>
                    <a:lnTo>
                      <a:pt x="27947" y="5812"/>
                    </a:lnTo>
                    <a:lnTo>
                      <a:pt x="24257" y="5812"/>
                    </a:lnTo>
                    <a:lnTo>
                      <a:pt x="24257" y="5812"/>
                    </a:lnTo>
                    <a:lnTo>
                      <a:pt x="20568" y="5812"/>
                    </a:lnTo>
                    <a:lnTo>
                      <a:pt x="20568" y="5812"/>
                    </a:lnTo>
                    <a:lnTo>
                      <a:pt x="20568" y="9507"/>
                    </a:lnTo>
                    <a:lnTo>
                      <a:pt x="20568" y="9507"/>
                    </a:lnTo>
                    <a:lnTo>
                      <a:pt x="27947" y="9507"/>
                    </a:lnTo>
                    <a:lnTo>
                      <a:pt x="27947" y="13194"/>
                    </a:lnTo>
                    <a:lnTo>
                      <a:pt x="31636" y="16889"/>
                    </a:lnTo>
                    <a:lnTo>
                      <a:pt x="31636" y="20575"/>
                    </a:lnTo>
                    <a:lnTo>
                      <a:pt x="31636" y="24271"/>
                    </a:lnTo>
                    <a:lnTo>
                      <a:pt x="31636" y="24271"/>
                    </a:lnTo>
                    <a:lnTo>
                      <a:pt x="31636" y="24271"/>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36" name="Freeform: Shape 135">
                <a:extLst>
                  <a:ext uri="{FF2B5EF4-FFF2-40B4-BE49-F238E27FC236}">
                    <a16:creationId xmlns:a16="http://schemas.microsoft.com/office/drawing/2014/main" id="{1091E0EE-D73C-4C52-997D-22E0CC68337B}"/>
                  </a:ext>
                </a:extLst>
              </p:cNvPr>
              <p:cNvSpPr/>
              <p:nvPr/>
            </p:nvSpPr>
            <p:spPr>
              <a:xfrm>
                <a:off x="1622288" y="4695568"/>
                <a:ext cx="21660" cy="21660"/>
              </a:xfrm>
              <a:custGeom>
                <a:avLst/>
                <a:gdLst>
                  <a:gd name="connsiteX0" fmla="*/ 9501 w 9525"/>
                  <a:gd name="connsiteY0" fmla="*/ 9507 h 9525"/>
                  <a:gd name="connsiteX1" fmla="*/ 9501 w 9525"/>
                  <a:gd name="connsiteY1" fmla="*/ 5812 h 9525"/>
                  <a:gd name="connsiteX2" fmla="*/ 5812 w 9525"/>
                  <a:gd name="connsiteY2" fmla="*/ 5812 h 9525"/>
                  <a:gd name="connsiteX3" fmla="*/ 9501 w 9525"/>
                  <a:gd name="connsiteY3" fmla="*/ 5812 h 9525"/>
                  <a:gd name="connsiteX4" fmla="*/ 9501 w 9525"/>
                  <a:gd name="connsiteY4" fmla="*/ 5812 h 9525"/>
                  <a:gd name="connsiteX5" fmla="*/ 9501 w 9525"/>
                  <a:gd name="connsiteY5" fmla="*/ 9507 h 9525"/>
                  <a:gd name="connsiteX6" fmla="*/ 9501 w 9525"/>
                  <a:gd name="connsiteY6" fmla="*/ 9507 h 9525"/>
                  <a:gd name="connsiteX7" fmla="*/ 9501 w 9525"/>
                  <a:gd name="connsiteY7" fmla="*/ 9507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 h="9525">
                    <a:moveTo>
                      <a:pt x="9501" y="9507"/>
                    </a:moveTo>
                    <a:lnTo>
                      <a:pt x="9501" y="5812"/>
                    </a:lnTo>
                    <a:lnTo>
                      <a:pt x="5812" y="5812"/>
                    </a:lnTo>
                    <a:lnTo>
                      <a:pt x="9501" y="5812"/>
                    </a:lnTo>
                    <a:lnTo>
                      <a:pt x="9501" y="5812"/>
                    </a:lnTo>
                    <a:lnTo>
                      <a:pt x="9501" y="9507"/>
                    </a:lnTo>
                    <a:lnTo>
                      <a:pt x="9501" y="9507"/>
                    </a:lnTo>
                    <a:lnTo>
                      <a:pt x="9501" y="9507"/>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37" name="Freeform: Shape 136">
                <a:extLst>
                  <a:ext uri="{FF2B5EF4-FFF2-40B4-BE49-F238E27FC236}">
                    <a16:creationId xmlns:a16="http://schemas.microsoft.com/office/drawing/2014/main" id="{1F7B2063-E3C6-42E9-9899-54BC39C64F33}"/>
                  </a:ext>
                </a:extLst>
              </p:cNvPr>
              <p:cNvSpPr/>
              <p:nvPr/>
            </p:nvSpPr>
            <p:spPr>
              <a:xfrm>
                <a:off x="1370613" y="4586470"/>
                <a:ext cx="303240" cy="151620"/>
              </a:xfrm>
              <a:custGeom>
                <a:avLst/>
                <a:gdLst>
                  <a:gd name="connsiteX0" fmla="*/ 109108 w 133350"/>
                  <a:gd name="connsiteY0" fmla="*/ 5812 h 66675"/>
                  <a:gd name="connsiteX1" fmla="*/ 109108 w 133350"/>
                  <a:gd name="connsiteY1" fmla="*/ 5812 h 66675"/>
                  <a:gd name="connsiteX2" fmla="*/ 112797 w 133350"/>
                  <a:gd name="connsiteY2" fmla="*/ 5812 h 66675"/>
                  <a:gd name="connsiteX3" fmla="*/ 112797 w 133350"/>
                  <a:gd name="connsiteY3" fmla="*/ 5812 h 66675"/>
                  <a:gd name="connsiteX4" fmla="*/ 112797 w 133350"/>
                  <a:gd name="connsiteY4" fmla="*/ 9507 h 66675"/>
                  <a:gd name="connsiteX5" fmla="*/ 116487 w 133350"/>
                  <a:gd name="connsiteY5" fmla="*/ 9507 h 66675"/>
                  <a:gd name="connsiteX6" fmla="*/ 120176 w 133350"/>
                  <a:gd name="connsiteY6" fmla="*/ 9507 h 66675"/>
                  <a:gd name="connsiteX7" fmla="*/ 123865 w 133350"/>
                  <a:gd name="connsiteY7" fmla="*/ 13193 h 66675"/>
                  <a:gd name="connsiteX8" fmla="*/ 123865 w 133350"/>
                  <a:gd name="connsiteY8" fmla="*/ 16889 h 66675"/>
                  <a:gd name="connsiteX9" fmla="*/ 127554 w 133350"/>
                  <a:gd name="connsiteY9" fmla="*/ 24271 h 66675"/>
                  <a:gd name="connsiteX10" fmla="*/ 131243 w 133350"/>
                  <a:gd name="connsiteY10" fmla="*/ 27957 h 66675"/>
                  <a:gd name="connsiteX11" fmla="*/ 131243 w 133350"/>
                  <a:gd name="connsiteY11" fmla="*/ 31653 h 66675"/>
                  <a:gd name="connsiteX12" fmla="*/ 131243 w 133350"/>
                  <a:gd name="connsiteY12" fmla="*/ 31653 h 66675"/>
                  <a:gd name="connsiteX13" fmla="*/ 134932 w 133350"/>
                  <a:gd name="connsiteY13" fmla="*/ 31653 h 66675"/>
                  <a:gd name="connsiteX14" fmla="*/ 134932 w 133350"/>
                  <a:gd name="connsiteY14" fmla="*/ 35339 h 66675"/>
                  <a:gd name="connsiteX15" fmla="*/ 134932 w 133350"/>
                  <a:gd name="connsiteY15" fmla="*/ 39035 h 66675"/>
                  <a:gd name="connsiteX16" fmla="*/ 134932 w 133350"/>
                  <a:gd name="connsiteY16" fmla="*/ 39035 h 66675"/>
                  <a:gd name="connsiteX17" fmla="*/ 134932 w 133350"/>
                  <a:gd name="connsiteY17" fmla="*/ 42721 h 66675"/>
                  <a:gd name="connsiteX18" fmla="*/ 134932 w 133350"/>
                  <a:gd name="connsiteY18" fmla="*/ 42721 h 66675"/>
                  <a:gd name="connsiteX19" fmla="*/ 131243 w 133350"/>
                  <a:gd name="connsiteY19" fmla="*/ 46417 h 66675"/>
                  <a:gd name="connsiteX20" fmla="*/ 123865 w 133350"/>
                  <a:gd name="connsiteY20" fmla="*/ 46417 h 66675"/>
                  <a:gd name="connsiteX21" fmla="*/ 123865 w 133350"/>
                  <a:gd name="connsiteY21" fmla="*/ 46417 h 66675"/>
                  <a:gd name="connsiteX22" fmla="*/ 123865 w 133350"/>
                  <a:gd name="connsiteY22" fmla="*/ 46417 h 66675"/>
                  <a:gd name="connsiteX23" fmla="*/ 120176 w 133350"/>
                  <a:gd name="connsiteY23" fmla="*/ 53789 h 66675"/>
                  <a:gd name="connsiteX24" fmla="*/ 120176 w 133350"/>
                  <a:gd name="connsiteY24" fmla="*/ 53789 h 66675"/>
                  <a:gd name="connsiteX25" fmla="*/ 112797 w 133350"/>
                  <a:gd name="connsiteY25" fmla="*/ 53789 h 66675"/>
                  <a:gd name="connsiteX26" fmla="*/ 109108 w 133350"/>
                  <a:gd name="connsiteY26" fmla="*/ 50103 h 66675"/>
                  <a:gd name="connsiteX27" fmla="*/ 105419 w 133350"/>
                  <a:gd name="connsiteY27" fmla="*/ 46417 h 66675"/>
                  <a:gd name="connsiteX28" fmla="*/ 105419 w 133350"/>
                  <a:gd name="connsiteY28" fmla="*/ 46417 h 66675"/>
                  <a:gd name="connsiteX29" fmla="*/ 98041 w 133350"/>
                  <a:gd name="connsiteY29" fmla="*/ 46417 h 66675"/>
                  <a:gd name="connsiteX30" fmla="*/ 94352 w 133350"/>
                  <a:gd name="connsiteY30" fmla="*/ 46417 h 66675"/>
                  <a:gd name="connsiteX31" fmla="*/ 94352 w 133350"/>
                  <a:gd name="connsiteY31" fmla="*/ 50103 h 66675"/>
                  <a:gd name="connsiteX32" fmla="*/ 90662 w 133350"/>
                  <a:gd name="connsiteY32" fmla="*/ 50103 h 66675"/>
                  <a:gd name="connsiteX33" fmla="*/ 90662 w 133350"/>
                  <a:gd name="connsiteY33" fmla="*/ 50103 h 66675"/>
                  <a:gd name="connsiteX34" fmla="*/ 86973 w 133350"/>
                  <a:gd name="connsiteY34" fmla="*/ 50103 h 66675"/>
                  <a:gd name="connsiteX35" fmla="*/ 79595 w 133350"/>
                  <a:gd name="connsiteY35" fmla="*/ 50103 h 66675"/>
                  <a:gd name="connsiteX36" fmla="*/ 75906 w 133350"/>
                  <a:gd name="connsiteY36" fmla="*/ 46417 h 66675"/>
                  <a:gd name="connsiteX37" fmla="*/ 68528 w 133350"/>
                  <a:gd name="connsiteY37" fmla="*/ 46417 h 66675"/>
                  <a:gd name="connsiteX38" fmla="*/ 53771 w 133350"/>
                  <a:gd name="connsiteY38" fmla="*/ 50103 h 66675"/>
                  <a:gd name="connsiteX39" fmla="*/ 50082 w 133350"/>
                  <a:gd name="connsiteY39" fmla="*/ 53789 h 66675"/>
                  <a:gd name="connsiteX40" fmla="*/ 46393 w 133350"/>
                  <a:gd name="connsiteY40" fmla="*/ 61171 h 66675"/>
                  <a:gd name="connsiteX41" fmla="*/ 42703 w 133350"/>
                  <a:gd name="connsiteY41" fmla="*/ 61171 h 66675"/>
                  <a:gd name="connsiteX42" fmla="*/ 39014 w 133350"/>
                  <a:gd name="connsiteY42" fmla="*/ 68553 h 66675"/>
                  <a:gd name="connsiteX43" fmla="*/ 39014 w 133350"/>
                  <a:gd name="connsiteY43" fmla="*/ 68553 h 66675"/>
                  <a:gd name="connsiteX44" fmla="*/ 39014 w 133350"/>
                  <a:gd name="connsiteY44" fmla="*/ 64867 h 66675"/>
                  <a:gd name="connsiteX45" fmla="*/ 35325 w 133350"/>
                  <a:gd name="connsiteY45" fmla="*/ 61171 h 66675"/>
                  <a:gd name="connsiteX46" fmla="*/ 39014 w 133350"/>
                  <a:gd name="connsiteY46" fmla="*/ 57485 h 66675"/>
                  <a:gd name="connsiteX47" fmla="*/ 39014 w 133350"/>
                  <a:gd name="connsiteY47" fmla="*/ 53789 h 66675"/>
                  <a:gd name="connsiteX48" fmla="*/ 39014 w 133350"/>
                  <a:gd name="connsiteY48" fmla="*/ 50103 h 66675"/>
                  <a:gd name="connsiteX49" fmla="*/ 31636 w 133350"/>
                  <a:gd name="connsiteY49" fmla="*/ 42721 h 66675"/>
                  <a:gd name="connsiteX50" fmla="*/ 35325 w 133350"/>
                  <a:gd name="connsiteY50" fmla="*/ 42721 h 66675"/>
                  <a:gd name="connsiteX51" fmla="*/ 35325 w 133350"/>
                  <a:gd name="connsiteY51" fmla="*/ 39035 h 66675"/>
                  <a:gd name="connsiteX52" fmla="*/ 39014 w 133350"/>
                  <a:gd name="connsiteY52" fmla="*/ 35339 h 66675"/>
                  <a:gd name="connsiteX53" fmla="*/ 39014 w 133350"/>
                  <a:gd name="connsiteY53" fmla="*/ 35339 h 66675"/>
                  <a:gd name="connsiteX54" fmla="*/ 35325 w 133350"/>
                  <a:gd name="connsiteY54" fmla="*/ 39035 h 66675"/>
                  <a:gd name="connsiteX55" fmla="*/ 35325 w 133350"/>
                  <a:gd name="connsiteY55" fmla="*/ 39035 h 66675"/>
                  <a:gd name="connsiteX56" fmla="*/ 31636 w 133350"/>
                  <a:gd name="connsiteY56" fmla="*/ 42721 h 66675"/>
                  <a:gd name="connsiteX57" fmla="*/ 31636 w 133350"/>
                  <a:gd name="connsiteY57" fmla="*/ 42721 h 66675"/>
                  <a:gd name="connsiteX58" fmla="*/ 27947 w 133350"/>
                  <a:gd name="connsiteY58" fmla="*/ 39035 h 66675"/>
                  <a:gd name="connsiteX59" fmla="*/ 24258 w 133350"/>
                  <a:gd name="connsiteY59" fmla="*/ 35339 h 66675"/>
                  <a:gd name="connsiteX60" fmla="*/ 20568 w 133350"/>
                  <a:gd name="connsiteY60" fmla="*/ 35339 h 66675"/>
                  <a:gd name="connsiteX61" fmla="*/ 16879 w 133350"/>
                  <a:gd name="connsiteY61" fmla="*/ 31653 h 66675"/>
                  <a:gd name="connsiteX62" fmla="*/ 13190 w 133350"/>
                  <a:gd name="connsiteY62" fmla="*/ 31653 h 66675"/>
                  <a:gd name="connsiteX63" fmla="*/ 13190 w 133350"/>
                  <a:gd name="connsiteY63" fmla="*/ 24271 h 66675"/>
                  <a:gd name="connsiteX64" fmla="*/ 9501 w 133350"/>
                  <a:gd name="connsiteY64" fmla="*/ 24271 h 66675"/>
                  <a:gd name="connsiteX65" fmla="*/ 9501 w 133350"/>
                  <a:gd name="connsiteY65" fmla="*/ 20575 h 66675"/>
                  <a:gd name="connsiteX66" fmla="*/ 9501 w 133350"/>
                  <a:gd name="connsiteY66" fmla="*/ 16889 h 66675"/>
                  <a:gd name="connsiteX67" fmla="*/ 13190 w 133350"/>
                  <a:gd name="connsiteY67" fmla="*/ 16889 h 66675"/>
                  <a:gd name="connsiteX68" fmla="*/ 13190 w 133350"/>
                  <a:gd name="connsiteY68" fmla="*/ 16889 h 66675"/>
                  <a:gd name="connsiteX69" fmla="*/ 9501 w 133350"/>
                  <a:gd name="connsiteY69" fmla="*/ 16889 h 66675"/>
                  <a:gd name="connsiteX70" fmla="*/ 5812 w 133350"/>
                  <a:gd name="connsiteY70" fmla="*/ 16889 h 66675"/>
                  <a:gd name="connsiteX71" fmla="*/ 5812 w 133350"/>
                  <a:gd name="connsiteY71" fmla="*/ 16889 h 66675"/>
                  <a:gd name="connsiteX72" fmla="*/ 5812 w 133350"/>
                  <a:gd name="connsiteY72" fmla="*/ 16889 h 66675"/>
                  <a:gd name="connsiteX73" fmla="*/ 16879 w 133350"/>
                  <a:gd name="connsiteY73" fmla="*/ 13193 h 66675"/>
                  <a:gd name="connsiteX74" fmla="*/ 27947 w 133350"/>
                  <a:gd name="connsiteY74" fmla="*/ 9507 h 66675"/>
                  <a:gd name="connsiteX75" fmla="*/ 27947 w 133350"/>
                  <a:gd name="connsiteY75" fmla="*/ 5812 h 66675"/>
                  <a:gd name="connsiteX76" fmla="*/ 27947 w 133350"/>
                  <a:gd name="connsiteY76" fmla="*/ 5812 h 66675"/>
                  <a:gd name="connsiteX77" fmla="*/ 31636 w 133350"/>
                  <a:gd name="connsiteY77" fmla="*/ 5812 h 66675"/>
                  <a:gd name="connsiteX78" fmla="*/ 31636 w 133350"/>
                  <a:gd name="connsiteY78" fmla="*/ 5812 h 66675"/>
                  <a:gd name="connsiteX79" fmla="*/ 31636 w 133350"/>
                  <a:gd name="connsiteY79" fmla="*/ 9507 h 66675"/>
                  <a:gd name="connsiteX80" fmla="*/ 35325 w 133350"/>
                  <a:gd name="connsiteY80" fmla="*/ 9507 h 66675"/>
                  <a:gd name="connsiteX81" fmla="*/ 39014 w 133350"/>
                  <a:gd name="connsiteY81" fmla="*/ 9507 h 66675"/>
                  <a:gd name="connsiteX82" fmla="*/ 42703 w 133350"/>
                  <a:gd name="connsiteY82" fmla="*/ 13193 h 66675"/>
                  <a:gd name="connsiteX83" fmla="*/ 46393 w 133350"/>
                  <a:gd name="connsiteY83" fmla="*/ 13193 h 66675"/>
                  <a:gd name="connsiteX84" fmla="*/ 50082 w 133350"/>
                  <a:gd name="connsiteY84" fmla="*/ 16889 h 66675"/>
                  <a:gd name="connsiteX85" fmla="*/ 50082 w 133350"/>
                  <a:gd name="connsiteY85" fmla="*/ 16889 h 66675"/>
                  <a:gd name="connsiteX86" fmla="*/ 53771 w 133350"/>
                  <a:gd name="connsiteY86" fmla="*/ 16889 h 66675"/>
                  <a:gd name="connsiteX87" fmla="*/ 57460 w 133350"/>
                  <a:gd name="connsiteY87" fmla="*/ 13193 h 66675"/>
                  <a:gd name="connsiteX88" fmla="*/ 61149 w 133350"/>
                  <a:gd name="connsiteY88" fmla="*/ 13193 h 66675"/>
                  <a:gd name="connsiteX89" fmla="*/ 68528 w 133350"/>
                  <a:gd name="connsiteY89" fmla="*/ 9507 h 66675"/>
                  <a:gd name="connsiteX90" fmla="*/ 68528 w 133350"/>
                  <a:gd name="connsiteY90" fmla="*/ 9507 h 66675"/>
                  <a:gd name="connsiteX91" fmla="*/ 75906 w 133350"/>
                  <a:gd name="connsiteY91" fmla="*/ 13193 h 66675"/>
                  <a:gd name="connsiteX92" fmla="*/ 79595 w 133350"/>
                  <a:gd name="connsiteY92" fmla="*/ 9507 h 66675"/>
                  <a:gd name="connsiteX93" fmla="*/ 79595 w 133350"/>
                  <a:gd name="connsiteY93" fmla="*/ 9507 h 66675"/>
                  <a:gd name="connsiteX94" fmla="*/ 86973 w 133350"/>
                  <a:gd name="connsiteY94" fmla="*/ 5812 h 66675"/>
                  <a:gd name="connsiteX95" fmla="*/ 86973 w 133350"/>
                  <a:gd name="connsiteY95" fmla="*/ 5812 h 66675"/>
                  <a:gd name="connsiteX96" fmla="*/ 94352 w 133350"/>
                  <a:gd name="connsiteY96" fmla="*/ 5812 h 66675"/>
                  <a:gd name="connsiteX97" fmla="*/ 98041 w 133350"/>
                  <a:gd name="connsiteY97" fmla="*/ 9507 h 66675"/>
                  <a:gd name="connsiteX98" fmla="*/ 105419 w 133350"/>
                  <a:gd name="connsiteY98" fmla="*/ 5812 h 66675"/>
                  <a:gd name="connsiteX99" fmla="*/ 109108 w 133350"/>
                  <a:gd name="connsiteY99" fmla="*/ 5812 h 66675"/>
                  <a:gd name="connsiteX100" fmla="*/ 109108 w 133350"/>
                  <a:gd name="connsiteY100" fmla="*/ 5812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33350" h="66675">
                    <a:moveTo>
                      <a:pt x="109108" y="5812"/>
                    </a:moveTo>
                    <a:lnTo>
                      <a:pt x="109108" y="5812"/>
                    </a:lnTo>
                    <a:lnTo>
                      <a:pt x="112797" y="5812"/>
                    </a:lnTo>
                    <a:lnTo>
                      <a:pt x="112797" y="5812"/>
                    </a:lnTo>
                    <a:lnTo>
                      <a:pt x="112797" y="9507"/>
                    </a:lnTo>
                    <a:lnTo>
                      <a:pt x="116487" y="9507"/>
                    </a:lnTo>
                    <a:lnTo>
                      <a:pt x="120176" y="9507"/>
                    </a:lnTo>
                    <a:lnTo>
                      <a:pt x="123865" y="13193"/>
                    </a:lnTo>
                    <a:lnTo>
                      <a:pt x="123865" y="16889"/>
                    </a:lnTo>
                    <a:lnTo>
                      <a:pt x="127554" y="24271"/>
                    </a:lnTo>
                    <a:lnTo>
                      <a:pt x="131243" y="27957"/>
                    </a:lnTo>
                    <a:lnTo>
                      <a:pt x="131243" y="31653"/>
                    </a:lnTo>
                    <a:lnTo>
                      <a:pt x="131243" y="31653"/>
                    </a:lnTo>
                    <a:lnTo>
                      <a:pt x="134932" y="31653"/>
                    </a:lnTo>
                    <a:lnTo>
                      <a:pt x="134932" y="35339"/>
                    </a:lnTo>
                    <a:lnTo>
                      <a:pt x="134932" y="39035"/>
                    </a:lnTo>
                    <a:lnTo>
                      <a:pt x="134932" y="39035"/>
                    </a:lnTo>
                    <a:lnTo>
                      <a:pt x="134932" y="42721"/>
                    </a:lnTo>
                    <a:lnTo>
                      <a:pt x="134932" y="42721"/>
                    </a:lnTo>
                    <a:lnTo>
                      <a:pt x="131243" y="46417"/>
                    </a:lnTo>
                    <a:lnTo>
                      <a:pt x="123865" y="46417"/>
                    </a:lnTo>
                    <a:lnTo>
                      <a:pt x="123865" y="46417"/>
                    </a:lnTo>
                    <a:lnTo>
                      <a:pt x="123865" y="46417"/>
                    </a:lnTo>
                    <a:lnTo>
                      <a:pt x="120176" y="53789"/>
                    </a:lnTo>
                    <a:lnTo>
                      <a:pt x="120176" y="53789"/>
                    </a:lnTo>
                    <a:lnTo>
                      <a:pt x="112797" y="53789"/>
                    </a:lnTo>
                    <a:lnTo>
                      <a:pt x="109108" y="50103"/>
                    </a:lnTo>
                    <a:lnTo>
                      <a:pt x="105419" y="46417"/>
                    </a:lnTo>
                    <a:lnTo>
                      <a:pt x="105419" y="46417"/>
                    </a:lnTo>
                    <a:lnTo>
                      <a:pt x="98041" y="46417"/>
                    </a:lnTo>
                    <a:lnTo>
                      <a:pt x="94352" y="46417"/>
                    </a:lnTo>
                    <a:lnTo>
                      <a:pt x="94352" y="50103"/>
                    </a:lnTo>
                    <a:lnTo>
                      <a:pt x="90662" y="50103"/>
                    </a:lnTo>
                    <a:lnTo>
                      <a:pt x="90662" y="50103"/>
                    </a:lnTo>
                    <a:lnTo>
                      <a:pt x="86973" y="50103"/>
                    </a:lnTo>
                    <a:lnTo>
                      <a:pt x="79595" y="50103"/>
                    </a:lnTo>
                    <a:lnTo>
                      <a:pt x="75906" y="46417"/>
                    </a:lnTo>
                    <a:lnTo>
                      <a:pt x="68528" y="46417"/>
                    </a:lnTo>
                    <a:lnTo>
                      <a:pt x="53771" y="50103"/>
                    </a:lnTo>
                    <a:lnTo>
                      <a:pt x="50082" y="53789"/>
                    </a:lnTo>
                    <a:lnTo>
                      <a:pt x="46393" y="61171"/>
                    </a:lnTo>
                    <a:lnTo>
                      <a:pt x="42703" y="61171"/>
                    </a:lnTo>
                    <a:lnTo>
                      <a:pt x="39014" y="68553"/>
                    </a:lnTo>
                    <a:lnTo>
                      <a:pt x="39014" y="68553"/>
                    </a:lnTo>
                    <a:lnTo>
                      <a:pt x="39014" y="64867"/>
                    </a:lnTo>
                    <a:lnTo>
                      <a:pt x="35325" y="61171"/>
                    </a:lnTo>
                    <a:lnTo>
                      <a:pt x="39014" y="57485"/>
                    </a:lnTo>
                    <a:lnTo>
                      <a:pt x="39014" y="53789"/>
                    </a:lnTo>
                    <a:lnTo>
                      <a:pt x="39014" y="50103"/>
                    </a:lnTo>
                    <a:lnTo>
                      <a:pt x="31636" y="42721"/>
                    </a:lnTo>
                    <a:lnTo>
                      <a:pt x="35325" y="42721"/>
                    </a:lnTo>
                    <a:lnTo>
                      <a:pt x="35325" y="39035"/>
                    </a:lnTo>
                    <a:lnTo>
                      <a:pt x="39014" y="35339"/>
                    </a:lnTo>
                    <a:lnTo>
                      <a:pt x="39014" y="35339"/>
                    </a:lnTo>
                    <a:lnTo>
                      <a:pt x="35325" y="39035"/>
                    </a:lnTo>
                    <a:lnTo>
                      <a:pt x="35325" y="39035"/>
                    </a:lnTo>
                    <a:lnTo>
                      <a:pt x="31636" y="42721"/>
                    </a:lnTo>
                    <a:lnTo>
                      <a:pt x="31636" y="42721"/>
                    </a:lnTo>
                    <a:lnTo>
                      <a:pt x="27947" y="39035"/>
                    </a:lnTo>
                    <a:lnTo>
                      <a:pt x="24258" y="35339"/>
                    </a:lnTo>
                    <a:lnTo>
                      <a:pt x="20568" y="35339"/>
                    </a:lnTo>
                    <a:lnTo>
                      <a:pt x="16879" y="31653"/>
                    </a:lnTo>
                    <a:lnTo>
                      <a:pt x="13190" y="31653"/>
                    </a:lnTo>
                    <a:lnTo>
                      <a:pt x="13190" y="24271"/>
                    </a:lnTo>
                    <a:lnTo>
                      <a:pt x="9501" y="24271"/>
                    </a:lnTo>
                    <a:lnTo>
                      <a:pt x="9501" y="20575"/>
                    </a:lnTo>
                    <a:lnTo>
                      <a:pt x="9501" y="16889"/>
                    </a:lnTo>
                    <a:lnTo>
                      <a:pt x="13190" y="16889"/>
                    </a:lnTo>
                    <a:lnTo>
                      <a:pt x="13190" y="16889"/>
                    </a:lnTo>
                    <a:lnTo>
                      <a:pt x="9501" y="16889"/>
                    </a:lnTo>
                    <a:lnTo>
                      <a:pt x="5812" y="16889"/>
                    </a:lnTo>
                    <a:lnTo>
                      <a:pt x="5812" y="16889"/>
                    </a:lnTo>
                    <a:lnTo>
                      <a:pt x="5812" y="16889"/>
                    </a:lnTo>
                    <a:lnTo>
                      <a:pt x="16879" y="13193"/>
                    </a:lnTo>
                    <a:lnTo>
                      <a:pt x="27947" y="9507"/>
                    </a:lnTo>
                    <a:lnTo>
                      <a:pt x="27947" y="5812"/>
                    </a:lnTo>
                    <a:lnTo>
                      <a:pt x="27947" y="5812"/>
                    </a:lnTo>
                    <a:lnTo>
                      <a:pt x="31636" y="5812"/>
                    </a:lnTo>
                    <a:lnTo>
                      <a:pt x="31636" y="5812"/>
                    </a:lnTo>
                    <a:lnTo>
                      <a:pt x="31636" y="9507"/>
                    </a:lnTo>
                    <a:lnTo>
                      <a:pt x="35325" y="9507"/>
                    </a:lnTo>
                    <a:lnTo>
                      <a:pt x="39014" y="9507"/>
                    </a:lnTo>
                    <a:lnTo>
                      <a:pt x="42703" y="13193"/>
                    </a:lnTo>
                    <a:lnTo>
                      <a:pt x="46393" y="13193"/>
                    </a:lnTo>
                    <a:lnTo>
                      <a:pt x="50082" y="16889"/>
                    </a:lnTo>
                    <a:lnTo>
                      <a:pt x="50082" y="16889"/>
                    </a:lnTo>
                    <a:lnTo>
                      <a:pt x="53771" y="16889"/>
                    </a:lnTo>
                    <a:lnTo>
                      <a:pt x="57460" y="13193"/>
                    </a:lnTo>
                    <a:lnTo>
                      <a:pt x="61149" y="13193"/>
                    </a:lnTo>
                    <a:lnTo>
                      <a:pt x="68528" y="9507"/>
                    </a:lnTo>
                    <a:lnTo>
                      <a:pt x="68528" y="9507"/>
                    </a:lnTo>
                    <a:lnTo>
                      <a:pt x="75906" y="13193"/>
                    </a:lnTo>
                    <a:lnTo>
                      <a:pt x="79595" y="9507"/>
                    </a:lnTo>
                    <a:lnTo>
                      <a:pt x="79595" y="9507"/>
                    </a:lnTo>
                    <a:lnTo>
                      <a:pt x="86973" y="5812"/>
                    </a:lnTo>
                    <a:lnTo>
                      <a:pt x="86973" y="5812"/>
                    </a:lnTo>
                    <a:lnTo>
                      <a:pt x="94352" y="5812"/>
                    </a:lnTo>
                    <a:lnTo>
                      <a:pt x="98041" y="9507"/>
                    </a:lnTo>
                    <a:lnTo>
                      <a:pt x="105419" y="5812"/>
                    </a:lnTo>
                    <a:lnTo>
                      <a:pt x="109108" y="5812"/>
                    </a:lnTo>
                    <a:lnTo>
                      <a:pt x="109108" y="5812"/>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grpSp>
        <p:grpSp>
          <p:nvGrpSpPr>
            <p:cNvPr id="115" name="Group 114">
              <a:extLst>
                <a:ext uri="{FF2B5EF4-FFF2-40B4-BE49-F238E27FC236}">
                  <a16:creationId xmlns:a16="http://schemas.microsoft.com/office/drawing/2014/main" id="{8206432E-FD38-423C-BCEB-B7A6F4FD20E6}"/>
                </a:ext>
              </a:extLst>
            </p:cNvPr>
            <p:cNvGrpSpPr/>
            <p:nvPr/>
          </p:nvGrpSpPr>
          <p:grpSpPr>
            <a:xfrm>
              <a:off x="4124034" y="3382017"/>
              <a:ext cx="1462979" cy="1202811"/>
              <a:chOff x="1605510" y="3294039"/>
              <a:chExt cx="1489044" cy="1224241"/>
            </a:xfrm>
            <a:grpFill/>
          </p:grpSpPr>
          <p:sp>
            <p:nvSpPr>
              <p:cNvPr id="118" name="Freeform: Shape 117">
                <a:extLst>
                  <a:ext uri="{FF2B5EF4-FFF2-40B4-BE49-F238E27FC236}">
                    <a16:creationId xmlns:a16="http://schemas.microsoft.com/office/drawing/2014/main" id="{1014CE24-3AD7-4AD7-8D09-383543BB5F70}"/>
                  </a:ext>
                </a:extLst>
              </p:cNvPr>
              <p:cNvSpPr/>
              <p:nvPr/>
            </p:nvSpPr>
            <p:spPr>
              <a:xfrm>
                <a:off x="1773296" y="3294039"/>
                <a:ext cx="1321258" cy="1147977"/>
              </a:xfrm>
              <a:custGeom>
                <a:avLst/>
                <a:gdLst>
                  <a:gd name="connsiteX0" fmla="*/ 260365 w 581025"/>
                  <a:gd name="connsiteY0" fmla="*/ 5812 h 504825"/>
                  <a:gd name="connsiteX1" fmla="*/ 238230 w 581025"/>
                  <a:gd name="connsiteY1" fmla="*/ 53789 h 504825"/>
                  <a:gd name="connsiteX2" fmla="*/ 230852 w 581025"/>
                  <a:gd name="connsiteY2" fmla="*/ 64867 h 504825"/>
                  <a:gd name="connsiteX3" fmla="*/ 227163 w 581025"/>
                  <a:gd name="connsiteY3" fmla="*/ 72248 h 504825"/>
                  <a:gd name="connsiteX4" fmla="*/ 216096 w 581025"/>
                  <a:gd name="connsiteY4" fmla="*/ 90698 h 504825"/>
                  <a:gd name="connsiteX5" fmla="*/ 212406 w 581025"/>
                  <a:gd name="connsiteY5" fmla="*/ 94385 h 504825"/>
                  <a:gd name="connsiteX6" fmla="*/ 212406 w 581025"/>
                  <a:gd name="connsiteY6" fmla="*/ 98080 h 504825"/>
                  <a:gd name="connsiteX7" fmla="*/ 205028 w 581025"/>
                  <a:gd name="connsiteY7" fmla="*/ 109148 h 504825"/>
                  <a:gd name="connsiteX8" fmla="*/ 201339 w 581025"/>
                  <a:gd name="connsiteY8" fmla="*/ 116530 h 504825"/>
                  <a:gd name="connsiteX9" fmla="*/ 190271 w 581025"/>
                  <a:gd name="connsiteY9" fmla="*/ 131294 h 504825"/>
                  <a:gd name="connsiteX10" fmla="*/ 168136 w 581025"/>
                  <a:gd name="connsiteY10" fmla="*/ 160821 h 504825"/>
                  <a:gd name="connsiteX11" fmla="*/ 157069 w 581025"/>
                  <a:gd name="connsiteY11" fmla="*/ 168203 h 504825"/>
                  <a:gd name="connsiteX12" fmla="*/ 157069 w 581025"/>
                  <a:gd name="connsiteY12" fmla="*/ 171889 h 504825"/>
                  <a:gd name="connsiteX13" fmla="*/ 149690 w 581025"/>
                  <a:gd name="connsiteY13" fmla="*/ 179271 h 504825"/>
                  <a:gd name="connsiteX14" fmla="*/ 146001 w 581025"/>
                  <a:gd name="connsiteY14" fmla="*/ 179271 h 504825"/>
                  <a:gd name="connsiteX15" fmla="*/ 146001 w 581025"/>
                  <a:gd name="connsiteY15" fmla="*/ 182967 h 504825"/>
                  <a:gd name="connsiteX16" fmla="*/ 146001 w 581025"/>
                  <a:gd name="connsiteY16" fmla="*/ 186653 h 504825"/>
                  <a:gd name="connsiteX17" fmla="*/ 149690 w 581025"/>
                  <a:gd name="connsiteY17" fmla="*/ 186653 h 504825"/>
                  <a:gd name="connsiteX18" fmla="*/ 146001 w 581025"/>
                  <a:gd name="connsiteY18" fmla="*/ 190339 h 504825"/>
                  <a:gd name="connsiteX19" fmla="*/ 146001 w 581025"/>
                  <a:gd name="connsiteY19" fmla="*/ 186653 h 504825"/>
                  <a:gd name="connsiteX20" fmla="*/ 142311 w 581025"/>
                  <a:gd name="connsiteY20" fmla="*/ 186653 h 504825"/>
                  <a:gd name="connsiteX21" fmla="*/ 138622 w 581025"/>
                  <a:gd name="connsiteY21" fmla="*/ 190339 h 504825"/>
                  <a:gd name="connsiteX22" fmla="*/ 134933 w 581025"/>
                  <a:gd name="connsiteY22" fmla="*/ 197721 h 504825"/>
                  <a:gd name="connsiteX23" fmla="*/ 131244 w 581025"/>
                  <a:gd name="connsiteY23" fmla="*/ 201417 h 504825"/>
                  <a:gd name="connsiteX24" fmla="*/ 120176 w 581025"/>
                  <a:gd name="connsiteY24" fmla="*/ 212485 h 504825"/>
                  <a:gd name="connsiteX25" fmla="*/ 112798 w 581025"/>
                  <a:gd name="connsiteY25" fmla="*/ 219867 h 504825"/>
                  <a:gd name="connsiteX26" fmla="*/ 101731 w 581025"/>
                  <a:gd name="connsiteY26" fmla="*/ 234631 h 504825"/>
                  <a:gd name="connsiteX27" fmla="*/ 98041 w 581025"/>
                  <a:gd name="connsiteY27" fmla="*/ 238317 h 504825"/>
                  <a:gd name="connsiteX28" fmla="*/ 90663 w 581025"/>
                  <a:gd name="connsiteY28" fmla="*/ 245699 h 504825"/>
                  <a:gd name="connsiteX29" fmla="*/ 86974 w 581025"/>
                  <a:gd name="connsiteY29" fmla="*/ 249394 h 504825"/>
                  <a:gd name="connsiteX30" fmla="*/ 86974 w 581025"/>
                  <a:gd name="connsiteY30" fmla="*/ 253081 h 504825"/>
                  <a:gd name="connsiteX31" fmla="*/ 79596 w 581025"/>
                  <a:gd name="connsiteY31" fmla="*/ 264158 h 504825"/>
                  <a:gd name="connsiteX32" fmla="*/ 72217 w 581025"/>
                  <a:gd name="connsiteY32" fmla="*/ 267844 h 504825"/>
                  <a:gd name="connsiteX33" fmla="*/ 64839 w 581025"/>
                  <a:gd name="connsiteY33" fmla="*/ 275226 h 504825"/>
                  <a:gd name="connsiteX34" fmla="*/ 61150 w 581025"/>
                  <a:gd name="connsiteY34" fmla="*/ 275226 h 504825"/>
                  <a:gd name="connsiteX35" fmla="*/ 57461 w 581025"/>
                  <a:gd name="connsiteY35" fmla="*/ 271540 h 504825"/>
                  <a:gd name="connsiteX36" fmla="*/ 39015 w 581025"/>
                  <a:gd name="connsiteY36" fmla="*/ 267844 h 504825"/>
                  <a:gd name="connsiteX37" fmla="*/ 35326 w 581025"/>
                  <a:gd name="connsiteY37" fmla="*/ 271540 h 504825"/>
                  <a:gd name="connsiteX38" fmla="*/ 31637 w 581025"/>
                  <a:gd name="connsiteY38" fmla="*/ 271540 h 504825"/>
                  <a:gd name="connsiteX39" fmla="*/ 27947 w 581025"/>
                  <a:gd name="connsiteY39" fmla="*/ 271540 h 504825"/>
                  <a:gd name="connsiteX40" fmla="*/ 24258 w 581025"/>
                  <a:gd name="connsiteY40" fmla="*/ 275226 h 504825"/>
                  <a:gd name="connsiteX41" fmla="*/ 24258 w 581025"/>
                  <a:gd name="connsiteY41" fmla="*/ 278922 h 504825"/>
                  <a:gd name="connsiteX42" fmla="*/ 20569 w 581025"/>
                  <a:gd name="connsiteY42" fmla="*/ 282608 h 504825"/>
                  <a:gd name="connsiteX43" fmla="*/ 16880 w 581025"/>
                  <a:gd name="connsiteY43" fmla="*/ 289990 h 504825"/>
                  <a:gd name="connsiteX44" fmla="*/ 20569 w 581025"/>
                  <a:gd name="connsiteY44" fmla="*/ 293676 h 504825"/>
                  <a:gd name="connsiteX45" fmla="*/ 24258 w 581025"/>
                  <a:gd name="connsiteY45" fmla="*/ 297372 h 504825"/>
                  <a:gd name="connsiteX46" fmla="*/ 24258 w 581025"/>
                  <a:gd name="connsiteY46" fmla="*/ 301058 h 504825"/>
                  <a:gd name="connsiteX47" fmla="*/ 16880 w 581025"/>
                  <a:gd name="connsiteY47" fmla="*/ 308440 h 504825"/>
                  <a:gd name="connsiteX48" fmla="*/ 13191 w 581025"/>
                  <a:gd name="connsiteY48" fmla="*/ 315822 h 504825"/>
                  <a:gd name="connsiteX49" fmla="*/ 5812 w 581025"/>
                  <a:gd name="connsiteY49" fmla="*/ 326899 h 504825"/>
                  <a:gd name="connsiteX50" fmla="*/ 9502 w 581025"/>
                  <a:gd name="connsiteY50" fmla="*/ 326899 h 504825"/>
                  <a:gd name="connsiteX51" fmla="*/ 13191 w 581025"/>
                  <a:gd name="connsiteY51" fmla="*/ 326899 h 504825"/>
                  <a:gd name="connsiteX52" fmla="*/ 16880 w 581025"/>
                  <a:gd name="connsiteY52" fmla="*/ 330585 h 504825"/>
                  <a:gd name="connsiteX53" fmla="*/ 20569 w 581025"/>
                  <a:gd name="connsiteY53" fmla="*/ 326899 h 504825"/>
                  <a:gd name="connsiteX54" fmla="*/ 35326 w 581025"/>
                  <a:gd name="connsiteY54" fmla="*/ 323204 h 504825"/>
                  <a:gd name="connsiteX55" fmla="*/ 39015 w 581025"/>
                  <a:gd name="connsiteY55" fmla="*/ 323204 h 504825"/>
                  <a:gd name="connsiteX56" fmla="*/ 42704 w 581025"/>
                  <a:gd name="connsiteY56" fmla="*/ 330585 h 504825"/>
                  <a:gd name="connsiteX57" fmla="*/ 39015 w 581025"/>
                  <a:gd name="connsiteY57" fmla="*/ 330585 h 504825"/>
                  <a:gd name="connsiteX58" fmla="*/ 39015 w 581025"/>
                  <a:gd name="connsiteY58" fmla="*/ 334272 h 504825"/>
                  <a:gd name="connsiteX59" fmla="*/ 31637 w 581025"/>
                  <a:gd name="connsiteY59" fmla="*/ 341654 h 504825"/>
                  <a:gd name="connsiteX60" fmla="*/ 31637 w 581025"/>
                  <a:gd name="connsiteY60" fmla="*/ 345349 h 504825"/>
                  <a:gd name="connsiteX61" fmla="*/ 27947 w 581025"/>
                  <a:gd name="connsiteY61" fmla="*/ 349035 h 504825"/>
                  <a:gd name="connsiteX62" fmla="*/ 27947 w 581025"/>
                  <a:gd name="connsiteY62" fmla="*/ 352731 h 504825"/>
                  <a:gd name="connsiteX63" fmla="*/ 31637 w 581025"/>
                  <a:gd name="connsiteY63" fmla="*/ 356417 h 504825"/>
                  <a:gd name="connsiteX64" fmla="*/ 46393 w 581025"/>
                  <a:gd name="connsiteY64" fmla="*/ 378563 h 504825"/>
                  <a:gd name="connsiteX65" fmla="*/ 46393 w 581025"/>
                  <a:gd name="connsiteY65" fmla="*/ 382249 h 504825"/>
                  <a:gd name="connsiteX66" fmla="*/ 46393 w 581025"/>
                  <a:gd name="connsiteY66" fmla="*/ 385945 h 504825"/>
                  <a:gd name="connsiteX67" fmla="*/ 42704 w 581025"/>
                  <a:gd name="connsiteY67" fmla="*/ 389631 h 504825"/>
                  <a:gd name="connsiteX68" fmla="*/ 50082 w 581025"/>
                  <a:gd name="connsiteY68" fmla="*/ 385945 h 504825"/>
                  <a:gd name="connsiteX69" fmla="*/ 53772 w 581025"/>
                  <a:gd name="connsiteY69" fmla="*/ 389631 h 504825"/>
                  <a:gd name="connsiteX70" fmla="*/ 57461 w 581025"/>
                  <a:gd name="connsiteY70" fmla="*/ 393327 h 504825"/>
                  <a:gd name="connsiteX71" fmla="*/ 61150 w 581025"/>
                  <a:gd name="connsiteY71" fmla="*/ 397013 h 504825"/>
                  <a:gd name="connsiteX72" fmla="*/ 61150 w 581025"/>
                  <a:gd name="connsiteY72" fmla="*/ 400709 h 504825"/>
                  <a:gd name="connsiteX73" fmla="*/ 64839 w 581025"/>
                  <a:gd name="connsiteY73" fmla="*/ 400709 h 504825"/>
                  <a:gd name="connsiteX74" fmla="*/ 68528 w 581025"/>
                  <a:gd name="connsiteY74" fmla="*/ 400709 h 504825"/>
                  <a:gd name="connsiteX75" fmla="*/ 72217 w 581025"/>
                  <a:gd name="connsiteY75" fmla="*/ 400709 h 504825"/>
                  <a:gd name="connsiteX76" fmla="*/ 75906 w 581025"/>
                  <a:gd name="connsiteY76" fmla="*/ 400709 h 504825"/>
                  <a:gd name="connsiteX77" fmla="*/ 72217 w 581025"/>
                  <a:gd name="connsiteY77" fmla="*/ 404395 h 504825"/>
                  <a:gd name="connsiteX78" fmla="*/ 75906 w 581025"/>
                  <a:gd name="connsiteY78" fmla="*/ 408090 h 504825"/>
                  <a:gd name="connsiteX79" fmla="*/ 79596 w 581025"/>
                  <a:gd name="connsiteY79" fmla="*/ 408090 h 504825"/>
                  <a:gd name="connsiteX80" fmla="*/ 79596 w 581025"/>
                  <a:gd name="connsiteY80" fmla="*/ 404395 h 504825"/>
                  <a:gd name="connsiteX81" fmla="*/ 83285 w 581025"/>
                  <a:gd name="connsiteY81" fmla="*/ 404395 h 504825"/>
                  <a:gd name="connsiteX82" fmla="*/ 86974 w 581025"/>
                  <a:gd name="connsiteY82" fmla="*/ 404395 h 504825"/>
                  <a:gd name="connsiteX83" fmla="*/ 90663 w 581025"/>
                  <a:gd name="connsiteY83" fmla="*/ 404395 h 504825"/>
                  <a:gd name="connsiteX84" fmla="*/ 94352 w 581025"/>
                  <a:gd name="connsiteY84" fmla="*/ 408090 h 504825"/>
                  <a:gd name="connsiteX85" fmla="*/ 101731 w 581025"/>
                  <a:gd name="connsiteY85" fmla="*/ 419158 h 504825"/>
                  <a:gd name="connsiteX86" fmla="*/ 105420 w 581025"/>
                  <a:gd name="connsiteY86" fmla="*/ 419158 h 504825"/>
                  <a:gd name="connsiteX87" fmla="*/ 109109 w 581025"/>
                  <a:gd name="connsiteY87" fmla="*/ 419158 h 504825"/>
                  <a:gd name="connsiteX88" fmla="*/ 112798 w 581025"/>
                  <a:gd name="connsiteY88" fmla="*/ 419158 h 504825"/>
                  <a:gd name="connsiteX89" fmla="*/ 112798 w 581025"/>
                  <a:gd name="connsiteY89" fmla="*/ 422854 h 504825"/>
                  <a:gd name="connsiteX90" fmla="*/ 120176 w 581025"/>
                  <a:gd name="connsiteY90" fmla="*/ 422854 h 504825"/>
                  <a:gd name="connsiteX91" fmla="*/ 123866 w 581025"/>
                  <a:gd name="connsiteY91" fmla="*/ 430227 h 504825"/>
                  <a:gd name="connsiteX92" fmla="*/ 127555 w 581025"/>
                  <a:gd name="connsiteY92" fmla="*/ 433922 h 504825"/>
                  <a:gd name="connsiteX93" fmla="*/ 131244 w 581025"/>
                  <a:gd name="connsiteY93" fmla="*/ 433922 h 504825"/>
                  <a:gd name="connsiteX94" fmla="*/ 134933 w 581025"/>
                  <a:gd name="connsiteY94" fmla="*/ 433922 h 504825"/>
                  <a:gd name="connsiteX95" fmla="*/ 131244 w 581025"/>
                  <a:gd name="connsiteY95" fmla="*/ 437608 h 504825"/>
                  <a:gd name="connsiteX96" fmla="*/ 127555 w 581025"/>
                  <a:gd name="connsiteY96" fmla="*/ 437608 h 504825"/>
                  <a:gd name="connsiteX97" fmla="*/ 131244 w 581025"/>
                  <a:gd name="connsiteY97" fmla="*/ 444990 h 504825"/>
                  <a:gd name="connsiteX98" fmla="*/ 134933 w 581025"/>
                  <a:gd name="connsiteY98" fmla="*/ 448686 h 504825"/>
                  <a:gd name="connsiteX99" fmla="*/ 146001 w 581025"/>
                  <a:gd name="connsiteY99" fmla="*/ 452372 h 504825"/>
                  <a:gd name="connsiteX100" fmla="*/ 146001 w 581025"/>
                  <a:gd name="connsiteY100" fmla="*/ 456068 h 504825"/>
                  <a:gd name="connsiteX101" fmla="*/ 153380 w 581025"/>
                  <a:gd name="connsiteY101" fmla="*/ 456068 h 504825"/>
                  <a:gd name="connsiteX102" fmla="*/ 160758 w 581025"/>
                  <a:gd name="connsiteY102" fmla="*/ 459754 h 504825"/>
                  <a:gd name="connsiteX103" fmla="*/ 168136 w 581025"/>
                  <a:gd name="connsiteY103" fmla="*/ 459754 h 504825"/>
                  <a:gd name="connsiteX104" fmla="*/ 168136 w 581025"/>
                  <a:gd name="connsiteY104" fmla="*/ 463450 h 504825"/>
                  <a:gd name="connsiteX105" fmla="*/ 182893 w 581025"/>
                  <a:gd name="connsiteY105" fmla="*/ 467136 h 504825"/>
                  <a:gd name="connsiteX106" fmla="*/ 190271 w 581025"/>
                  <a:gd name="connsiteY106" fmla="*/ 474518 h 504825"/>
                  <a:gd name="connsiteX107" fmla="*/ 193961 w 581025"/>
                  <a:gd name="connsiteY107" fmla="*/ 474518 h 504825"/>
                  <a:gd name="connsiteX108" fmla="*/ 201339 w 581025"/>
                  <a:gd name="connsiteY108" fmla="*/ 478204 h 504825"/>
                  <a:gd name="connsiteX109" fmla="*/ 212406 w 581025"/>
                  <a:gd name="connsiteY109" fmla="*/ 485586 h 504825"/>
                  <a:gd name="connsiteX110" fmla="*/ 216096 w 581025"/>
                  <a:gd name="connsiteY110" fmla="*/ 485586 h 504825"/>
                  <a:gd name="connsiteX111" fmla="*/ 219785 w 581025"/>
                  <a:gd name="connsiteY111" fmla="*/ 489281 h 504825"/>
                  <a:gd name="connsiteX112" fmla="*/ 227163 w 581025"/>
                  <a:gd name="connsiteY112" fmla="*/ 489281 h 504825"/>
                  <a:gd name="connsiteX113" fmla="*/ 227163 w 581025"/>
                  <a:gd name="connsiteY113" fmla="*/ 492968 h 504825"/>
                  <a:gd name="connsiteX114" fmla="*/ 241920 w 581025"/>
                  <a:gd name="connsiteY114" fmla="*/ 492968 h 504825"/>
                  <a:gd name="connsiteX115" fmla="*/ 245609 w 581025"/>
                  <a:gd name="connsiteY115" fmla="*/ 492968 h 504825"/>
                  <a:gd name="connsiteX116" fmla="*/ 252987 w 581025"/>
                  <a:gd name="connsiteY116" fmla="*/ 496663 h 504825"/>
                  <a:gd name="connsiteX117" fmla="*/ 256676 w 581025"/>
                  <a:gd name="connsiteY117" fmla="*/ 496663 h 504825"/>
                  <a:gd name="connsiteX118" fmla="*/ 260365 w 581025"/>
                  <a:gd name="connsiteY118" fmla="*/ 496663 h 504825"/>
                  <a:gd name="connsiteX119" fmla="*/ 264055 w 581025"/>
                  <a:gd name="connsiteY119" fmla="*/ 500350 h 504825"/>
                  <a:gd name="connsiteX120" fmla="*/ 267744 w 581025"/>
                  <a:gd name="connsiteY120" fmla="*/ 500350 h 504825"/>
                  <a:gd name="connsiteX121" fmla="*/ 271433 w 581025"/>
                  <a:gd name="connsiteY121" fmla="*/ 504045 h 504825"/>
                  <a:gd name="connsiteX122" fmla="*/ 275122 w 581025"/>
                  <a:gd name="connsiteY122" fmla="*/ 504045 h 504825"/>
                  <a:gd name="connsiteX123" fmla="*/ 282500 w 581025"/>
                  <a:gd name="connsiteY123" fmla="*/ 500350 h 504825"/>
                  <a:gd name="connsiteX124" fmla="*/ 286190 w 581025"/>
                  <a:gd name="connsiteY124" fmla="*/ 500350 h 504825"/>
                  <a:gd name="connsiteX125" fmla="*/ 297258 w 581025"/>
                  <a:gd name="connsiteY125" fmla="*/ 496663 h 504825"/>
                  <a:gd name="connsiteX126" fmla="*/ 300947 w 581025"/>
                  <a:gd name="connsiteY126" fmla="*/ 496663 h 504825"/>
                  <a:gd name="connsiteX127" fmla="*/ 304636 w 581025"/>
                  <a:gd name="connsiteY127" fmla="*/ 492968 h 504825"/>
                  <a:gd name="connsiteX128" fmla="*/ 312015 w 581025"/>
                  <a:gd name="connsiteY128" fmla="*/ 492968 h 504825"/>
                  <a:gd name="connsiteX129" fmla="*/ 315704 w 581025"/>
                  <a:gd name="connsiteY129" fmla="*/ 485586 h 504825"/>
                  <a:gd name="connsiteX130" fmla="*/ 319393 w 581025"/>
                  <a:gd name="connsiteY130" fmla="*/ 489281 h 504825"/>
                  <a:gd name="connsiteX131" fmla="*/ 323082 w 581025"/>
                  <a:gd name="connsiteY131" fmla="*/ 489281 h 504825"/>
                  <a:gd name="connsiteX132" fmla="*/ 330460 w 581025"/>
                  <a:gd name="connsiteY132" fmla="*/ 485586 h 504825"/>
                  <a:gd name="connsiteX133" fmla="*/ 330460 w 581025"/>
                  <a:gd name="connsiteY133" fmla="*/ 489281 h 504825"/>
                  <a:gd name="connsiteX134" fmla="*/ 345217 w 581025"/>
                  <a:gd name="connsiteY134" fmla="*/ 485586 h 504825"/>
                  <a:gd name="connsiteX135" fmla="*/ 348906 w 581025"/>
                  <a:gd name="connsiteY135" fmla="*/ 481900 h 504825"/>
                  <a:gd name="connsiteX136" fmla="*/ 352595 w 581025"/>
                  <a:gd name="connsiteY136" fmla="*/ 478204 h 504825"/>
                  <a:gd name="connsiteX137" fmla="*/ 359974 w 581025"/>
                  <a:gd name="connsiteY137" fmla="*/ 474518 h 504825"/>
                  <a:gd name="connsiteX138" fmla="*/ 371041 w 581025"/>
                  <a:gd name="connsiteY138" fmla="*/ 467136 h 504825"/>
                  <a:gd name="connsiteX139" fmla="*/ 374730 w 581025"/>
                  <a:gd name="connsiteY139" fmla="*/ 459754 h 504825"/>
                  <a:gd name="connsiteX140" fmla="*/ 378420 w 581025"/>
                  <a:gd name="connsiteY140" fmla="*/ 456068 h 504825"/>
                  <a:gd name="connsiteX141" fmla="*/ 382109 w 581025"/>
                  <a:gd name="connsiteY141" fmla="*/ 444990 h 504825"/>
                  <a:gd name="connsiteX142" fmla="*/ 385798 w 581025"/>
                  <a:gd name="connsiteY142" fmla="*/ 441304 h 504825"/>
                  <a:gd name="connsiteX143" fmla="*/ 389487 w 581025"/>
                  <a:gd name="connsiteY143" fmla="*/ 437608 h 504825"/>
                  <a:gd name="connsiteX144" fmla="*/ 389487 w 581025"/>
                  <a:gd name="connsiteY144" fmla="*/ 433922 h 504825"/>
                  <a:gd name="connsiteX145" fmla="*/ 393176 w 581025"/>
                  <a:gd name="connsiteY145" fmla="*/ 430227 h 504825"/>
                  <a:gd name="connsiteX146" fmla="*/ 396865 w 581025"/>
                  <a:gd name="connsiteY146" fmla="*/ 430227 h 504825"/>
                  <a:gd name="connsiteX147" fmla="*/ 404244 w 581025"/>
                  <a:gd name="connsiteY147" fmla="*/ 426540 h 504825"/>
                  <a:gd name="connsiteX148" fmla="*/ 411622 w 581025"/>
                  <a:gd name="connsiteY148" fmla="*/ 426540 h 504825"/>
                  <a:gd name="connsiteX149" fmla="*/ 419000 w 581025"/>
                  <a:gd name="connsiteY149" fmla="*/ 426540 h 504825"/>
                  <a:gd name="connsiteX150" fmla="*/ 426379 w 581025"/>
                  <a:gd name="connsiteY150" fmla="*/ 426540 h 504825"/>
                  <a:gd name="connsiteX151" fmla="*/ 430068 w 581025"/>
                  <a:gd name="connsiteY151" fmla="*/ 426540 h 504825"/>
                  <a:gd name="connsiteX152" fmla="*/ 437446 w 581025"/>
                  <a:gd name="connsiteY152" fmla="*/ 422854 h 504825"/>
                  <a:gd name="connsiteX153" fmla="*/ 441136 w 581025"/>
                  <a:gd name="connsiteY153" fmla="*/ 422854 h 504825"/>
                  <a:gd name="connsiteX154" fmla="*/ 448515 w 581025"/>
                  <a:gd name="connsiteY154" fmla="*/ 411777 h 504825"/>
                  <a:gd name="connsiteX155" fmla="*/ 452204 w 581025"/>
                  <a:gd name="connsiteY155" fmla="*/ 411777 h 504825"/>
                  <a:gd name="connsiteX156" fmla="*/ 459582 w 581025"/>
                  <a:gd name="connsiteY156" fmla="*/ 408090 h 504825"/>
                  <a:gd name="connsiteX157" fmla="*/ 463271 w 581025"/>
                  <a:gd name="connsiteY157" fmla="*/ 404395 h 504825"/>
                  <a:gd name="connsiteX158" fmla="*/ 470650 w 581025"/>
                  <a:gd name="connsiteY158" fmla="*/ 404395 h 504825"/>
                  <a:gd name="connsiteX159" fmla="*/ 474339 w 581025"/>
                  <a:gd name="connsiteY159" fmla="*/ 404395 h 504825"/>
                  <a:gd name="connsiteX160" fmla="*/ 478028 w 581025"/>
                  <a:gd name="connsiteY160" fmla="*/ 404395 h 504825"/>
                  <a:gd name="connsiteX161" fmla="*/ 485406 w 581025"/>
                  <a:gd name="connsiteY161" fmla="*/ 408090 h 504825"/>
                  <a:gd name="connsiteX162" fmla="*/ 492784 w 581025"/>
                  <a:gd name="connsiteY162" fmla="*/ 408090 h 504825"/>
                  <a:gd name="connsiteX163" fmla="*/ 496474 w 581025"/>
                  <a:gd name="connsiteY163" fmla="*/ 408090 h 504825"/>
                  <a:gd name="connsiteX164" fmla="*/ 500163 w 581025"/>
                  <a:gd name="connsiteY164" fmla="*/ 411777 h 504825"/>
                  <a:gd name="connsiteX165" fmla="*/ 507541 w 581025"/>
                  <a:gd name="connsiteY165" fmla="*/ 411777 h 504825"/>
                  <a:gd name="connsiteX166" fmla="*/ 511230 w 581025"/>
                  <a:gd name="connsiteY166" fmla="*/ 411777 h 504825"/>
                  <a:gd name="connsiteX167" fmla="*/ 518609 w 581025"/>
                  <a:gd name="connsiteY167" fmla="*/ 411777 h 504825"/>
                  <a:gd name="connsiteX168" fmla="*/ 518609 w 581025"/>
                  <a:gd name="connsiteY168" fmla="*/ 408090 h 504825"/>
                  <a:gd name="connsiteX169" fmla="*/ 522298 w 581025"/>
                  <a:gd name="connsiteY169" fmla="*/ 393327 h 504825"/>
                  <a:gd name="connsiteX170" fmla="*/ 514919 w 581025"/>
                  <a:gd name="connsiteY170" fmla="*/ 393327 h 504825"/>
                  <a:gd name="connsiteX171" fmla="*/ 511230 w 581025"/>
                  <a:gd name="connsiteY171" fmla="*/ 393327 h 504825"/>
                  <a:gd name="connsiteX172" fmla="*/ 507541 w 581025"/>
                  <a:gd name="connsiteY172" fmla="*/ 393327 h 504825"/>
                  <a:gd name="connsiteX173" fmla="*/ 503852 w 581025"/>
                  <a:gd name="connsiteY173" fmla="*/ 389631 h 504825"/>
                  <a:gd name="connsiteX174" fmla="*/ 507541 w 581025"/>
                  <a:gd name="connsiteY174" fmla="*/ 389631 h 504825"/>
                  <a:gd name="connsiteX175" fmla="*/ 503852 w 581025"/>
                  <a:gd name="connsiteY175" fmla="*/ 385945 h 504825"/>
                  <a:gd name="connsiteX176" fmla="*/ 503852 w 581025"/>
                  <a:gd name="connsiteY176" fmla="*/ 382249 h 504825"/>
                  <a:gd name="connsiteX177" fmla="*/ 503852 w 581025"/>
                  <a:gd name="connsiteY177" fmla="*/ 378563 h 504825"/>
                  <a:gd name="connsiteX178" fmla="*/ 507541 w 581025"/>
                  <a:gd name="connsiteY178" fmla="*/ 382249 h 504825"/>
                  <a:gd name="connsiteX179" fmla="*/ 514919 w 581025"/>
                  <a:gd name="connsiteY179" fmla="*/ 378563 h 504825"/>
                  <a:gd name="connsiteX180" fmla="*/ 518609 w 581025"/>
                  <a:gd name="connsiteY180" fmla="*/ 382249 h 504825"/>
                  <a:gd name="connsiteX181" fmla="*/ 529676 w 581025"/>
                  <a:gd name="connsiteY181" fmla="*/ 378563 h 504825"/>
                  <a:gd name="connsiteX182" fmla="*/ 533365 w 581025"/>
                  <a:gd name="connsiteY182" fmla="*/ 382249 h 504825"/>
                  <a:gd name="connsiteX183" fmla="*/ 537054 w 581025"/>
                  <a:gd name="connsiteY183" fmla="*/ 382249 h 504825"/>
                  <a:gd name="connsiteX184" fmla="*/ 537054 w 581025"/>
                  <a:gd name="connsiteY184" fmla="*/ 378563 h 504825"/>
                  <a:gd name="connsiteX185" fmla="*/ 533365 w 581025"/>
                  <a:gd name="connsiteY185" fmla="*/ 374877 h 504825"/>
                  <a:gd name="connsiteX186" fmla="*/ 533365 w 581025"/>
                  <a:gd name="connsiteY186" fmla="*/ 371181 h 504825"/>
                  <a:gd name="connsiteX187" fmla="*/ 533365 w 581025"/>
                  <a:gd name="connsiteY187" fmla="*/ 367495 h 504825"/>
                  <a:gd name="connsiteX188" fmla="*/ 537054 w 581025"/>
                  <a:gd name="connsiteY188" fmla="*/ 367495 h 504825"/>
                  <a:gd name="connsiteX189" fmla="*/ 540744 w 581025"/>
                  <a:gd name="connsiteY189" fmla="*/ 367495 h 504825"/>
                  <a:gd name="connsiteX190" fmla="*/ 544433 w 581025"/>
                  <a:gd name="connsiteY190" fmla="*/ 367495 h 504825"/>
                  <a:gd name="connsiteX191" fmla="*/ 548122 w 581025"/>
                  <a:gd name="connsiteY191" fmla="*/ 363799 h 504825"/>
                  <a:gd name="connsiteX192" fmla="*/ 548122 w 581025"/>
                  <a:gd name="connsiteY192" fmla="*/ 356417 h 504825"/>
                  <a:gd name="connsiteX193" fmla="*/ 551811 w 581025"/>
                  <a:gd name="connsiteY193" fmla="*/ 356417 h 504825"/>
                  <a:gd name="connsiteX194" fmla="*/ 559189 w 581025"/>
                  <a:gd name="connsiteY194" fmla="*/ 356417 h 504825"/>
                  <a:gd name="connsiteX195" fmla="*/ 562879 w 581025"/>
                  <a:gd name="connsiteY195" fmla="*/ 356417 h 504825"/>
                  <a:gd name="connsiteX196" fmla="*/ 562879 w 581025"/>
                  <a:gd name="connsiteY196" fmla="*/ 352731 h 504825"/>
                  <a:gd name="connsiteX197" fmla="*/ 566568 w 581025"/>
                  <a:gd name="connsiteY197" fmla="*/ 349035 h 504825"/>
                  <a:gd name="connsiteX198" fmla="*/ 570257 w 581025"/>
                  <a:gd name="connsiteY198" fmla="*/ 337967 h 504825"/>
                  <a:gd name="connsiteX199" fmla="*/ 570257 w 581025"/>
                  <a:gd name="connsiteY199" fmla="*/ 334272 h 504825"/>
                  <a:gd name="connsiteX200" fmla="*/ 573946 w 581025"/>
                  <a:gd name="connsiteY200" fmla="*/ 334272 h 504825"/>
                  <a:gd name="connsiteX201" fmla="*/ 577635 w 581025"/>
                  <a:gd name="connsiteY201" fmla="*/ 326899 h 504825"/>
                  <a:gd name="connsiteX202" fmla="*/ 581324 w 581025"/>
                  <a:gd name="connsiteY202" fmla="*/ 323204 h 504825"/>
                  <a:gd name="connsiteX203" fmla="*/ 577635 w 581025"/>
                  <a:gd name="connsiteY203" fmla="*/ 323204 h 504825"/>
                  <a:gd name="connsiteX204" fmla="*/ 581324 w 581025"/>
                  <a:gd name="connsiteY204" fmla="*/ 319517 h 504825"/>
                  <a:gd name="connsiteX205" fmla="*/ 577635 w 581025"/>
                  <a:gd name="connsiteY205" fmla="*/ 319517 h 504825"/>
                  <a:gd name="connsiteX206" fmla="*/ 573946 w 581025"/>
                  <a:gd name="connsiteY206" fmla="*/ 319517 h 504825"/>
                  <a:gd name="connsiteX207" fmla="*/ 570257 w 581025"/>
                  <a:gd name="connsiteY207" fmla="*/ 319517 h 504825"/>
                  <a:gd name="connsiteX208" fmla="*/ 555500 w 581025"/>
                  <a:gd name="connsiteY208" fmla="*/ 312136 h 504825"/>
                  <a:gd name="connsiteX209" fmla="*/ 548122 w 581025"/>
                  <a:gd name="connsiteY209" fmla="*/ 308440 h 504825"/>
                  <a:gd name="connsiteX210" fmla="*/ 533365 w 581025"/>
                  <a:gd name="connsiteY210" fmla="*/ 304754 h 504825"/>
                  <a:gd name="connsiteX211" fmla="*/ 537054 w 581025"/>
                  <a:gd name="connsiteY211" fmla="*/ 297372 h 504825"/>
                  <a:gd name="connsiteX212" fmla="*/ 533365 w 581025"/>
                  <a:gd name="connsiteY212" fmla="*/ 286294 h 504825"/>
                  <a:gd name="connsiteX213" fmla="*/ 529676 w 581025"/>
                  <a:gd name="connsiteY213" fmla="*/ 286294 h 504825"/>
                  <a:gd name="connsiteX214" fmla="*/ 525987 w 581025"/>
                  <a:gd name="connsiteY214" fmla="*/ 286294 h 504825"/>
                  <a:gd name="connsiteX215" fmla="*/ 525987 w 581025"/>
                  <a:gd name="connsiteY215" fmla="*/ 289990 h 504825"/>
                  <a:gd name="connsiteX216" fmla="*/ 522298 w 581025"/>
                  <a:gd name="connsiteY216" fmla="*/ 293676 h 504825"/>
                  <a:gd name="connsiteX217" fmla="*/ 518609 w 581025"/>
                  <a:gd name="connsiteY217" fmla="*/ 293676 h 504825"/>
                  <a:gd name="connsiteX218" fmla="*/ 511230 w 581025"/>
                  <a:gd name="connsiteY218" fmla="*/ 286294 h 504825"/>
                  <a:gd name="connsiteX219" fmla="*/ 507541 w 581025"/>
                  <a:gd name="connsiteY219" fmla="*/ 286294 h 504825"/>
                  <a:gd name="connsiteX220" fmla="*/ 503852 w 581025"/>
                  <a:gd name="connsiteY220" fmla="*/ 286294 h 504825"/>
                  <a:gd name="connsiteX221" fmla="*/ 500163 w 581025"/>
                  <a:gd name="connsiteY221" fmla="*/ 289990 h 504825"/>
                  <a:gd name="connsiteX222" fmla="*/ 496474 w 581025"/>
                  <a:gd name="connsiteY222" fmla="*/ 293676 h 504825"/>
                  <a:gd name="connsiteX223" fmla="*/ 496474 w 581025"/>
                  <a:gd name="connsiteY223" fmla="*/ 297372 h 504825"/>
                  <a:gd name="connsiteX224" fmla="*/ 492784 w 581025"/>
                  <a:gd name="connsiteY224" fmla="*/ 301058 h 504825"/>
                  <a:gd name="connsiteX225" fmla="*/ 489095 w 581025"/>
                  <a:gd name="connsiteY225" fmla="*/ 301058 h 504825"/>
                  <a:gd name="connsiteX226" fmla="*/ 485406 w 581025"/>
                  <a:gd name="connsiteY226" fmla="*/ 297372 h 504825"/>
                  <a:gd name="connsiteX227" fmla="*/ 481717 w 581025"/>
                  <a:gd name="connsiteY227" fmla="*/ 297372 h 504825"/>
                  <a:gd name="connsiteX228" fmla="*/ 478028 w 581025"/>
                  <a:gd name="connsiteY228" fmla="*/ 297372 h 504825"/>
                  <a:gd name="connsiteX229" fmla="*/ 474339 w 581025"/>
                  <a:gd name="connsiteY229" fmla="*/ 301058 h 504825"/>
                  <a:gd name="connsiteX230" fmla="*/ 470650 w 581025"/>
                  <a:gd name="connsiteY230" fmla="*/ 308440 h 504825"/>
                  <a:gd name="connsiteX231" fmla="*/ 466960 w 581025"/>
                  <a:gd name="connsiteY231" fmla="*/ 308440 h 504825"/>
                  <a:gd name="connsiteX232" fmla="*/ 466960 w 581025"/>
                  <a:gd name="connsiteY232" fmla="*/ 312136 h 504825"/>
                  <a:gd name="connsiteX233" fmla="*/ 463271 w 581025"/>
                  <a:gd name="connsiteY233" fmla="*/ 312136 h 504825"/>
                  <a:gd name="connsiteX234" fmla="*/ 459582 w 581025"/>
                  <a:gd name="connsiteY234" fmla="*/ 315822 h 504825"/>
                  <a:gd name="connsiteX235" fmla="*/ 455893 w 581025"/>
                  <a:gd name="connsiteY235" fmla="*/ 315822 h 504825"/>
                  <a:gd name="connsiteX236" fmla="*/ 448515 w 581025"/>
                  <a:gd name="connsiteY236" fmla="*/ 315822 h 504825"/>
                  <a:gd name="connsiteX237" fmla="*/ 444825 w 581025"/>
                  <a:gd name="connsiteY237" fmla="*/ 315822 h 504825"/>
                  <a:gd name="connsiteX238" fmla="*/ 444825 w 581025"/>
                  <a:gd name="connsiteY238" fmla="*/ 312136 h 504825"/>
                  <a:gd name="connsiteX239" fmla="*/ 444825 w 581025"/>
                  <a:gd name="connsiteY239" fmla="*/ 304754 h 504825"/>
                  <a:gd name="connsiteX240" fmla="*/ 441136 w 581025"/>
                  <a:gd name="connsiteY240" fmla="*/ 301058 h 504825"/>
                  <a:gd name="connsiteX241" fmla="*/ 441136 w 581025"/>
                  <a:gd name="connsiteY241" fmla="*/ 297372 h 504825"/>
                  <a:gd name="connsiteX242" fmla="*/ 437446 w 581025"/>
                  <a:gd name="connsiteY242" fmla="*/ 293676 h 504825"/>
                  <a:gd name="connsiteX243" fmla="*/ 433757 w 581025"/>
                  <a:gd name="connsiteY243" fmla="*/ 289990 h 504825"/>
                  <a:gd name="connsiteX244" fmla="*/ 430068 w 581025"/>
                  <a:gd name="connsiteY244" fmla="*/ 286294 h 504825"/>
                  <a:gd name="connsiteX245" fmla="*/ 426379 w 581025"/>
                  <a:gd name="connsiteY245" fmla="*/ 278922 h 504825"/>
                  <a:gd name="connsiteX246" fmla="*/ 422689 w 581025"/>
                  <a:gd name="connsiteY246" fmla="*/ 271540 h 504825"/>
                  <a:gd name="connsiteX247" fmla="*/ 419000 w 581025"/>
                  <a:gd name="connsiteY247" fmla="*/ 267844 h 504825"/>
                  <a:gd name="connsiteX248" fmla="*/ 433757 w 581025"/>
                  <a:gd name="connsiteY248" fmla="*/ 264158 h 504825"/>
                  <a:gd name="connsiteX249" fmla="*/ 437446 w 581025"/>
                  <a:gd name="connsiteY249" fmla="*/ 264158 h 504825"/>
                  <a:gd name="connsiteX250" fmla="*/ 433757 w 581025"/>
                  <a:gd name="connsiteY250" fmla="*/ 253081 h 504825"/>
                  <a:gd name="connsiteX251" fmla="*/ 430068 w 581025"/>
                  <a:gd name="connsiteY251" fmla="*/ 253081 h 504825"/>
                  <a:gd name="connsiteX252" fmla="*/ 426379 w 581025"/>
                  <a:gd name="connsiteY252" fmla="*/ 253081 h 504825"/>
                  <a:gd name="connsiteX253" fmla="*/ 422689 w 581025"/>
                  <a:gd name="connsiteY253" fmla="*/ 253081 h 504825"/>
                  <a:gd name="connsiteX254" fmla="*/ 419000 w 581025"/>
                  <a:gd name="connsiteY254" fmla="*/ 253081 h 504825"/>
                  <a:gd name="connsiteX255" fmla="*/ 415311 w 581025"/>
                  <a:gd name="connsiteY255" fmla="*/ 256776 h 504825"/>
                  <a:gd name="connsiteX256" fmla="*/ 411622 w 581025"/>
                  <a:gd name="connsiteY256" fmla="*/ 256776 h 504825"/>
                  <a:gd name="connsiteX257" fmla="*/ 407933 w 581025"/>
                  <a:gd name="connsiteY257" fmla="*/ 249394 h 504825"/>
                  <a:gd name="connsiteX258" fmla="*/ 411622 w 581025"/>
                  <a:gd name="connsiteY258" fmla="*/ 245699 h 504825"/>
                  <a:gd name="connsiteX259" fmla="*/ 411622 w 581025"/>
                  <a:gd name="connsiteY259" fmla="*/ 242013 h 504825"/>
                  <a:gd name="connsiteX260" fmla="*/ 415311 w 581025"/>
                  <a:gd name="connsiteY260" fmla="*/ 242013 h 504825"/>
                  <a:gd name="connsiteX261" fmla="*/ 419000 w 581025"/>
                  <a:gd name="connsiteY261" fmla="*/ 238317 h 504825"/>
                  <a:gd name="connsiteX262" fmla="*/ 422689 w 581025"/>
                  <a:gd name="connsiteY262" fmla="*/ 227249 h 504825"/>
                  <a:gd name="connsiteX263" fmla="*/ 433757 w 581025"/>
                  <a:gd name="connsiteY263" fmla="*/ 219867 h 504825"/>
                  <a:gd name="connsiteX264" fmla="*/ 437446 w 581025"/>
                  <a:gd name="connsiteY264" fmla="*/ 219867 h 504825"/>
                  <a:gd name="connsiteX265" fmla="*/ 441136 w 581025"/>
                  <a:gd name="connsiteY265" fmla="*/ 216181 h 504825"/>
                  <a:gd name="connsiteX266" fmla="*/ 444825 w 581025"/>
                  <a:gd name="connsiteY266" fmla="*/ 212485 h 504825"/>
                  <a:gd name="connsiteX267" fmla="*/ 430068 w 581025"/>
                  <a:gd name="connsiteY267" fmla="*/ 212485 h 504825"/>
                  <a:gd name="connsiteX268" fmla="*/ 422689 w 581025"/>
                  <a:gd name="connsiteY268" fmla="*/ 212485 h 504825"/>
                  <a:gd name="connsiteX269" fmla="*/ 426379 w 581025"/>
                  <a:gd name="connsiteY269" fmla="*/ 208799 h 504825"/>
                  <a:gd name="connsiteX270" fmla="*/ 422689 w 581025"/>
                  <a:gd name="connsiteY270" fmla="*/ 208799 h 504825"/>
                  <a:gd name="connsiteX271" fmla="*/ 422689 w 581025"/>
                  <a:gd name="connsiteY271" fmla="*/ 205103 h 504825"/>
                  <a:gd name="connsiteX272" fmla="*/ 419000 w 581025"/>
                  <a:gd name="connsiteY272" fmla="*/ 194035 h 504825"/>
                  <a:gd name="connsiteX273" fmla="*/ 419000 w 581025"/>
                  <a:gd name="connsiteY273" fmla="*/ 182967 h 504825"/>
                  <a:gd name="connsiteX274" fmla="*/ 422689 w 581025"/>
                  <a:gd name="connsiteY274" fmla="*/ 182967 h 504825"/>
                  <a:gd name="connsiteX275" fmla="*/ 419000 w 581025"/>
                  <a:gd name="connsiteY275" fmla="*/ 179271 h 504825"/>
                  <a:gd name="connsiteX276" fmla="*/ 404244 w 581025"/>
                  <a:gd name="connsiteY276" fmla="*/ 171889 h 504825"/>
                  <a:gd name="connsiteX277" fmla="*/ 404244 w 581025"/>
                  <a:gd name="connsiteY277" fmla="*/ 168203 h 504825"/>
                  <a:gd name="connsiteX278" fmla="*/ 407933 w 581025"/>
                  <a:gd name="connsiteY278" fmla="*/ 168203 h 504825"/>
                  <a:gd name="connsiteX279" fmla="*/ 411622 w 581025"/>
                  <a:gd name="connsiteY279" fmla="*/ 168203 h 504825"/>
                  <a:gd name="connsiteX280" fmla="*/ 411622 w 581025"/>
                  <a:gd name="connsiteY280" fmla="*/ 164508 h 504825"/>
                  <a:gd name="connsiteX281" fmla="*/ 415311 w 581025"/>
                  <a:gd name="connsiteY281" fmla="*/ 160821 h 504825"/>
                  <a:gd name="connsiteX282" fmla="*/ 411622 w 581025"/>
                  <a:gd name="connsiteY282" fmla="*/ 160821 h 504825"/>
                  <a:gd name="connsiteX283" fmla="*/ 415311 w 581025"/>
                  <a:gd name="connsiteY283" fmla="*/ 157126 h 504825"/>
                  <a:gd name="connsiteX284" fmla="*/ 419000 w 581025"/>
                  <a:gd name="connsiteY284" fmla="*/ 153440 h 504825"/>
                  <a:gd name="connsiteX285" fmla="*/ 426379 w 581025"/>
                  <a:gd name="connsiteY285" fmla="*/ 153440 h 504825"/>
                  <a:gd name="connsiteX286" fmla="*/ 426379 w 581025"/>
                  <a:gd name="connsiteY286" fmla="*/ 157126 h 504825"/>
                  <a:gd name="connsiteX287" fmla="*/ 430068 w 581025"/>
                  <a:gd name="connsiteY287" fmla="*/ 157126 h 504825"/>
                  <a:gd name="connsiteX288" fmla="*/ 437446 w 581025"/>
                  <a:gd name="connsiteY288" fmla="*/ 157126 h 504825"/>
                  <a:gd name="connsiteX289" fmla="*/ 441136 w 581025"/>
                  <a:gd name="connsiteY289" fmla="*/ 157126 h 504825"/>
                  <a:gd name="connsiteX290" fmla="*/ 444825 w 581025"/>
                  <a:gd name="connsiteY290" fmla="*/ 157126 h 504825"/>
                  <a:gd name="connsiteX291" fmla="*/ 444825 w 581025"/>
                  <a:gd name="connsiteY291" fmla="*/ 142362 h 504825"/>
                  <a:gd name="connsiteX292" fmla="*/ 455893 w 581025"/>
                  <a:gd name="connsiteY292" fmla="*/ 138676 h 504825"/>
                  <a:gd name="connsiteX293" fmla="*/ 441136 w 581025"/>
                  <a:gd name="connsiteY293" fmla="*/ 127608 h 504825"/>
                  <a:gd name="connsiteX294" fmla="*/ 437446 w 581025"/>
                  <a:gd name="connsiteY294" fmla="*/ 123912 h 504825"/>
                  <a:gd name="connsiteX295" fmla="*/ 430068 w 581025"/>
                  <a:gd name="connsiteY295" fmla="*/ 123912 h 504825"/>
                  <a:gd name="connsiteX296" fmla="*/ 426379 w 581025"/>
                  <a:gd name="connsiteY296" fmla="*/ 120226 h 504825"/>
                  <a:gd name="connsiteX297" fmla="*/ 422689 w 581025"/>
                  <a:gd name="connsiteY297" fmla="*/ 116530 h 504825"/>
                  <a:gd name="connsiteX298" fmla="*/ 422689 w 581025"/>
                  <a:gd name="connsiteY298" fmla="*/ 112844 h 504825"/>
                  <a:gd name="connsiteX299" fmla="*/ 419000 w 581025"/>
                  <a:gd name="connsiteY299" fmla="*/ 112844 h 504825"/>
                  <a:gd name="connsiteX300" fmla="*/ 415311 w 581025"/>
                  <a:gd name="connsiteY300" fmla="*/ 109148 h 504825"/>
                  <a:gd name="connsiteX301" fmla="*/ 415311 w 581025"/>
                  <a:gd name="connsiteY301" fmla="*/ 105462 h 504825"/>
                  <a:gd name="connsiteX302" fmla="*/ 411622 w 581025"/>
                  <a:gd name="connsiteY302" fmla="*/ 105462 h 504825"/>
                  <a:gd name="connsiteX303" fmla="*/ 411622 w 581025"/>
                  <a:gd name="connsiteY303" fmla="*/ 101766 h 504825"/>
                  <a:gd name="connsiteX304" fmla="*/ 411622 w 581025"/>
                  <a:gd name="connsiteY304" fmla="*/ 94385 h 504825"/>
                  <a:gd name="connsiteX305" fmla="*/ 407933 w 581025"/>
                  <a:gd name="connsiteY305" fmla="*/ 90698 h 504825"/>
                  <a:gd name="connsiteX306" fmla="*/ 407933 w 581025"/>
                  <a:gd name="connsiteY306" fmla="*/ 87012 h 504825"/>
                  <a:gd name="connsiteX307" fmla="*/ 404244 w 581025"/>
                  <a:gd name="connsiteY307" fmla="*/ 87012 h 504825"/>
                  <a:gd name="connsiteX308" fmla="*/ 400554 w 581025"/>
                  <a:gd name="connsiteY308" fmla="*/ 87012 h 504825"/>
                  <a:gd name="connsiteX309" fmla="*/ 396865 w 581025"/>
                  <a:gd name="connsiteY309" fmla="*/ 87012 h 504825"/>
                  <a:gd name="connsiteX310" fmla="*/ 396865 w 581025"/>
                  <a:gd name="connsiteY310" fmla="*/ 90698 h 504825"/>
                  <a:gd name="connsiteX311" fmla="*/ 393176 w 581025"/>
                  <a:gd name="connsiteY311" fmla="*/ 94385 h 504825"/>
                  <a:gd name="connsiteX312" fmla="*/ 385798 w 581025"/>
                  <a:gd name="connsiteY312" fmla="*/ 94385 h 504825"/>
                  <a:gd name="connsiteX313" fmla="*/ 382109 w 581025"/>
                  <a:gd name="connsiteY313" fmla="*/ 94385 h 504825"/>
                  <a:gd name="connsiteX314" fmla="*/ 378420 w 581025"/>
                  <a:gd name="connsiteY314" fmla="*/ 101766 h 504825"/>
                  <a:gd name="connsiteX315" fmla="*/ 374730 w 581025"/>
                  <a:gd name="connsiteY315" fmla="*/ 98080 h 504825"/>
                  <a:gd name="connsiteX316" fmla="*/ 371041 w 581025"/>
                  <a:gd name="connsiteY316" fmla="*/ 94385 h 504825"/>
                  <a:gd name="connsiteX317" fmla="*/ 374730 w 581025"/>
                  <a:gd name="connsiteY317" fmla="*/ 83316 h 504825"/>
                  <a:gd name="connsiteX318" fmla="*/ 363663 w 581025"/>
                  <a:gd name="connsiteY318" fmla="*/ 79630 h 504825"/>
                  <a:gd name="connsiteX319" fmla="*/ 359974 w 581025"/>
                  <a:gd name="connsiteY319" fmla="*/ 83316 h 504825"/>
                  <a:gd name="connsiteX320" fmla="*/ 356285 w 581025"/>
                  <a:gd name="connsiteY320" fmla="*/ 87012 h 504825"/>
                  <a:gd name="connsiteX321" fmla="*/ 352595 w 581025"/>
                  <a:gd name="connsiteY321" fmla="*/ 87012 h 504825"/>
                  <a:gd name="connsiteX322" fmla="*/ 348906 w 581025"/>
                  <a:gd name="connsiteY322" fmla="*/ 87012 h 504825"/>
                  <a:gd name="connsiteX323" fmla="*/ 345217 w 581025"/>
                  <a:gd name="connsiteY323" fmla="*/ 83316 h 504825"/>
                  <a:gd name="connsiteX324" fmla="*/ 345217 w 581025"/>
                  <a:gd name="connsiteY324" fmla="*/ 87012 h 504825"/>
                  <a:gd name="connsiteX325" fmla="*/ 341528 w 581025"/>
                  <a:gd name="connsiteY325" fmla="*/ 87012 h 504825"/>
                  <a:gd name="connsiteX326" fmla="*/ 334150 w 581025"/>
                  <a:gd name="connsiteY326" fmla="*/ 90698 h 504825"/>
                  <a:gd name="connsiteX327" fmla="*/ 330460 w 581025"/>
                  <a:gd name="connsiteY327" fmla="*/ 94385 h 504825"/>
                  <a:gd name="connsiteX328" fmla="*/ 326771 w 581025"/>
                  <a:gd name="connsiteY328" fmla="*/ 94385 h 504825"/>
                  <a:gd name="connsiteX329" fmla="*/ 323082 w 581025"/>
                  <a:gd name="connsiteY329" fmla="*/ 94385 h 504825"/>
                  <a:gd name="connsiteX330" fmla="*/ 312015 w 581025"/>
                  <a:gd name="connsiteY330" fmla="*/ 94385 h 504825"/>
                  <a:gd name="connsiteX331" fmla="*/ 304636 w 581025"/>
                  <a:gd name="connsiteY331" fmla="*/ 90698 h 504825"/>
                  <a:gd name="connsiteX332" fmla="*/ 300947 w 581025"/>
                  <a:gd name="connsiteY332" fmla="*/ 94385 h 504825"/>
                  <a:gd name="connsiteX333" fmla="*/ 297258 w 581025"/>
                  <a:gd name="connsiteY333" fmla="*/ 94385 h 504825"/>
                  <a:gd name="connsiteX334" fmla="*/ 293568 w 581025"/>
                  <a:gd name="connsiteY334" fmla="*/ 90698 h 504825"/>
                  <a:gd name="connsiteX335" fmla="*/ 289879 w 581025"/>
                  <a:gd name="connsiteY335" fmla="*/ 90698 h 504825"/>
                  <a:gd name="connsiteX336" fmla="*/ 289879 w 581025"/>
                  <a:gd name="connsiteY336" fmla="*/ 87012 h 504825"/>
                  <a:gd name="connsiteX337" fmla="*/ 289879 w 581025"/>
                  <a:gd name="connsiteY337" fmla="*/ 83316 h 504825"/>
                  <a:gd name="connsiteX338" fmla="*/ 289879 w 581025"/>
                  <a:gd name="connsiteY338" fmla="*/ 79630 h 504825"/>
                  <a:gd name="connsiteX339" fmla="*/ 293568 w 581025"/>
                  <a:gd name="connsiteY339" fmla="*/ 79630 h 504825"/>
                  <a:gd name="connsiteX340" fmla="*/ 293568 w 581025"/>
                  <a:gd name="connsiteY340" fmla="*/ 75935 h 504825"/>
                  <a:gd name="connsiteX341" fmla="*/ 297258 w 581025"/>
                  <a:gd name="connsiteY341" fmla="*/ 72248 h 504825"/>
                  <a:gd name="connsiteX342" fmla="*/ 297258 w 581025"/>
                  <a:gd name="connsiteY342" fmla="*/ 64867 h 504825"/>
                  <a:gd name="connsiteX343" fmla="*/ 297258 w 581025"/>
                  <a:gd name="connsiteY343" fmla="*/ 61171 h 504825"/>
                  <a:gd name="connsiteX344" fmla="*/ 297258 w 581025"/>
                  <a:gd name="connsiteY344" fmla="*/ 57485 h 504825"/>
                  <a:gd name="connsiteX345" fmla="*/ 297258 w 581025"/>
                  <a:gd name="connsiteY345" fmla="*/ 53789 h 504825"/>
                  <a:gd name="connsiteX346" fmla="*/ 300947 w 581025"/>
                  <a:gd name="connsiteY346" fmla="*/ 50103 h 504825"/>
                  <a:gd name="connsiteX347" fmla="*/ 304636 w 581025"/>
                  <a:gd name="connsiteY347" fmla="*/ 46407 h 504825"/>
                  <a:gd name="connsiteX348" fmla="*/ 308326 w 581025"/>
                  <a:gd name="connsiteY348" fmla="*/ 42721 h 504825"/>
                  <a:gd name="connsiteX349" fmla="*/ 308326 w 581025"/>
                  <a:gd name="connsiteY349" fmla="*/ 39035 h 504825"/>
                  <a:gd name="connsiteX350" fmla="*/ 308326 w 581025"/>
                  <a:gd name="connsiteY350" fmla="*/ 35339 h 504825"/>
                  <a:gd name="connsiteX351" fmla="*/ 312015 w 581025"/>
                  <a:gd name="connsiteY351" fmla="*/ 35339 h 504825"/>
                  <a:gd name="connsiteX352" fmla="*/ 312015 w 581025"/>
                  <a:gd name="connsiteY352" fmla="*/ 27957 h 504825"/>
                  <a:gd name="connsiteX353" fmla="*/ 315704 w 581025"/>
                  <a:gd name="connsiteY353" fmla="*/ 24271 h 504825"/>
                  <a:gd name="connsiteX354" fmla="*/ 319393 w 581025"/>
                  <a:gd name="connsiteY354" fmla="*/ 16889 h 504825"/>
                  <a:gd name="connsiteX355" fmla="*/ 312015 w 581025"/>
                  <a:gd name="connsiteY355" fmla="*/ 13193 h 504825"/>
                  <a:gd name="connsiteX356" fmla="*/ 308326 w 581025"/>
                  <a:gd name="connsiteY356" fmla="*/ 13193 h 504825"/>
                  <a:gd name="connsiteX357" fmla="*/ 304636 w 581025"/>
                  <a:gd name="connsiteY357" fmla="*/ 13193 h 504825"/>
                  <a:gd name="connsiteX358" fmla="*/ 300947 w 581025"/>
                  <a:gd name="connsiteY358" fmla="*/ 16889 h 504825"/>
                  <a:gd name="connsiteX359" fmla="*/ 297258 w 581025"/>
                  <a:gd name="connsiteY359" fmla="*/ 13193 h 504825"/>
                  <a:gd name="connsiteX360" fmla="*/ 297258 w 581025"/>
                  <a:gd name="connsiteY360" fmla="*/ 20575 h 504825"/>
                  <a:gd name="connsiteX361" fmla="*/ 286190 w 581025"/>
                  <a:gd name="connsiteY361" fmla="*/ 16889 h 504825"/>
                  <a:gd name="connsiteX362" fmla="*/ 260365 w 581025"/>
                  <a:gd name="connsiteY362" fmla="*/ 5812 h 504825"/>
                  <a:gd name="connsiteX363" fmla="*/ 42704 w 581025"/>
                  <a:gd name="connsiteY363" fmla="*/ 389631 h 504825"/>
                  <a:gd name="connsiteX364" fmla="*/ 39015 w 581025"/>
                  <a:gd name="connsiteY364" fmla="*/ 393327 h 504825"/>
                  <a:gd name="connsiteX365" fmla="*/ 42704 w 581025"/>
                  <a:gd name="connsiteY365" fmla="*/ 393327 h 504825"/>
                  <a:gd name="connsiteX366" fmla="*/ 42704 w 581025"/>
                  <a:gd name="connsiteY366" fmla="*/ 389631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Lst>
                <a:rect l="l" t="t" r="r" b="b"/>
                <a:pathLst>
                  <a:path w="581025" h="504825">
                    <a:moveTo>
                      <a:pt x="260365" y="5812"/>
                    </a:moveTo>
                    <a:lnTo>
                      <a:pt x="238230" y="53789"/>
                    </a:lnTo>
                    <a:lnTo>
                      <a:pt x="230852" y="64867"/>
                    </a:lnTo>
                    <a:lnTo>
                      <a:pt x="227163" y="72248"/>
                    </a:lnTo>
                    <a:lnTo>
                      <a:pt x="216096" y="90698"/>
                    </a:lnTo>
                    <a:lnTo>
                      <a:pt x="212406" y="94385"/>
                    </a:lnTo>
                    <a:lnTo>
                      <a:pt x="212406" y="98080"/>
                    </a:lnTo>
                    <a:lnTo>
                      <a:pt x="205028" y="109148"/>
                    </a:lnTo>
                    <a:lnTo>
                      <a:pt x="201339" y="116530"/>
                    </a:lnTo>
                    <a:lnTo>
                      <a:pt x="190271" y="131294"/>
                    </a:lnTo>
                    <a:lnTo>
                      <a:pt x="168136" y="160821"/>
                    </a:lnTo>
                    <a:lnTo>
                      <a:pt x="157069" y="168203"/>
                    </a:lnTo>
                    <a:lnTo>
                      <a:pt x="157069" y="171889"/>
                    </a:lnTo>
                    <a:lnTo>
                      <a:pt x="149690" y="179271"/>
                    </a:lnTo>
                    <a:lnTo>
                      <a:pt x="146001" y="179271"/>
                    </a:lnTo>
                    <a:lnTo>
                      <a:pt x="146001" y="182967"/>
                    </a:lnTo>
                    <a:lnTo>
                      <a:pt x="146001" y="186653"/>
                    </a:lnTo>
                    <a:lnTo>
                      <a:pt x="149690" y="186653"/>
                    </a:lnTo>
                    <a:lnTo>
                      <a:pt x="146001" y="190339"/>
                    </a:lnTo>
                    <a:lnTo>
                      <a:pt x="146001" y="186653"/>
                    </a:lnTo>
                    <a:lnTo>
                      <a:pt x="142311" y="186653"/>
                    </a:lnTo>
                    <a:lnTo>
                      <a:pt x="138622" y="190339"/>
                    </a:lnTo>
                    <a:lnTo>
                      <a:pt x="134933" y="197721"/>
                    </a:lnTo>
                    <a:lnTo>
                      <a:pt x="131244" y="201417"/>
                    </a:lnTo>
                    <a:lnTo>
                      <a:pt x="120176" y="212485"/>
                    </a:lnTo>
                    <a:lnTo>
                      <a:pt x="112798" y="219867"/>
                    </a:lnTo>
                    <a:lnTo>
                      <a:pt x="101731" y="234631"/>
                    </a:lnTo>
                    <a:lnTo>
                      <a:pt x="98041" y="238317"/>
                    </a:lnTo>
                    <a:lnTo>
                      <a:pt x="90663" y="245699"/>
                    </a:lnTo>
                    <a:lnTo>
                      <a:pt x="86974" y="249394"/>
                    </a:lnTo>
                    <a:lnTo>
                      <a:pt x="86974" y="253081"/>
                    </a:lnTo>
                    <a:lnTo>
                      <a:pt x="79596" y="264158"/>
                    </a:lnTo>
                    <a:lnTo>
                      <a:pt x="72217" y="267844"/>
                    </a:lnTo>
                    <a:lnTo>
                      <a:pt x="64839" y="275226"/>
                    </a:lnTo>
                    <a:lnTo>
                      <a:pt x="61150" y="275226"/>
                    </a:lnTo>
                    <a:lnTo>
                      <a:pt x="57461" y="271540"/>
                    </a:lnTo>
                    <a:lnTo>
                      <a:pt x="39015" y="267844"/>
                    </a:lnTo>
                    <a:lnTo>
                      <a:pt x="35326" y="271540"/>
                    </a:lnTo>
                    <a:lnTo>
                      <a:pt x="31637" y="271540"/>
                    </a:lnTo>
                    <a:lnTo>
                      <a:pt x="27947" y="271540"/>
                    </a:lnTo>
                    <a:lnTo>
                      <a:pt x="24258" y="275226"/>
                    </a:lnTo>
                    <a:lnTo>
                      <a:pt x="24258" y="278922"/>
                    </a:lnTo>
                    <a:lnTo>
                      <a:pt x="20569" y="282608"/>
                    </a:lnTo>
                    <a:lnTo>
                      <a:pt x="16880" y="289990"/>
                    </a:lnTo>
                    <a:lnTo>
                      <a:pt x="20569" y="293676"/>
                    </a:lnTo>
                    <a:lnTo>
                      <a:pt x="24258" y="297372"/>
                    </a:lnTo>
                    <a:lnTo>
                      <a:pt x="24258" y="301058"/>
                    </a:lnTo>
                    <a:lnTo>
                      <a:pt x="16880" y="308440"/>
                    </a:lnTo>
                    <a:lnTo>
                      <a:pt x="13191" y="315822"/>
                    </a:lnTo>
                    <a:lnTo>
                      <a:pt x="5812" y="326899"/>
                    </a:lnTo>
                    <a:lnTo>
                      <a:pt x="9502" y="326899"/>
                    </a:lnTo>
                    <a:lnTo>
                      <a:pt x="13191" y="326899"/>
                    </a:lnTo>
                    <a:lnTo>
                      <a:pt x="16880" y="330585"/>
                    </a:lnTo>
                    <a:lnTo>
                      <a:pt x="20569" y="326899"/>
                    </a:lnTo>
                    <a:lnTo>
                      <a:pt x="35326" y="323204"/>
                    </a:lnTo>
                    <a:lnTo>
                      <a:pt x="39015" y="323204"/>
                    </a:lnTo>
                    <a:lnTo>
                      <a:pt x="42704" y="330585"/>
                    </a:lnTo>
                    <a:lnTo>
                      <a:pt x="39015" y="330585"/>
                    </a:lnTo>
                    <a:lnTo>
                      <a:pt x="39015" y="334272"/>
                    </a:lnTo>
                    <a:lnTo>
                      <a:pt x="31637" y="341654"/>
                    </a:lnTo>
                    <a:lnTo>
                      <a:pt x="31637" y="345349"/>
                    </a:lnTo>
                    <a:lnTo>
                      <a:pt x="27947" y="349035"/>
                    </a:lnTo>
                    <a:lnTo>
                      <a:pt x="27947" y="352731"/>
                    </a:lnTo>
                    <a:lnTo>
                      <a:pt x="31637" y="356417"/>
                    </a:lnTo>
                    <a:lnTo>
                      <a:pt x="46393" y="378563"/>
                    </a:lnTo>
                    <a:lnTo>
                      <a:pt x="46393" y="382249"/>
                    </a:lnTo>
                    <a:lnTo>
                      <a:pt x="46393" y="385945"/>
                    </a:lnTo>
                    <a:lnTo>
                      <a:pt x="42704" y="389631"/>
                    </a:lnTo>
                    <a:lnTo>
                      <a:pt x="50082" y="385945"/>
                    </a:lnTo>
                    <a:lnTo>
                      <a:pt x="53772" y="389631"/>
                    </a:lnTo>
                    <a:lnTo>
                      <a:pt x="57461" y="393327"/>
                    </a:lnTo>
                    <a:lnTo>
                      <a:pt x="61150" y="397013"/>
                    </a:lnTo>
                    <a:lnTo>
                      <a:pt x="61150" y="400709"/>
                    </a:lnTo>
                    <a:lnTo>
                      <a:pt x="64839" y="400709"/>
                    </a:lnTo>
                    <a:lnTo>
                      <a:pt x="68528" y="400709"/>
                    </a:lnTo>
                    <a:lnTo>
                      <a:pt x="72217" y="400709"/>
                    </a:lnTo>
                    <a:lnTo>
                      <a:pt x="75906" y="400709"/>
                    </a:lnTo>
                    <a:lnTo>
                      <a:pt x="72217" y="404395"/>
                    </a:lnTo>
                    <a:lnTo>
                      <a:pt x="75906" y="408090"/>
                    </a:lnTo>
                    <a:lnTo>
                      <a:pt x="79596" y="408090"/>
                    </a:lnTo>
                    <a:lnTo>
                      <a:pt x="79596" y="404395"/>
                    </a:lnTo>
                    <a:lnTo>
                      <a:pt x="83285" y="404395"/>
                    </a:lnTo>
                    <a:lnTo>
                      <a:pt x="86974" y="404395"/>
                    </a:lnTo>
                    <a:lnTo>
                      <a:pt x="90663" y="404395"/>
                    </a:lnTo>
                    <a:lnTo>
                      <a:pt x="94352" y="408090"/>
                    </a:lnTo>
                    <a:lnTo>
                      <a:pt x="101731" y="419158"/>
                    </a:lnTo>
                    <a:lnTo>
                      <a:pt x="105420" y="419158"/>
                    </a:lnTo>
                    <a:lnTo>
                      <a:pt x="109109" y="419158"/>
                    </a:lnTo>
                    <a:lnTo>
                      <a:pt x="112798" y="419158"/>
                    </a:lnTo>
                    <a:lnTo>
                      <a:pt x="112798" y="422854"/>
                    </a:lnTo>
                    <a:lnTo>
                      <a:pt x="120176" y="422854"/>
                    </a:lnTo>
                    <a:lnTo>
                      <a:pt x="123866" y="430227"/>
                    </a:lnTo>
                    <a:lnTo>
                      <a:pt x="127555" y="433922"/>
                    </a:lnTo>
                    <a:lnTo>
                      <a:pt x="131244" y="433922"/>
                    </a:lnTo>
                    <a:lnTo>
                      <a:pt x="134933" y="433922"/>
                    </a:lnTo>
                    <a:lnTo>
                      <a:pt x="131244" y="437608"/>
                    </a:lnTo>
                    <a:lnTo>
                      <a:pt x="127555" y="437608"/>
                    </a:lnTo>
                    <a:lnTo>
                      <a:pt x="131244" y="444990"/>
                    </a:lnTo>
                    <a:lnTo>
                      <a:pt x="134933" y="448686"/>
                    </a:lnTo>
                    <a:lnTo>
                      <a:pt x="146001" y="452372"/>
                    </a:lnTo>
                    <a:lnTo>
                      <a:pt x="146001" y="456068"/>
                    </a:lnTo>
                    <a:lnTo>
                      <a:pt x="153380" y="456068"/>
                    </a:lnTo>
                    <a:lnTo>
                      <a:pt x="160758" y="459754"/>
                    </a:lnTo>
                    <a:lnTo>
                      <a:pt x="168136" y="459754"/>
                    </a:lnTo>
                    <a:lnTo>
                      <a:pt x="168136" y="463450"/>
                    </a:lnTo>
                    <a:lnTo>
                      <a:pt x="182893" y="467136"/>
                    </a:lnTo>
                    <a:lnTo>
                      <a:pt x="190271" y="474518"/>
                    </a:lnTo>
                    <a:lnTo>
                      <a:pt x="193961" y="474518"/>
                    </a:lnTo>
                    <a:lnTo>
                      <a:pt x="201339" y="478204"/>
                    </a:lnTo>
                    <a:lnTo>
                      <a:pt x="212406" y="485586"/>
                    </a:lnTo>
                    <a:lnTo>
                      <a:pt x="216096" y="485586"/>
                    </a:lnTo>
                    <a:lnTo>
                      <a:pt x="219785" y="489281"/>
                    </a:lnTo>
                    <a:lnTo>
                      <a:pt x="227163" y="489281"/>
                    </a:lnTo>
                    <a:lnTo>
                      <a:pt x="227163" y="492968"/>
                    </a:lnTo>
                    <a:lnTo>
                      <a:pt x="241920" y="492968"/>
                    </a:lnTo>
                    <a:lnTo>
                      <a:pt x="245609" y="492968"/>
                    </a:lnTo>
                    <a:lnTo>
                      <a:pt x="252987" y="496663"/>
                    </a:lnTo>
                    <a:lnTo>
                      <a:pt x="256676" y="496663"/>
                    </a:lnTo>
                    <a:lnTo>
                      <a:pt x="260365" y="496663"/>
                    </a:lnTo>
                    <a:lnTo>
                      <a:pt x="264055" y="500350"/>
                    </a:lnTo>
                    <a:lnTo>
                      <a:pt x="267744" y="500350"/>
                    </a:lnTo>
                    <a:lnTo>
                      <a:pt x="271433" y="504045"/>
                    </a:lnTo>
                    <a:lnTo>
                      <a:pt x="275122" y="504045"/>
                    </a:lnTo>
                    <a:lnTo>
                      <a:pt x="282500" y="500350"/>
                    </a:lnTo>
                    <a:lnTo>
                      <a:pt x="286190" y="500350"/>
                    </a:lnTo>
                    <a:lnTo>
                      <a:pt x="297258" y="496663"/>
                    </a:lnTo>
                    <a:lnTo>
                      <a:pt x="300947" y="496663"/>
                    </a:lnTo>
                    <a:lnTo>
                      <a:pt x="304636" y="492968"/>
                    </a:lnTo>
                    <a:lnTo>
                      <a:pt x="312015" y="492968"/>
                    </a:lnTo>
                    <a:lnTo>
                      <a:pt x="315704" y="485586"/>
                    </a:lnTo>
                    <a:lnTo>
                      <a:pt x="319393" y="489281"/>
                    </a:lnTo>
                    <a:lnTo>
                      <a:pt x="323082" y="489281"/>
                    </a:lnTo>
                    <a:lnTo>
                      <a:pt x="330460" y="485586"/>
                    </a:lnTo>
                    <a:lnTo>
                      <a:pt x="330460" y="489281"/>
                    </a:lnTo>
                    <a:lnTo>
                      <a:pt x="345217" y="485586"/>
                    </a:lnTo>
                    <a:lnTo>
                      <a:pt x="348906" y="481900"/>
                    </a:lnTo>
                    <a:lnTo>
                      <a:pt x="352595" y="478204"/>
                    </a:lnTo>
                    <a:lnTo>
                      <a:pt x="359974" y="474518"/>
                    </a:lnTo>
                    <a:lnTo>
                      <a:pt x="371041" y="467136"/>
                    </a:lnTo>
                    <a:lnTo>
                      <a:pt x="374730" y="459754"/>
                    </a:lnTo>
                    <a:lnTo>
                      <a:pt x="378420" y="456068"/>
                    </a:lnTo>
                    <a:lnTo>
                      <a:pt x="382109" y="444990"/>
                    </a:lnTo>
                    <a:lnTo>
                      <a:pt x="385798" y="441304"/>
                    </a:lnTo>
                    <a:lnTo>
                      <a:pt x="389487" y="437608"/>
                    </a:lnTo>
                    <a:lnTo>
                      <a:pt x="389487" y="433922"/>
                    </a:lnTo>
                    <a:lnTo>
                      <a:pt x="393176" y="430227"/>
                    </a:lnTo>
                    <a:lnTo>
                      <a:pt x="396865" y="430227"/>
                    </a:lnTo>
                    <a:lnTo>
                      <a:pt x="404244" y="426540"/>
                    </a:lnTo>
                    <a:lnTo>
                      <a:pt x="411622" y="426540"/>
                    </a:lnTo>
                    <a:lnTo>
                      <a:pt x="419000" y="426540"/>
                    </a:lnTo>
                    <a:lnTo>
                      <a:pt x="426379" y="426540"/>
                    </a:lnTo>
                    <a:lnTo>
                      <a:pt x="430068" y="426540"/>
                    </a:lnTo>
                    <a:lnTo>
                      <a:pt x="437446" y="422854"/>
                    </a:lnTo>
                    <a:lnTo>
                      <a:pt x="441136" y="422854"/>
                    </a:lnTo>
                    <a:lnTo>
                      <a:pt x="448515" y="411777"/>
                    </a:lnTo>
                    <a:lnTo>
                      <a:pt x="452204" y="411777"/>
                    </a:lnTo>
                    <a:lnTo>
                      <a:pt x="459582" y="408090"/>
                    </a:lnTo>
                    <a:lnTo>
                      <a:pt x="463271" y="404395"/>
                    </a:lnTo>
                    <a:lnTo>
                      <a:pt x="470650" y="404395"/>
                    </a:lnTo>
                    <a:lnTo>
                      <a:pt x="474339" y="404395"/>
                    </a:lnTo>
                    <a:lnTo>
                      <a:pt x="478028" y="404395"/>
                    </a:lnTo>
                    <a:lnTo>
                      <a:pt x="485406" y="408090"/>
                    </a:lnTo>
                    <a:lnTo>
                      <a:pt x="492784" y="408090"/>
                    </a:lnTo>
                    <a:lnTo>
                      <a:pt x="496474" y="408090"/>
                    </a:lnTo>
                    <a:lnTo>
                      <a:pt x="500163" y="411777"/>
                    </a:lnTo>
                    <a:lnTo>
                      <a:pt x="507541" y="411777"/>
                    </a:lnTo>
                    <a:lnTo>
                      <a:pt x="511230" y="411777"/>
                    </a:lnTo>
                    <a:lnTo>
                      <a:pt x="518609" y="411777"/>
                    </a:lnTo>
                    <a:lnTo>
                      <a:pt x="518609" y="408090"/>
                    </a:lnTo>
                    <a:lnTo>
                      <a:pt x="522298" y="393327"/>
                    </a:lnTo>
                    <a:lnTo>
                      <a:pt x="514919" y="393327"/>
                    </a:lnTo>
                    <a:lnTo>
                      <a:pt x="511230" y="393327"/>
                    </a:lnTo>
                    <a:lnTo>
                      <a:pt x="507541" y="393327"/>
                    </a:lnTo>
                    <a:lnTo>
                      <a:pt x="503852" y="389631"/>
                    </a:lnTo>
                    <a:lnTo>
                      <a:pt x="507541" y="389631"/>
                    </a:lnTo>
                    <a:lnTo>
                      <a:pt x="503852" y="385945"/>
                    </a:lnTo>
                    <a:lnTo>
                      <a:pt x="503852" y="382249"/>
                    </a:lnTo>
                    <a:lnTo>
                      <a:pt x="503852" y="378563"/>
                    </a:lnTo>
                    <a:lnTo>
                      <a:pt x="507541" y="382249"/>
                    </a:lnTo>
                    <a:lnTo>
                      <a:pt x="514919" y="378563"/>
                    </a:lnTo>
                    <a:lnTo>
                      <a:pt x="518609" y="382249"/>
                    </a:lnTo>
                    <a:lnTo>
                      <a:pt x="529676" y="378563"/>
                    </a:lnTo>
                    <a:lnTo>
                      <a:pt x="533365" y="382249"/>
                    </a:lnTo>
                    <a:lnTo>
                      <a:pt x="537054" y="382249"/>
                    </a:lnTo>
                    <a:lnTo>
                      <a:pt x="537054" y="378563"/>
                    </a:lnTo>
                    <a:lnTo>
                      <a:pt x="533365" y="374877"/>
                    </a:lnTo>
                    <a:lnTo>
                      <a:pt x="533365" y="371181"/>
                    </a:lnTo>
                    <a:lnTo>
                      <a:pt x="533365" y="367495"/>
                    </a:lnTo>
                    <a:lnTo>
                      <a:pt x="537054" y="367495"/>
                    </a:lnTo>
                    <a:lnTo>
                      <a:pt x="540744" y="367495"/>
                    </a:lnTo>
                    <a:lnTo>
                      <a:pt x="544433" y="367495"/>
                    </a:lnTo>
                    <a:lnTo>
                      <a:pt x="548122" y="363799"/>
                    </a:lnTo>
                    <a:lnTo>
                      <a:pt x="548122" y="356417"/>
                    </a:lnTo>
                    <a:lnTo>
                      <a:pt x="551811" y="356417"/>
                    </a:lnTo>
                    <a:lnTo>
                      <a:pt x="559189" y="356417"/>
                    </a:lnTo>
                    <a:lnTo>
                      <a:pt x="562879" y="356417"/>
                    </a:lnTo>
                    <a:lnTo>
                      <a:pt x="562879" y="352731"/>
                    </a:lnTo>
                    <a:lnTo>
                      <a:pt x="566568" y="349035"/>
                    </a:lnTo>
                    <a:lnTo>
                      <a:pt x="570257" y="337967"/>
                    </a:lnTo>
                    <a:lnTo>
                      <a:pt x="570257" y="334272"/>
                    </a:lnTo>
                    <a:lnTo>
                      <a:pt x="573946" y="334272"/>
                    </a:lnTo>
                    <a:lnTo>
                      <a:pt x="577635" y="326899"/>
                    </a:lnTo>
                    <a:lnTo>
                      <a:pt x="581324" y="323204"/>
                    </a:lnTo>
                    <a:lnTo>
                      <a:pt x="577635" y="323204"/>
                    </a:lnTo>
                    <a:lnTo>
                      <a:pt x="581324" y="319517"/>
                    </a:lnTo>
                    <a:lnTo>
                      <a:pt x="577635" y="319517"/>
                    </a:lnTo>
                    <a:lnTo>
                      <a:pt x="573946" y="319517"/>
                    </a:lnTo>
                    <a:lnTo>
                      <a:pt x="570257" y="319517"/>
                    </a:lnTo>
                    <a:lnTo>
                      <a:pt x="555500" y="312136"/>
                    </a:lnTo>
                    <a:lnTo>
                      <a:pt x="548122" y="308440"/>
                    </a:lnTo>
                    <a:lnTo>
                      <a:pt x="533365" y="304754"/>
                    </a:lnTo>
                    <a:lnTo>
                      <a:pt x="537054" y="297372"/>
                    </a:lnTo>
                    <a:lnTo>
                      <a:pt x="533365" y="286294"/>
                    </a:lnTo>
                    <a:lnTo>
                      <a:pt x="529676" y="286294"/>
                    </a:lnTo>
                    <a:lnTo>
                      <a:pt x="525987" y="286294"/>
                    </a:lnTo>
                    <a:lnTo>
                      <a:pt x="525987" y="289990"/>
                    </a:lnTo>
                    <a:lnTo>
                      <a:pt x="522298" y="293676"/>
                    </a:lnTo>
                    <a:lnTo>
                      <a:pt x="518609" y="293676"/>
                    </a:lnTo>
                    <a:lnTo>
                      <a:pt x="511230" y="286294"/>
                    </a:lnTo>
                    <a:lnTo>
                      <a:pt x="507541" y="286294"/>
                    </a:lnTo>
                    <a:lnTo>
                      <a:pt x="503852" y="286294"/>
                    </a:lnTo>
                    <a:lnTo>
                      <a:pt x="500163" y="289990"/>
                    </a:lnTo>
                    <a:lnTo>
                      <a:pt x="496474" y="293676"/>
                    </a:lnTo>
                    <a:lnTo>
                      <a:pt x="496474" y="297372"/>
                    </a:lnTo>
                    <a:lnTo>
                      <a:pt x="492784" y="301058"/>
                    </a:lnTo>
                    <a:lnTo>
                      <a:pt x="489095" y="301058"/>
                    </a:lnTo>
                    <a:lnTo>
                      <a:pt x="485406" y="297372"/>
                    </a:lnTo>
                    <a:lnTo>
                      <a:pt x="481717" y="297372"/>
                    </a:lnTo>
                    <a:lnTo>
                      <a:pt x="478028" y="297372"/>
                    </a:lnTo>
                    <a:lnTo>
                      <a:pt x="474339" y="301058"/>
                    </a:lnTo>
                    <a:lnTo>
                      <a:pt x="470650" y="308440"/>
                    </a:lnTo>
                    <a:lnTo>
                      <a:pt x="466960" y="308440"/>
                    </a:lnTo>
                    <a:lnTo>
                      <a:pt x="466960" y="312136"/>
                    </a:lnTo>
                    <a:lnTo>
                      <a:pt x="463271" y="312136"/>
                    </a:lnTo>
                    <a:lnTo>
                      <a:pt x="459582" y="315822"/>
                    </a:lnTo>
                    <a:lnTo>
                      <a:pt x="455893" y="315822"/>
                    </a:lnTo>
                    <a:lnTo>
                      <a:pt x="448515" y="315822"/>
                    </a:lnTo>
                    <a:lnTo>
                      <a:pt x="444825" y="315822"/>
                    </a:lnTo>
                    <a:lnTo>
                      <a:pt x="444825" y="312136"/>
                    </a:lnTo>
                    <a:lnTo>
                      <a:pt x="444825" y="304754"/>
                    </a:lnTo>
                    <a:lnTo>
                      <a:pt x="441136" y="301058"/>
                    </a:lnTo>
                    <a:lnTo>
                      <a:pt x="441136" y="297372"/>
                    </a:lnTo>
                    <a:lnTo>
                      <a:pt x="437446" y="293676"/>
                    </a:lnTo>
                    <a:lnTo>
                      <a:pt x="433757" y="289990"/>
                    </a:lnTo>
                    <a:lnTo>
                      <a:pt x="430068" y="286294"/>
                    </a:lnTo>
                    <a:lnTo>
                      <a:pt x="426379" y="278922"/>
                    </a:lnTo>
                    <a:lnTo>
                      <a:pt x="422689" y="271540"/>
                    </a:lnTo>
                    <a:lnTo>
                      <a:pt x="419000" y="267844"/>
                    </a:lnTo>
                    <a:lnTo>
                      <a:pt x="433757" y="264158"/>
                    </a:lnTo>
                    <a:lnTo>
                      <a:pt x="437446" y="264158"/>
                    </a:lnTo>
                    <a:lnTo>
                      <a:pt x="433757" y="253081"/>
                    </a:lnTo>
                    <a:lnTo>
                      <a:pt x="430068" y="253081"/>
                    </a:lnTo>
                    <a:lnTo>
                      <a:pt x="426379" y="253081"/>
                    </a:lnTo>
                    <a:lnTo>
                      <a:pt x="422689" y="253081"/>
                    </a:lnTo>
                    <a:lnTo>
                      <a:pt x="419000" y="253081"/>
                    </a:lnTo>
                    <a:lnTo>
                      <a:pt x="415311" y="256776"/>
                    </a:lnTo>
                    <a:lnTo>
                      <a:pt x="411622" y="256776"/>
                    </a:lnTo>
                    <a:lnTo>
                      <a:pt x="407933" y="249394"/>
                    </a:lnTo>
                    <a:lnTo>
                      <a:pt x="411622" y="245699"/>
                    </a:lnTo>
                    <a:lnTo>
                      <a:pt x="411622" y="242013"/>
                    </a:lnTo>
                    <a:lnTo>
                      <a:pt x="415311" y="242013"/>
                    </a:lnTo>
                    <a:lnTo>
                      <a:pt x="419000" y="238317"/>
                    </a:lnTo>
                    <a:lnTo>
                      <a:pt x="422689" y="227249"/>
                    </a:lnTo>
                    <a:lnTo>
                      <a:pt x="433757" y="219867"/>
                    </a:lnTo>
                    <a:lnTo>
                      <a:pt x="437446" y="219867"/>
                    </a:lnTo>
                    <a:lnTo>
                      <a:pt x="441136" y="216181"/>
                    </a:lnTo>
                    <a:lnTo>
                      <a:pt x="444825" y="212485"/>
                    </a:lnTo>
                    <a:lnTo>
                      <a:pt x="430068" y="212485"/>
                    </a:lnTo>
                    <a:lnTo>
                      <a:pt x="422689" y="212485"/>
                    </a:lnTo>
                    <a:lnTo>
                      <a:pt x="426379" y="208799"/>
                    </a:lnTo>
                    <a:lnTo>
                      <a:pt x="422689" y="208799"/>
                    </a:lnTo>
                    <a:lnTo>
                      <a:pt x="422689" y="205103"/>
                    </a:lnTo>
                    <a:lnTo>
                      <a:pt x="419000" y="194035"/>
                    </a:lnTo>
                    <a:lnTo>
                      <a:pt x="419000" y="182967"/>
                    </a:lnTo>
                    <a:lnTo>
                      <a:pt x="422689" y="182967"/>
                    </a:lnTo>
                    <a:lnTo>
                      <a:pt x="419000" y="179271"/>
                    </a:lnTo>
                    <a:lnTo>
                      <a:pt x="404244" y="171889"/>
                    </a:lnTo>
                    <a:lnTo>
                      <a:pt x="404244" y="168203"/>
                    </a:lnTo>
                    <a:lnTo>
                      <a:pt x="407933" y="168203"/>
                    </a:lnTo>
                    <a:lnTo>
                      <a:pt x="411622" y="168203"/>
                    </a:lnTo>
                    <a:lnTo>
                      <a:pt x="411622" y="164508"/>
                    </a:lnTo>
                    <a:lnTo>
                      <a:pt x="415311" y="160821"/>
                    </a:lnTo>
                    <a:lnTo>
                      <a:pt x="411622" y="160821"/>
                    </a:lnTo>
                    <a:lnTo>
                      <a:pt x="415311" y="157126"/>
                    </a:lnTo>
                    <a:lnTo>
                      <a:pt x="419000" y="153440"/>
                    </a:lnTo>
                    <a:lnTo>
                      <a:pt x="426379" y="153440"/>
                    </a:lnTo>
                    <a:lnTo>
                      <a:pt x="426379" y="157126"/>
                    </a:lnTo>
                    <a:lnTo>
                      <a:pt x="430068" y="157126"/>
                    </a:lnTo>
                    <a:lnTo>
                      <a:pt x="437446" y="157126"/>
                    </a:lnTo>
                    <a:lnTo>
                      <a:pt x="441136" y="157126"/>
                    </a:lnTo>
                    <a:lnTo>
                      <a:pt x="444825" y="157126"/>
                    </a:lnTo>
                    <a:lnTo>
                      <a:pt x="444825" y="142362"/>
                    </a:lnTo>
                    <a:lnTo>
                      <a:pt x="455893" y="138676"/>
                    </a:lnTo>
                    <a:lnTo>
                      <a:pt x="441136" y="127608"/>
                    </a:lnTo>
                    <a:lnTo>
                      <a:pt x="437446" y="123912"/>
                    </a:lnTo>
                    <a:lnTo>
                      <a:pt x="430068" y="123912"/>
                    </a:lnTo>
                    <a:lnTo>
                      <a:pt x="426379" y="120226"/>
                    </a:lnTo>
                    <a:lnTo>
                      <a:pt x="422689" y="116530"/>
                    </a:lnTo>
                    <a:lnTo>
                      <a:pt x="422689" y="112844"/>
                    </a:lnTo>
                    <a:lnTo>
                      <a:pt x="419000" y="112844"/>
                    </a:lnTo>
                    <a:lnTo>
                      <a:pt x="415311" y="109148"/>
                    </a:lnTo>
                    <a:lnTo>
                      <a:pt x="415311" y="105462"/>
                    </a:lnTo>
                    <a:lnTo>
                      <a:pt x="411622" y="105462"/>
                    </a:lnTo>
                    <a:lnTo>
                      <a:pt x="411622" y="101766"/>
                    </a:lnTo>
                    <a:lnTo>
                      <a:pt x="411622" y="94385"/>
                    </a:lnTo>
                    <a:lnTo>
                      <a:pt x="407933" y="90698"/>
                    </a:lnTo>
                    <a:lnTo>
                      <a:pt x="407933" y="87012"/>
                    </a:lnTo>
                    <a:lnTo>
                      <a:pt x="404244" y="87012"/>
                    </a:lnTo>
                    <a:lnTo>
                      <a:pt x="400554" y="87012"/>
                    </a:lnTo>
                    <a:lnTo>
                      <a:pt x="396865" y="87012"/>
                    </a:lnTo>
                    <a:lnTo>
                      <a:pt x="396865" y="90698"/>
                    </a:lnTo>
                    <a:lnTo>
                      <a:pt x="393176" y="94385"/>
                    </a:lnTo>
                    <a:lnTo>
                      <a:pt x="385798" y="94385"/>
                    </a:lnTo>
                    <a:lnTo>
                      <a:pt x="382109" y="94385"/>
                    </a:lnTo>
                    <a:lnTo>
                      <a:pt x="378420" y="101766"/>
                    </a:lnTo>
                    <a:lnTo>
                      <a:pt x="374730" y="98080"/>
                    </a:lnTo>
                    <a:lnTo>
                      <a:pt x="371041" y="94385"/>
                    </a:lnTo>
                    <a:lnTo>
                      <a:pt x="374730" y="83316"/>
                    </a:lnTo>
                    <a:lnTo>
                      <a:pt x="363663" y="79630"/>
                    </a:lnTo>
                    <a:lnTo>
                      <a:pt x="359974" y="83316"/>
                    </a:lnTo>
                    <a:lnTo>
                      <a:pt x="356285" y="87012"/>
                    </a:lnTo>
                    <a:lnTo>
                      <a:pt x="352595" y="87012"/>
                    </a:lnTo>
                    <a:lnTo>
                      <a:pt x="348906" y="87012"/>
                    </a:lnTo>
                    <a:lnTo>
                      <a:pt x="345217" y="83316"/>
                    </a:lnTo>
                    <a:lnTo>
                      <a:pt x="345217" y="87012"/>
                    </a:lnTo>
                    <a:lnTo>
                      <a:pt x="341528" y="87012"/>
                    </a:lnTo>
                    <a:lnTo>
                      <a:pt x="334150" y="90698"/>
                    </a:lnTo>
                    <a:lnTo>
                      <a:pt x="330460" y="94385"/>
                    </a:lnTo>
                    <a:lnTo>
                      <a:pt x="326771" y="94385"/>
                    </a:lnTo>
                    <a:lnTo>
                      <a:pt x="323082" y="94385"/>
                    </a:lnTo>
                    <a:lnTo>
                      <a:pt x="312015" y="94385"/>
                    </a:lnTo>
                    <a:lnTo>
                      <a:pt x="304636" y="90698"/>
                    </a:lnTo>
                    <a:lnTo>
                      <a:pt x="300947" y="94385"/>
                    </a:lnTo>
                    <a:lnTo>
                      <a:pt x="297258" y="94385"/>
                    </a:lnTo>
                    <a:lnTo>
                      <a:pt x="293568" y="90698"/>
                    </a:lnTo>
                    <a:lnTo>
                      <a:pt x="289879" y="90698"/>
                    </a:lnTo>
                    <a:lnTo>
                      <a:pt x="289879" y="87012"/>
                    </a:lnTo>
                    <a:lnTo>
                      <a:pt x="289879" y="83316"/>
                    </a:lnTo>
                    <a:lnTo>
                      <a:pt x="289879" y="79630"/>
                    </a:lnTo>
                    <a:lnTo>
                      <a:pt x="293568" y="79630"/>
                    </a:lnTo>
                    <a:lnTo>
                      <a:pt x="293568" y="75935"/>
                    </a:lnTo>
                    <a:lnTo>
                      <a:pt x="297258" y="72248"/>
                    </a:lnTo>
                    <a:lnTo>
                      <a:pt x="297258" y="64867"/>
                    </a:lnTo>
                    <a:lnTo>
                      <a:pt x="297258" y="61171"/>
                    </a:lnTo>
                    <a:lnTo>
                      <a:pt x="297258" y="57485"/>
                    </a:lnTo>
                    <a:lnTo>
                      <a:pt x="297258" y="53789"/>
                    </a:lnTo>
                    <a:lnTo>
                      <a:pt x="300947" y="50103"/>
                    </a:lnTo>
                    <a:lnTo>
                      <a:pt x="304636" y="46407"/>
                    </a:lnTo>
                    <a:lnTo>
                      <a:pt x="308326" y="42721"/>
                    </a:lnTo>
                    <a:lnTo>
                      <a:pt x="308326" y="39035"/>
                    </a:lnTo>
                    <a:lnTo>
                      <a:pt x="308326" y="35339"/>
                    </a:lnTo>
                    <a:lnTo>
                      <a:pt x="312015" y="35339"/>
                    </a:lnTo>
                    <a:lnTo>
                      <a:pt x="312015" y="27957"/>
                    </a:lnTo>
                    <a:lnTo>
                      <a:pt x="315704" y="24271"/>
                    </a:lnTo>
                    <a:lnTo>
                      <a:pt x="319393" y="16889"/>
                    </a:lnTo>
                    <a:lnTo>
                      <a:pt x="312015" y="13193"/>
                    </a:lnTo>
                    <a:lnTo>
                      <a:pt x="308326" y="13193"/>
                    </a:lnTo>
                    <a:lnTo>
                      <a:pt x="304636" y="13193"/>
                    </a:lnTo>
                    <a:lnTo>
                      <a:pt x="300947" y="16889"/>
                    </a:lnTo>
                    <a:lnTo>
                      <a:pt x="297258" y="13193"/>
                    </a:lnTo>
                    <a:lnTo>
                      <a:pt x="297258" y="20575"/>
                    </a:lnTo>
                    <a:lnTo>
                      <a:pt x="286190" y="16889"/>
                    </a:lnTo>
                    <a:lnTo>
                      <a:pt x="260365" y="5812"/>
                    </a:lnTo>
                    <a:close/>
                    <a:moveTo>
                      <a:pt x="42704" y="389631"/>
                    </a:moveTo>
                    <a:lnTo>
                      <a:pt x="39015" y="393327"/>
                    </a:lnTo>
                    <a:lnTo>
                      <a:pt x="42704" y="393327"/>
                    </a:lnTo>
                    <a:lnTo>
                      <a:pt x="42704" y="389631"/>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19" name="Freeform: Shape 118">
                <a:extLst>
                  <a:ext uri="{FF2B5EF4-FFF2-40B4-BE49-F238E27FC236}">
                    <a16:creationId xmlns:a16="http://schemas.microsoft.com/office/drawing/2014/main" id="{7C467167-BDE1-4059-B670-BD8D1BEB452E}"/>
                  </a:ext>
                </a:extLst>
              </p:cNvPr>
              <p:cNvSpPr/>
              <p:nvPr/>
            </p:nvSpPr>
            <p:spPr>
              <a:xfrm>
                <a:off x="1714569" y="4334716"/>
                <a:ext cx="43320" cy="21660"/>
              </a:xfrm>
              <a:custGeom>
                <a:avLst/>
                <a:gdLst>
                  <a:gd name="connsiteX0" fmla="*/ 16880 w 19050"/>
                  <a:gd name="connsiteY0" fmla="*/ 5812 h 9525"/>
                  <a:gd name="connsiteX1" fmla="*/ 13191 w 19050"/>
                  <a:gd name="connsiteY1" fmla="*/ 9498 h 9525"/>
                  <a:gd name="connsiteX2" fmla="*/ 9501 w 19050"/>
                  <a:gd name="connsiteY2" fmla="*/ 9498 h 9525"/>
                  <a:gd name="connsiteX3" fmla="*/ 5812 w 19050"/>
                  <a:gd name="connsiteY3" fmla="*/ 9498 h 9525"/>
                  <a:gd name="connsiteX4" fmla="*/ 5812 w 19050"/>
                  <a:gd name="connsiteY4" fmla="*/ 5812 h 9525"/>
                  <a:gd name="connsiteX5" fmla="*/ 9501 w 19050"/>
                  <a:gd name="connsiteY5" fmla="*/ 5812 h 9525"/>
                  <a:gd name="connsiteX6" fmla="*/ 13191 w 19050"/>
                  <a:gd name="connsiteY6" fmla="*/ 5812 h 9525"/>
                  <a:gd name="connsiteX7" fmla="*/ 20569 w 19050"/>
                  <a:gd name="connsiteY7" fmla="*/ 5812 h 9525"/>
                  <a:gd name="connsiteX8" fmla="*/ 16880 w 19050"/>
                  <a:gd name="connsiteY8"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 h="9525">
                    <a:moveTo>
                      <a:pt x="16880" y="5812"/>
                    </a:moveTo>
                    <a:lnTo>
                      <a:pt x="13191" y="9498"/>
                    </a:lnTo>
                    <a:lnTo>
                      <a:pt x="9501" y="9498"/>
                    </a:lnTo>
                    <a:lnTo>
                      <a:pt x="5812" y="9498"/>
                    </a:lnTo>
                    <a:lnTo>
                      <a:pt x="5812" y="5812"/>
                    </a:lnTo>
                    <a:lnTo>
                      <a:pt x="9501" y="5812"/>
                    </a:lnTo>
                    <a:lnTo>
                      <a:pt x="13191" y="5812"/>
                    </a:lnTo>
                    <a:lnTo>
                      <a:pt x="20569" y="5812"/>
                    </a:lnTo>
                    <a:lnTo>
                      <a:pt x="16880" y="5812"/>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20" name="Freeform: Shape 119">
                <a:extLst>
                  <a:ext uri="{FF2B5EF4-FFF2-40B4-BE49-F238E27FC236}">
                    <a16:creationId xmlns:a16="http://schemas.microsoft.com/office/drawing/2014/main" id="{E4CB47EF-959A-4B83-B09B-BB75D7CA8722}"/>
                  </a:ext>
                </a:extLst>
              </p:cNvPr>
              <p:cNvSpPr/>
              <p:nvPr/>
            </p:nvSpPr>
            <p:spPr>
              <a:xfrm>
                <a:off x="1681016" y="4250782"/>
                <a:ext cx="86640" cy="64980"/>
              </a:xfrm>
              <a:custGeom>
                <a:avLst/>
                <a:gdLst>
                  <a:gd name="connsiteX0" fmla="*/ 31636 w 38100"/>
                  <a:gd name="connsiteY0" fmla="*/ 16880 h 28575"/>
                  <a:gd name="connsiteX1" fmla="*/ 35325 w 38100"/>
                  <a:gd name="connsiteY1" fmla="*/ 20575 h 28575"/>
                  <a:gd name="connsiteX2" fmla="*/ 35325 w 38100"/>
                  <a:gd name="connsiteY2" fmla="*/ 20575 h 28575"/>
                  <a:gd name="connsiteX3" fmla="*/ 31636 w 38100"/>
                  <a:gd name="connsiteY3" fmla="*/ 16880 h 28575"/>
                  <a:gd name="connsiteX4" fmla="*/ 24257 w 38100"/>
                  <a:gd name="connsiteY4" fmla="*/ 16880 h 28575"/>
                  <a:gd name="connsiteX5" fmla="*/ 16879 w 38100"/>
                  <a:gd name="connsiteY5" fmla="*/ 20575 h 28575"/>
                  <a:gd name="connsiteX6" fmla="*/ 9501 w 38100"/>
                  <a:gd name="connsiteY6" fmla="*/ 24261 h 28575"/>
                  <a:gd name="connsiteX7" fmla="*/ 5812 w 38100"/>
                  <a:gd name="connsiteY7" fmla="*/ 24261 h 28575"/>
                  <a:gd name="connsiteX8" fmla="*/ 5812 w 38100"/>
                  <a:gd name="connsiteY8" fmla="*/ 20575 h 28575"/>
                  <a:gd name="connsiteX9" fmla="*/ 5812 w 38100"/>
                  <a:gd name="connsiteY9" fmla="*/ 20575 h 28575"/>
                  <a:gd name="connsiteX10" fmla="*/ 13190 w 38100"/>
                  <a:gd name="connsiteY10" fmla="*/ 16880 h 28575"/>
                  <a:gd name="connsiteX11" fmla="*/ 13190 w 38100"/>
                  <a:gd name="connsiteY11" fmla="*/ 13193 h 28575"/>
                  <a:gd name="connsiteX12" fmla="*/ 16879 w 38100"/>
                  <a:gd name="connsiteY12" fmla="*/ 9498 h 28575"/>
                  <a:gd name="connsiteX13" fmla="*/ 20568 w 38100"/>
                  <a:gd name="connsiteY13" fmla="*/ 5812 h 28575"/>
                  <a:gd name="connsiteX14" fmla="*/ 20568 w 38100"/>
                  <a:gd name="connsiteY14" fmla="*/ 9498 h 28575"/>
                  <a:gd name="connsiteX15" fmla="*/ 24257 w 38100"/>
                  <a:gd name="connsiteY15" fmla="*/ 9498 h 28575"/>
                  <a:gd name="connsiteX16" fmla="*/ 31636 w 38100"/>
                  <a:gd name="connsiteY16" fmla="*/ 16880 h 28575"/>
                  <a:gd name="connsiteX17" fmla="*/ 31636 w 38100"/>
                  <a:gd name="connsiteY17" fmla="*/ 1688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28575">
                    <a:moveTo>
                      <a:pt x="31636" y="16880"/>
                    </a:moveTo>
                    <a:lnTo>
                      <a:pt x="35325" y="20575"/>
                    </a:lnTo>
                    <a:lnTo>
                      <a:pt x="35325" y="20575"/>
                    </a:lnTo>
                    <a:lnTo>
                      <a:pt x="31636" y="16880"/>
                    </a:lnTo>
                    <a:lnTo>
                      <a:pt x="24257" y="16880"/>
                    </a:lnTo>
                    <a:lnTo>
                      <a:pt x="16879" y="20575"/>
                    </a:lnTo>
                    <a:lnTo>
                      <a:pt x="9501" y="24261"/>
                    </a:lnTo>
                    <a:lnTo>
                      <a:pt x="5812" y="24261"/>
                    </a:lnTo>
                    <a:lnTo>
                      <a:pt x="5812" y="20575"/>
                    </a:lnTo>
                    <a:lnTo>
                      <a:pt x="5812" y="20575"/>
                    </a:lnTo>
                    <a:lnTo>
                      <a:pt x="13190" y="16880"/>
                    </a:lnTo>
                    <a:lnTo>
                      <a:pt x="13190" y="13193"/>
                    </a:lnTo>
                    <a:lnTo>
                      <a:pt x="16879" y="9498"/>
                    </a:lnTo>
                    <a:lnTo>
                      <a:pt x="20568" y="5812"/>
                    </a:lnTo>
                    <a:lnTo>
                      <a:pt x="20568" y="9498"/>
                    </a:lnTo>
                    <a:lnTo>
                      <a:pt x="24257" y="9498"/>
                    </a:lnTo>
                    <a:lnTo>
                      <a:pt x="31636" y="16880"/>
                    </a:lnTo>
                    <a:lnTo>
                      <a:pt x="31636" y="16880"/>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21" name="Freeform: Shape 120">
                <a:extLst>
                  <a:ext uri="{FF2B5EF4-FFF2-40B4-BE49-F238E27FC236}">
                    <a16:creationId xmlns:a16="http://schemas.microsoft.com/office/drawing/2014/main" id="{1366E594-0E9C-4215-8A81-E98296E11700}"/>
                  </a:ext>
                </a:extLst>
              </p:cNvPr>
              <p:cNvSpPr/>
              <p:nvPr/>
            </p:nvSpPr>
            <p:spPr>
              <a:xfrm>
                <a:off x="1605510" y="4150060"/>
                <a:ext cx="649800" cy="368220"/>
              </a:xfrm>
              <a:custGeom>
                <a:avLst/>
                <a:gdLst>
                  <a:gd name="connsiteX0" fmla="*/ 90663 w 285750"/>
                  <a:gd name="connsiteY0" fmla="*/ 5812 h 161925"/>
                  <a:gd name="connsiteX1" fmla="*/ 83285 w 285750"/>
                  <a:gd name="connsiteY1" fmla="*/ 9507 h 161925"/>
                  <a:gd name="connsiteX2" fmla="*/ 90663 w 285750"/>
                  <a:gd name="connsiteY2" fmla="*/ 9507 h 161925"/>
                  <a:gd name="connsiteX3" fmla="*/ 90663 w 285750"/>
                  <a:gd name="connsiteY3" fmla="*/ 5812 h 161925"/>
                  <a:gd name="connsiteX4" fmla="*/ 90663 w 285750"/>
                  <a:gd name="connsiteY4" fmla="*/ 9507 h 161925"/>
                  <a:gd name="connsiteX5" fmla="*/ 79595 w 285750"/>
                  <a:gd name="connsiteY5" fmla="*/ 13194 h 161925"/>
                  <a:gd name="connsiteX6" fmla="*/ 75906 w 285750"/>
                  <a:gd name="connsiteY6" fmla="*/ 13194 h 161925"/>
                  <a:gd name="connsiteX7" fmla="*/ 72217 w 285750"/>
                  <a:gd name="connsiteY7" fmla="*/ 13194 h 161925"/>
                  <a:gd name="connsiteX8" fmla="*/ 79595 w 285750"/>
                  <a:gd name="connsiteY8" fmla="*/ 9507 h 161925"/>
                  <a:gd name="connsiteX9" fmla="*/ 68528 w 285750"/>
                  <a:gd name="connsiteY9" fmla="*/ 13194 h 161925"/>
                  <a:gd name="connsiteX10" fmla="*/ 46393 w 285750"/>
                  <a:gd name="connsiteY10" fmla="*/ 20575 h 161925"/>
                  <a:gd name="connsiteX11" fmla="*/ 39015 w 285750"/>
                  <a:gd name="connsiteY11" fmla="*/ 24271 h 161925"/>
                  <a:gd name="connsiteX12" fmla="*/ 35326 w 285750"/>
                  <a:gd name="connsiteY12" fmla="*/ 24271 h 161925"/>
                  <a:gd name="connsiteX13" fmla="*/ 24258 w 285750"/>
                  <a:gd name="connsiteY13" fmla="*/ 27957 h 161925"/>
                  <a:gd name="connsiteX14" fmla="*/ 20569 w 285750"/>
                  <a:gd name="connsiteY14" fmla="*/ 27957 h 161925"/>
                  <a:gd name="connsiteX15" fmla="*/ 16880 w 285750"/>
                  <a:gd name="connsiteY15" fmla="*/ 35339 h 161925"/>
                  <a:gd name="connsiteX16" fmla="*/ 16880 w 285750"/>
                  <a:gd name="connsiteY16" fmla="*/ 39035 h 161925"/>
                  <a:gd name="connsiteX17" fmla="*/ 16880 w 285750"/>
                  <a:gd name="connsiteY17" fmla="*/ 42721 h 161925"/>
                  <a:gd name="connsiteX18" fmla="*/ 20569 w 285750"/>
                  <a:gd name="connsiteY18" fmla="*/ 53789 h 161925"/>
                  <a:gd name="connsiteX19" fmla="*/ 20569 w 285750"/>
                  <a:gd name="connsiteY19" fmla="*/ 57485 h 161925"/>
                  <a:gd name="connsiteX20" fmla="*/ 24258 w 285750"/>
                  <a:gd name="connsiteY20" fmla="*/ 57485 h 161925"/>
                  <a:gd name="connsiteX21" fmla="*/ 24258 w 285750"/>
                  <a:gd name="connsiteY21" fmla="*/ 61171 h 161925"/>
                  <a:gd name="connsiteX22" fmla="*/ 27947 w 285750"/>
                  <a:gd name="connsiteY22" fmla="*/ 61171 h 161925"/>
                  <a:gd name="connsiteX23" fmla="*/ 35326 w 285750"/>
                  <a:gd name="connsiteY23" fmla="*/ 57485 h 161925"/>
                  <a:gd name="connsiteX24" fmla="*/ 35326 w 285750"/>
                  <a:gd name="connsiteY24" fmla="*/ 53789 h 161925"/>
                  <a:gd name="connsiteX25" fmla="*/ 31636 w 285750"/>
                  <a:gd name="connsiteY25" fmla="*/ 53789 h 161925"/>
                  <a:gd name="connsiteX26" fmla="*/ 31636 w 285750"/>
                  <a:gd name="connsiteY26" fmla="*/ 50103 h 161925"/>
                  <a:gd name="connsiteX27" fmla="*/ 35326 w 285750"/>
                  <a:gd name="connsiteY27" fmla="*/ 50103 h 161925"/>
                  <a:gd name="connsiteX28" fmla="*/ 39015 w 285750"/>
                  <a:gd name="connsiteY28" fmla="*/ 50103 h 161925"/>
                  <a:gd name="connsiteX29" fmla="*/ 42704 w 285750"/>
                  <a:gd name="connsiteY29" fmla="*/ 50103 h 161925"/>
                  <a:gd name="connsiteX30" fmla="*/ 46393 w 285750"/>
                  <a:gd name="connsiteY30" fmla="*/ 46417 h 161925"/>
                  <a:gd name="connsiteX31" fmla="*/ 50082 w 285750"/>
                  <a:gd name="connsiteY31" fmla="*/ 46417 h 161925"/>
                  <a:gd name="connsiteX32" fmla="*/ 53771 w 285750"/>
                  <a:gd name="connsiteY32" fmla="*/ 46417 h 161925"/>
                  <a:gd name="connsiteX33" fmla="*/ 57460 w 285750"/>
                  <a:gd name="connsiteY33" fmla="*/ 46417 h 161925"/>
                  <a:gd name="connsiteX34" fmla="*/ 61150 w 285750"/>
                  <a:gd name="connsiteY34" fmla="*/ 42721 h 161925"/>
                  <a:gd name="connsiteX35" fmla="*/ 64839 w 285750"/>
                  <a:gd name="connsiteY35" fmla="*/ 39035 h 161925"/>
                  <a:gd name="connsiteX36" fmla="*/ 72217 w 285750"/>
                  <a:gd name="connsiteY36" fmla="*/ 42721 h 161925"/>
                  <a:gd name="connsiteX37" fmla="*/ 79595 w 285750"/>
                  <a:gd name="connsiteY37" fmla="*/ 42721 h 161925"/>
                  <a:gd name="connsiteX38" fmla="*/ 86974 w 285750"/>
                  <a:gd name="connsiteY38" fmla="*/ 46417 h 161925"/>
                  <a:gd name="connsiteX39" fmla="*/ 86974 w 285750"/>
                  <a:gd name="connsiteY39" fmla="*/ 50103 h 161925"/>
                  <a:gd name="connsiteX40" fmla="*/ 90663 w 285750"/>
                  <a:gd name="connsiteY40" fmla="*/ 53789 h 161925"/>
                  <a:gd name="connsiteX41" fmla="*/ 94352 w 285750"/>
                  <a:gd name="connsiteY41" fmla="*/ 61171 h 161925"/>
                  <a:gd name="connsiteX42" fmla="*/ 98041 w 285750"/>
                  <a:gd name="connsiteY42" fmla="*/ 61171 h 161925"/>
                  <a:gd name="connsiteX43" fmla="*/ 98041 w 285750"/>
                  <a:gd name="connsiteY43" fmla="*/ 68553 h 161925"/>
                  <a:gd name="connsiteX44" fmla="*/ 98041 w 285750"/>
                  <a:gd name="connsiteY44" fmla="*/ 72248 h 161925"/>
                  <a:gd name="connsiteX45" fmla="*/ 94352 w 285750"/>
                  <a:gd name="connsiteY45" fmla="*/ 72248 h 161925"/>
                  <a:gd name="connsiteX46" fmla="*/ 94352 w 285750"/>
                  <a:gd name="connsiteY46" fmla="*/ 75935 h 161925"/>
                  <a:gd name="connsiteX47" fmla="*/ 98041 w 285750"/>
                  <a:gd name="connsiteY47" fmla="*/ 75935 h 161925"/>
                  <a:gd name="connsiteX48" fmla="*/ 94352 w 285750"/>
                  <a:gd name="connsiteY48" fmla="*/ 79630 h 161925"/>
                  <a:gd name="connsiteX49" fmla="*/ 94352 w 285750"/>
                  <a:gd name="connsiteY49" fmla="*/ 83317 h 161925"/>
                  <a:gd name="connsiteX50" fmla="*/ 98041 w 285750"/>
                  <a:gd name="connsiteY50" fmla="*/ 90698 h 161925"/>
                  <a:gd name="connsiteX51" fmla="*/ 101730 w 285750"/>
                  <a:gd name="connsiteY51" fmla="*/ 90698 h 161925"/>
                  <a:gd name="connsiteX52" fmla="*/ 101730 w 285750"/>
                  <a:gd name="connsiteY52" fmla="*/ 94394 h 161925"/>
                  <a:gd name="connsiteX53" fmla="*/ 105420 w 285750"/>
                  <a:gd name="connsiteY53" fmla="*/ 98080 h 161925"/>
                  <a:gd name="connsiteX54" fmla="*/ 105420 w 285750"/>
                  <a:gd name="connsiteY54" fmla="*/ 101766 h 161925"/>
                  <a:gd name="connsiteX55" fmla="*/ 109109 w 285750"/>
                  <a:gd name="connsiteY55" fmla="*/ 109148 h 161925"/>
                  <a:gd name="connsiteX56" fmla="*/ 109109 w 285750"/>
                  <a:gd name="connsiteY56" fmla="*/ 116530 h 161925"/>
                  <a:gd name="connsiteX57" fmla="*/ 112798 w 285750"/>
                  <a:gd name="connsiteY57" fmla="*/ 116530 h 161925"/>
                  <a:gd name="connsiteX58" fmla="*/ 116487 w 285750"/>
                  <a:gd name="connsiteY58" fmla="*/ 116530 h 161925"/>
                  <a:gd name="connsiteX59" fmla="*/ 120176 w 285750"/>
                  <a:gd name="connsiteY59" fmla="*/ 120226 h 161925"/>
                  <a:gd name="connsiteX60" fmla="*/ 123865 w 285750"/>
                  <a:gd name="connsiteY60" fmla="*/ 116530 h 161925"/>
                  <a:gd name="connsiteX61" fmla="*/ 123865 w 285750"/>
                  <a:gd name="connsiteY61" fmla="*/ 120226 h 161925"/>
                  <a:gd name="connsiteX62" fmla="*/ 131244 w 285750"/>
                  <a:gd name="connsiteY62" fmla="*/ 120226 h 161925"/>
                  <a:gd name="connsiteX63" fmla="*/ 138622 w 285750"/>
                  <a:gd name="connsiteY63" fmla="*/ 120226 h 161925"/>
                  <a:gd name="connsiteX64" fmla="*/ 142311 w 285750"/>
                  <a:gd name="connsiteY64" fmla="*/ 120226 h 161925"/>
                  <a:gd name="connsiteX65" fmla="*/ 146001 w 285750"/>
                  <a:gd name="connsiteY65" fmla="*/ 120226 h 161925"/>
                  <a:gd name="connsiteX66" fmla="*/ 149690 w 285750"/>
                  <a:gd name="connsiteY66" fmla="*/ 123912 h 161925"/>
                  <a:gd name="connsiteX67" fmla="*/ 160758 w 285750"/>
                  <a:gd name="connsiteY67" fmla="*/ 127608 h 161925"/>
                  <a:gd name="connsiteX68" fmla="*/ 164447 w 285750"/>
                  <a:gd name="connsiteY68" fmla="*/ 134990 h 161925"/>
                  <a:gd name="connsiteX69" fmla="*/ 168136 w 285750"/>
                  <a:gd name="connsiteY69" fmla="*/ 138676 h 161925"/>
                  <a:gd name="connsiteX70" fmla="*/ 175515 w 285750"/>
                  <a:gd name="connsiteY70" fmla="*/ 138676 h 161925"/>
                  <a:gd name="connsiteX71" fmla="*/ 179204 w 285750"/>
                  <a:gd name="connsiteY71" fmla="*/ 138676 h 161925"/>
                  <a:gd name="connsiteX72" fmla="*/ 179204 w 285750"/>
                  <a:gd name="connsiteY72" fmla="*/ 142372 h 161925"/>
                  <a:gd name="connsiteX73" fmla="*/ 186582 w 285750"/>
                  <a:gd name="connsiteY73" fmla="*/ 142372 h 161925"/>
                  <a:gd name="connsiteX74" fmla="*/ 190271 w 285750"/>
                  <a:gd name="connsiteY74" fmla="*/ 146058 h 161925"/>
                  <a:gd name="connsiteX75" fmla="*/ 193960 w 285750"/>
                  <a:gd name="connsiteY75" fmla="*/ 146058 h 161925"/>
                  <a:gd name="connsiteX76" fmla="*/ 193960 w 285750"/>
                  <a:gd name="connsiteY76" fmla="*/ 149744 h 161925"/>
                  <a:gd name="connsiteX77" fmla="*/ 193960 w 285750"/>
                  <a:gd name="connsiteY77" fmla="*/ 153440 h 161925"/>
                  <a:gd name="connsiteX78" fmla="*/ 201339 w 285750"/>
                  <a:gd name="connsiteY78" fmla="*/ 157126 h 161925"/>
                  <a:gd name="connsiteX79" fmla="*/ 205028 w 285750"/>
                  <a:gd name="connsiteY79" fmla="*/ 160821 h 161925"/>
                  <a:gd name="connsiteX80" fmla="*/ 216095 w 285750"/>
                  <a:gd name="connsiteY80" fmla="*/ 160821 h 161925"/>
                  <a:gd name="connsiteX81" fmla="*/ 219785 w 285750"/>
                  <a:gd name="connsiteY81" fmla="*/ 160821 h 161925"/>
                  <a:gd name="connsiteX82" fmla="*/ 223474 w 285750"/>
                  <a:gd name="connsiteY82" fmla="*/ 160821 h 161925"/>
                  <a:gd name="connsiteX83" fmla="*/ 230852 w 285750"/>
                  <a:gd name="connsiteY83" fmla="*/ 157126 h 161925"/>
                  <a:gd name="connsiteX84" fmla="*/ 238230 w 285750"/>
                  <a:gd name="connsiteY84" fmla="*/ 157126 h 161925"/>
                  <a:gd name="connsiteX85" fmla="*/ 241919 w 285750"/>
                  <a:gd name="connsiteY85" fmla="*/ 157126 h 161925"/>
                  <a:gd name="connsiteX86" fmla="*/ 252987 w 285750"/>
                  <a:gd name="connsiteY86" fmla="*/ 153440 h 161925"/>
                  <a:gd name="connsiteX87" fmla="*/ 260365 w 285750"/>
                  <a:gd name="connsiteY87" fmla="*/ 149744 h 161925"/>
                  <a:gd name="connsiteX88" fmla="*/ 264054 w 285750"/>
                  <a:gd name="connsiteY88" fmla="*/ 146058 h 161925"/>
                  <a:gd name="connsiteX89" fmla="*/ 267744 w 285750"/>
                  <a:gd name="connsiteY89" fmla="*/ 138676 h 161925"/>
                  <a:gd name="connsiteX90" fmla="*/ 267744 w 285750"/>
                  <a:gd name="connsiteY90" fmla="*/ 134990 h 161925"/>
                  <a:gd name="connsiteX91" fmla="*/ 264054 w 285750"/>
                  <a:gd name="connsiteY91" fmla="*/ 134990 h 161925"/>
                  <a:gd name="connsiteX92" fmla="*/ 264054 w 285750"/>
                  <a:gd name="connsiteY92" fmla="*/ 131294 h 161925"/>
                  <a:gd name="connsiteX93" fmla="*/ 267744 w 285750"/>
                  <a:gd name="connsiteY93" fmla="*/ 131294 h 161925"/>
                  <a:gd name="connsiteX94" fmla="*/ 271433 w 285750"/>
                  <a:gd name="connsiteY94" fmla="*/ 131294 h 161925"/>
                  <a:gd name="connsiteX95" fmla="*/ 275122 w 285750"/>
                  <a:gd name="connsiteY95" fmla="*/ 131294 h 161925"/>
                  <a:gd name="connsiteX96" fmla="*/ 278811 w 285750"/>
                  <a:gd name="connsiteY96" fmla="*/ 131294 h 161925"/>
                  <a:gd name="connsiteX97" fmla="*/ 286189 w 285750"/>
                  <a:gd name="connsiteY97" fmla="*/ 127608 h 161925"/>
                  <a:gd name="connsiteX98" fmla="*/ 282500 w 285750"/>
                  <a:gd name="connsiteY98" fmla="*/ 127608 h 161925"/>
                  <a:gd name="connsiteX99" fmla="*/ 282500 w 285750"/>
                  <a:gd name="connsiteY99" fmla="*/ 123912 h 161925"/>
                  <a:gd name="connsiteX100" fmla="*/ 282500 w 285750"/>
                  <a:gd name="connsiteY100" fmla="*/ 120226 h 161925"/>
                  <a:gd name="connsiteX101" fmla="*/ 278811 w 285750"/>
                  <a:gd name="connsiteY101" fmla="*/ 120226 h 161925"/>
                  <a:gd name="connsiteX102" fmla="*/ 275122 w 285750"/>
                  <a:gd name="connsiteY102" fmla="*/ 123912 h 161925"/>
                  <a:gd name="connsiteX103" fmla="*/ 267744 w 285750"/>
                  <a:gd name="connsiteY103" fmla="*/ 123912 h 161925"/>
                  <a:gd name="connsiteX104" fmla="*/ 260365 w 285750"/>
                  <a:gd name="connsiteY104" fmla="*/ 123912 h 161925"/>
                  <a:gd name="connsiteX105" fmla="*/ 252987 w 285750"/>
                  <a:gd name="connsiteY105" fmla="*/ 123912 h 161925"/>
                  <a:gd name="connsiteX106" fmla="*/ 249298 w 285750"/>
                  <a:gd name="connsiteY106" fmla="*/ 123912 h 161925"/>
                  <a:gd name="connsiteX107" fmla="*/ 241919 w 285750"/>
                  <a:gd name="connsiteY107" fmla="*/ 123912 h 161925"/>
                  <a:gd name="connsiteX108" fmla="*/ 234541 w 285750"/>
                  <a:gd name="connsiteY108" fmla="*/ 112844 h 161925"/>
                  <a:gd name="connsiteX109" fmla="*/ 227163 w 285750"/>
                  <a:gd name="connsiteY109" fmla="*/ 112844 h 161925"/>
                  <a:gd name="connsiteX110" fmla="*/ 223474 w 285750"/>
                  <a:gd name="connsiteY110" fmla="*/ 109148 h 161925"/>
                  <a:gd name="connsiteX111" fmla="*/ 219785 w 285750"/>
                  <a:gd name="connsiteY111" fmla="*/ 109148 h 161925"/>
                  <a:gd name="connsiteX112" fmla="*/ 216095 w 285750"/>
                  <a:gd name="connsiteY112" fmla="*/ 105462 h 161925"/>
                  <a:gd name="connsiteX113" fmla="*/ 216095 w 285750"/>
                  <a:gd name="connsiteY113" fmla="*/ 101766 h 161925"/>
                  <a:gd name="connsiteX114" fmla="*/ 208717 w 285750"/>
                  <a:gd name="connsiteY114" fmla="*/ 98080 h 161925"/>
                  <a:gd name="connsiteX115" fmla="*/ 208717 w 285750"/>
                  <a:gd name="connsiteY115" fmla="*/ 94394 h 161925"/>
                  <a:gd name="connsiteX116" fmla="*/ 208717 w 285750"/>
                  <a:gd name="connsiteY116" fmla="*/ 90698 h 161925"/>
                  <a:gd name="connsiteX117" fmla="*/ 205028 w 285750"/>
                  <a:gd name="connsiteY117" fmla="*/ 90698 h 161925"/>
                  <a:gd name="connsiteX118" fmla="*/ 193960 w 285750"/>
                  <a:gd name="connsiteY118" fmla="*/ 79630 h 161925"/>
                  <a:gd name="connsiteX119" fmla="*/ 182893 w 285750"/>
                  <a:gd name="connsiteY119" fmla="*/ 68553 h 161925"/>
                  <a:gd name="connsiteX120" fmla="*/ 179204 w 285750"/>
                  <a:gd name="connsiteY120" fmla="*/ 68553 h 161925"/>
                  <a:gd name="connsiteX121" fmla="*/ 179204 w 285750"/>
                  <a:gd name="connsiteY121" fmla="*/ 64867 h 161925"/>
                  <a:gd name="connsiteX122" fmla="*/ 171825 w 285750"/>
                  <a:gd name="connsiteY122" fmla="*/ 64867 h 161925"/>
                  <a:gd name="connsiteX123" fmla="*/ 168136 w 285750"/>
                  <a:gd name="connsiteY123" fmla="*/ 61171 h 161925"/>
                  <a:gd name="connsiteX124" fmla="*/ 164447 w 285750"/>
                  <a:gd name="connsiteY124" fmla="*/ 61171 h 161925"/>
                  <a:gd name="connsiteX125" fmla="*/ 157069 w 285750"/>
                  <a:gd name="connsiteY125" fmla="*/ 53789 h 161925"/>
                  <a:gd name="connsiteX126" fmla="*/ 149690 w 285750"/>
                  <a:gd name="connsiteY126" fmla="*/ 50103 h 161925"/>
                  <a:gd name="connsiteX127" fmla="*/ 146001 w 285750"/>
                  <a:gd name="connsiteY127" fmla="*/ 50103 h 161925"/>
                  <a:gd name="connsiteX128" fmla="*/ 131244 w 285750"/>
                  <a:gd name="connsiteY128" fmla="*/ 42721 h 161925"/>
                  <a:gd name="connsiteX129" fmla="*/ 127555 w 285750"/>
                  <a:gd name="connsiteY129" fmla="*/ 39035 h 161925"/>
                  <a:gd name="connsiteX130" fmla="*/ 116487 w 285750"/>
                  <a:gd name="connsiteY130" fmla="*/ 35339 h 161925"/>
                  <a:gd name="connsiteX131" fmla="*/ 116487 w 285750"/>
                  <a:gd name="connsiteY131" fmla="*/ 31653 h 161925"/>
                  <a:gd name="connsiteX132" fmla="*/ 112798 w 285750"/>
                  <a:gd name="connsiteY132" fmla="*/ 27957 h 161925"/>
                  <a:gd name="connsiteX133" fmla="*/ 109109 w 285750"/>
                  <a:gd name="connsiteY133" fmla="*/ 27957 h 161925"/>
                  <a:gd name="connsiteX134" fmla="*/ 109109 w 285750"/>
                  <a:gd name="connsiteY134" fmla="*/ 31653 h 161925"/>
                  <a:gd name="connsiteX135" fmla="*/ 105420 w 285750"/>
                  <a:gd name="connsiteY135" fmla="*/ 27957 h 161925"/>
                  <a:gd name="connsiteX136" fmla="*/ 109109 w 285750"/>
                  <a:gd name="connsiteY136" fmla="*/ 27957 h 161925"/>
                  <a:gd name="connsiteX137" fmla="*/ 109109 w 285750"/>
                  <a:gd name="connsiteY137" fmla="*/ 24271 h 161925"/>
                  <a:gd name="connsiteX138" fmla="*/ 109109 w 285750"/>
                  <a:gd name="connsiteY138" fmla="*/ 20575 h 161925"/>
                  <a:gd name="connsiteX139" fmla="*/ 105420 w 285750"/>
                  <a:gd name="connsiteY139" fmla="*/ 20575 h 161925"/>
                  <a:gd name="connsiteX140" fmla="*/ 105420 w 285750"/>
                  <a:gd name="connsiteY140" fmla="*/ 24271 h 161925"/>
                  <a:gd name="connsiteX141" fmla="*/ 101730 w 285750"/>
                  <a:gd name="connsiteY141" fmla="*/ 24271 h 161925"/>
                  <a:gd name="connsiteX142" fmla="*/ 101730 w 285750"/>
                  <a:gd name="connsiteY142" fmla="*/ 20575 h 161925"/>
                  <a:gd name="connsiteX143" fmla="*/ 94352 w 285750"/>
                  <a:gd name="connsiteY143" fmla="*/ 16889 h 161925"/>
                  <a:gd name="connsiteX144" fmla="*/ 94352 w 285750"/>
                  <a:gd name="connsiteY144" fmla="*/ 13194 h 161925"/>
                  <a:gd name="connsiteX145" fmla="*/ 90663 w 285750"/>
                  <a:gd name="connsiteY145" fmla="*/ 9507 h 161925"/>
                  <a:gd name="connsiteX146" fmla="*/ 20569 w 285750"/>
                  <a:gd name="connsiteY146" fmla="*/ 61171 h 161925"/>
                  <a:gd name="connsiteX147" fmla="*/ 16880 w 285750"/>
                  <a:gd name="connsiteY147" fmla="*/ 68553 h 161925"/>
                  <a:gd name="connsiteX148" fmla="*/ 13191 w 285750"/>
                  <a:gd name="connsiteY148" fmla="*/ 72248 h 161925"/>
                  <a:gd name="connsiteX149" fmla="*/ 5812 w 285750"/>
                  <a:gd name="connsiteY149" fmla="*/ 75935 h 161925"/>
                  <a:gd name="connsiteX150" fmla="*/ 9501 w 285750"/>
                  <a:gd name="connsiteY150" fmla="*/ 75935 h 161925"/>
                  <a:gd name="connsiteX151" fmla="*/ 16880 w 285750"/>
                  <a:gd name="connsiteY151" fmla="*/ 79630 h 161925"/>
                  <a:gd name="connsiteX152" fmla="*/ 20569 w 285750"/>
                  <a:gd name="connsiteY152" fmla="*/ 83317 h 161925"/>
                  <a:gd name="connsiteX153" fmla="*/ 24258 w 285750"/>
                  <a:gd name="connsiteY153" fmla="*/ 83317 h 161925"/>
                  <a:gd name="connsiteX154" fmla="*/ 24258 w 285750"/>
                  <a:gd name="connsiteY154" fmla="*/ 79630 h 161925"/>
                  <a:gd name="connsiteX155" fmla="*/ 20569 w 285750"/>
                  <a:gd name="connsiteY155" fmla="*/ 75935 h 161925"/>
                  <a:gd name="connsiteX156" fmla="*/ 16880 w 285750"/>
                  <a:gd name="connsiteY156" fmla="*/ 72248 h 161925"/>
                  <a:gd name="connsiteX157" fmla="*/ 20569 w 285750"/>
                  <a:gd name="connsiteY157" fmla="*/ 6117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285750" h="161925">
                    <a:moveTo>
                      <a:pt x="90663" y="5812"/>
                    </a:moveTo>
                    <a:lnTo>
                      <a:pt x="83285" y="9507"/>
                    </a:lnTo>
                    <a:lnTo>
                      <a:pt x="90663" y="9507"/>
                    </a:lnTo>
                    <a:lnTo>
                      <a:pt x="90663" y="5812"/>
                    </a:lnTo>
                    <a:close/>
                    <a:moveTo>
                      <a:pt x="90663" y="9507"/>
                    </a:moveTo>
                    <a:lnTo>
                      <a:pt x="79595" y="13194"/>
                    </a:lnTo>
                    <a:lnTo>
                      <a:pt x="75906" y="13194"/>
                    </a:lnTo>
                    <a:lnTo>
                      <a:pt x="72217" y="13194"/>
                    </a:lnTo>
                    <a:lnTo>
                      <a:pt x="79595" y="9507"/>
                    </a:lnTo>
                    <a:lnTo>
                      <a:pt x="68528" y="13194"/>
                    </a:lnTo>
                    <a:lnTo>
                      <a:pt x="46393" y="20575"/>
                    </a:lnTo>
                    <a:lnTo>
                      <a:pt x="39015" y="24271"/>
                    </a:lnTo>
                    <a:lnTo>
                      <a:pt x="35326" y="24271"/>
                    </a:lnTo>
                    <a:lnTo>
                      <a:pt x="24258" y="27957"/>
                    </a:lnTo>
                    <a:lnTo>
                      <a:pt x="20569" y="27957"/>
                    </a:lnTo>
                    <a:lnTo>
                      <a:pt x="16880" y="35339"/>
                    </a:lnTo>
                    <a:lnTo>
                      <a:pt x="16880" y="39035"/>
                    </a:lnTo>
                    <a:lnTo>
                      <a:pt x="16880" y="42721"/>
                    </a:lnTo>
                    <a:lnTo>
                      <a:pt x="20569" y="53789"/>
                    </a:lnTo>
                    <a:lnTo>
                      <a:pt x="20569" y="57485"/>
                    </a:lnTo>
                    <a:lnTo>
                      <a:pt x="24258" y="57485"/>
                    </a:lnTo>
                    <a:lnTo>
                      <a:pt x="24258" y="61171"/>
                    </a:lnTo>
                    <a:lnTo>
                      <a:pt x="27947" y="61171"/>
                    </a:lnTo>
                    <a:lnTo>
                      <a:pt x="35326" y="57485"/>
                    </a:lnTo>
                    <a:lnTo>
                      <a:pt x="35326" y="53789"/>
                    </a:lnTo>
                    <a:lnTo>
                      <a:pt x="31636" y="53789"/>
                    </a:lnTo>
                    <a:lnTo>
                      <a:pt x="31636" y="50103"/>
                    </a:lnTo>
                    <a:lnTo>
                      <a:pt x="35326" y="50103"/>
                    </a:lnTo>
                    <a:lnTo>
                      <a:pt x="39015" y="50103"/>
                    </a:lnTo>
                    <a:lnTo>
                      <a:pt x="42704" y="50103"/>
                    </a:lnTo>
                    <a:lnTo>
                      <a:pt x="46393" y="46417"/>
                    </a:lnTo>
                    <a:lnTo>
                      <a:pt x="50082" y="46417"/>
                    </a:lnTo>
                    <a:lnTo>
                      <a:pt x="53771" y="46417"/>
                    </a:lnTo>
                    <a:lnTo>
                      <a:pt x="57460" y="46417"/>
                    </a:lnTo>
                    <a:lnTo>
                      <a:pt x="61150" y="42721"/>
                    </a:lnTo>
                    <a:lnTo>
                      <a:pt x="64839" y="39035"/>
                    </a:lnTo>
                    <a:lnTo>
                      <a:pt x="72217" y="42721"/>
                    </a:lnTo>
                    <a:lnTo>
                      <a:pt x="79595" y="42721"/>
                    </a:lnTo>
                    <a:lnTo>
                      <a:pt x="86974" y="46417"/>
                    </a:lnTo>
                    <a:lnTo>
                      <a:pt x="86974" y="50103"/>
                    </a:lnTo>
                    <a:lnTo>
                      <a:pt x="90663" y="53789"/>
                    </a:lnTo>
                    <a:lnTo>
                      <a:pt x="94352" y="61171"/>
                    </a:lnTo>
                    <a:lnTo>
                      <a:pt x="98041" y="61171"/>
                    </a:lnTo>
                    <a:lnTo>
                      <a:pt x="98041" y="68553"/>
                    </a:lnTo>
                    <a:lnTo>
                      <a:pt x="98041" y="72248"/>
                    </a:lnTo>
                    <a:lnTo>
                      <a:pt x="94352" y="72248"/>
                    </a:lnTo>
                    <a:lnTo>
                      <a:pt x="94352" y="75935"/>
                    </a:lnTo>
                    <a:lnTo>
                      <a:pt x="98041" y="75935"/>
                    </a:lnTo>
                    <a:lnTo>
                      <a:pt x="94352" y="79630"/>
                    </a:lnTo>
                    <a:lnTo>
                      <a:pt x="94352" y="83317"/>
                    </a:lnTo>
                    <a:lnTo>
                      <a:pt x="98041" y="90698"/>
                    </a:lnTo>
                    <a:lnTo>
                      <a:pt x="101730" y="90698"/>
                    </a:lnTo>
                    <a:lnTo>
                      <a:pt x="101730" y="94394"/>
                    </a:lnTo>
                    <a:lnTo>
                      <a:pt x="105420" y="98080"/>
                    </a:lnTo>
                    <a:lnTo>
                      <a:pt x="105420" y="101766"/>
                    </a:lnTo>
                    <a:lnTo>
                      <a:pt x="109109" y="109148"/>
                    </a:lnTo>
                    <a:lnTo>
                      <a:pt x="109109" y="116530"/>
                    </a:lnTo>
                    <a:lnTo>
                      <a:pt x="112798" y="116530"/>
                    </a:lnTo>
                    <a:lnTo>
                      <a:pt x="116487" y="116530"/>
                    </a:lnTo>
                    <a:lnTo>
                      <a:pt x="120176" y="120226"/>
                    </a:lnTo>
                    <a:lnTo>
                      <a:pt x="123865" y="116530"/>
                    </a:lnTo>
                    <a:lnTo>
                      <a:pt x="123865" y="120226"/>
                    </a:lnTo>
                    <a:lnTo>
                      <a:pt x="131244" y="120226"/>
                    </a:lnTo>
                    <a:lnTo>
                      <a:pt x="138622" y="120226"/>
                    </a:lnTo>
                    <a:lnTo>
                      <a:pt x="142311" y="120226"/>
                    </a:lnTo>
                    <a:lnTo>
                      <a:pt x="146001" y="120226"/>
                    </a:lnTo>
                    <a:lnTo>
                      <a:pt x="149690" y="123912"/>
                    </a:lnTo>
                    <a:lnTo>
                      <a:pt x="160758" y="127608"/>
                    </a:lnTo>
                    <a:lnTo>
                      <a:pt x="164447" y="134990"/>
                    </a:lnTo>
                    <a:lnTo>
                      <a:pt x="168136" y="138676"/>
                    </a:lnTo>
                    <a:lnTo>
                      <a:pt x="175515" y="138676"/>
                    </a:lnTo>
                    <a:lnTo>
                      <a:pt x="179204" y="138676"/>
                    </a:lnTo>
                    <a:lnTo>
                      <a:pt x="179204" y="142372"/>
                    </a:lnTo>
                    <a:lnTo>
                      <a:pt x="186582" y="142372"/>
                    </a:lnTo>
                    <a:lnTo>
                      <a:pt x="190271" y="146058"/>
                    </a:lnTo>
                    <a:lnTo>
                      <a:pt x="193960" y="146058"/>
                    </a:lnTo>
                    <a:lnTo>
                      <a:pt x="193960" y="149744"/>
                    </a:lnTo>
                    <a:lnTo>
                      <a:pt x="193960" y="153440"/>
                    </a:lnTo>
                    <a:lnTo>
                      <a:pt x="201339" y="157126"/>
                    </a:lnTo>
                    <a:lnTo>
                      <a:pt x="205028" y="160821"/>
                    </a:lnTo>
                    <a:lnTo>
                      <a:pt x="216095" y="160821"/>
                    </a:lnTo>
                    <a:lnTo>
                      <a:pt x="219785" y="160821"/>
                    </a:lnTo>
                    <a:lnTo>
                      <a:pt x="223474" y="160821"/>
                    </a:lnTo>
                    <a:lnTo>
                      <a:pt x="230852" y="157126"/>
                    </a:lnTo>
                    <a:lnTo>
                      <a:pt x="238230" y="157126"/>
                    </a:lnTo>
                    <a:lnTo>
                      <a:pt x="241919" y="157126"/>
                    </a:lnTo>
                    <a:lnTo>
                      <a:pt x="252987" y="153440"/>
                    </a:lnTo>
                    <a:lnTo>
                      <a:pt x="260365" y="149744"/>
                    </a:lnTo>
                    <a:lnTo>
                      <a:pt x="264054" y="146058"/>
                    </a:lnTo>
                    <a:lnTo>
                      <a:pt x="267744" y="138676"/>
                    </a:lnTo>
                    <a:lnTo>
                      <a:pt x="267744" y="134990"/>
                    </a:lnTo>
                    <a:lnTo>
                      <a:pt x="264054" y="134990"/>
                    </a:lnTo>
                    <a:lnTo>
                      <a:pt x="264054" y="131294"/>
                    </a:lnTo>
                    <a:lnTo>
                      <a:pt x="267744" y="131294"/>
                    </a:lnTo>
                    <a:lnTo>
                      <a:pt x="271433" y="131294"/>
                    </a:lnTo>
                    <a:lnTo>
                      <a:pt x="275122" y="131294"/>
                    </a:lnTo>
                    <a:lnTo>
                      <a:pt x="278811" y="131294"/>
                    </a:lnTo>
                    <a:lnTo>
                      <a:pt x="286189" y="127608"/>
                    </a:lnTo>
                    <a:lnTo>
                      <a:pt x="282500" y="127608"/>
                    </a:lnTo>
                    <a:lnTo>
                      <a:pt x="282500" y="123912"/>
                    </a:lnTo>
                    <a:lnTo>
                      <a:pt x="282500" y="120226"/>
                    </a:lnTo>
                    <a:lnTo>
                      <a:pt x="278811" y="120226"/>
                    </a:lnTo>
                    <a:lnTo>
                      <a:pt x="275122" y="123912"/>
                    </a:lnTo>
                    <a:lnTo>
                      <a:pt x="267744" y="123912"/>
                    </a:lnTo>
                    <a:lnTo>
                      <a:pt x="260365" y="123912"/>
                    </a:lnTo>
                    <a:lnTo>
                      <a:pt x="252987" y="123912"/>
                    </a:lnTo>
                    <a:lnTo>
                      <a:pt x="249298" y="123912"/>
                    </a:lnTo>
                    <a:lnTo>
                      <a:pt x="241919" y="123912"/>
                    </a:lnTo>
                    <a:lnTo>
                      <a:pt x="234541" y="112844"/>
                    </a:lnTo>
                    <a:lnTo>
                      <a:pt x="227163" y="112844"/>
                    </a:lnTo>
                    <a:lnTo>
                      <a:pt x="223474" y="109148"/>
                    </a:lnTo>
                    <a:lnTo>
                      <a:pt x="219785" y="109148"/>
                    </a:lnTo>
                    <a:lnTo>
                      <a:pt x="216095" y="105462"/>
                    </a:lnTo>
                    <a:lnTo>
                      <a:pt x="216095" y="101766"/>
                    </a:lnTo>
                    <a:lnTo>
                      <a:pt x="208717" y="98080"/>
                    </a:lnTo>
                    <a:lnTo>
                      <a:pt x="208717" y="94394"/>
                    </a:lnTo>
                    <a:lnTo>
                      <a:pt x="208717" y="90698"/>
                    </a:lnTo>
                    <a:lnTo>
                      <a:pt x="205028" y="90698"/>
                    </a:lnTo>
                    <a:lnTo>
                      <a:pt x="193960" y="79630"/>
                    </a:lnTo>
                    <a:lnTo>
                      <a:pt x="182893" y="68553"/>
                    </a:lnTo>
                    <a:lnTo>
                      <a:pt x="179204" y="68553"/>
                    </a:lnTo>
                    <a:lnTo>
                      <a:pt x="179204" y="64867"/>
                    </a:lnTo>
                    <a:lnTo>
                      <a:pt x="171825" y="64867"/>
                    </a:lnTo>
                    <a:lnTo>
                      <a:pt x="168136" y="61171"/>
                    </a:lnTo>
                    <a:lnTo>
                      <a:pt x="164447" y="61171"/>
                    </a:lnTo>
                    <a:lnTo>
                      <a:pt x="157069" y="53789"/>
                    </a:lnTo>
                    <a:lnTo>
                      <a:pt x="149690" y="50103"/>
                    </a:lnTo>
                    <a:lnTo>
                      <a:pt x="146001" y="50103"/>
                    </a:lnTo>
                    <a:lnTo>
                      <a:pt x="131244" y="42721"/>
                    </a:lnTo>
                    <a:lnTo>
                      <a:pt x="127555" y="39035"/>
                    </a:lnTo>
                    <a:lnTo>
                      <a:pt x="116487" y="35339"/>
                    </a:lnTo>
                    <a:lnTo>
                      <a:pt x="116487" y="31653"/>
                    </a:lnTo>
                    <a:lnTo>
                      <a:pt x="112798" y="27957"/>
                    </a:lnTo>
                    <a:lnTo>
                      <a:pt x="109109" y="27957"/>
                    </a:lnTo>
                    <a:lnTo>
                      <a:pt x="109109" y="31653"/>
                    </a:lnTo>
                    <a:lnTo>
                      <a:pt x="105420" y="27957"/>
                    </a:lnTo>
                    <a:lnTo>
                      <a:pt x="109109" y="27957"/>
                    </a:lnTo>
                    <a:lnTo>
                      <a:pt x="109109" y="24271"/>
                    </a:lnTo>
                    <a:lnTo>
                      <a:pt x="109109" y="20575"/>
                    </a:lnTo>
                    <a:lnTo>
                      <a:pt x="105420" y="20575"/>
                    </a:lnTo>
                    <a:lnTo>
                      <a:pt x="105420" y="24271"/>
                    </a:lnTo>
                    <a:lnTo>
                      <a:pt x="101730" y="24271"/>
                    </a:lnTo>
                    <a:lnTo>
                      <a:pt x="101730" y="20575"/>
                    </a:lnTo>
                    <a:lnTo>
                      <a:pt x="94352" y="16889"/>
                    </a:lnTo>
                    <a:lnTo>
                      <a:pt x="94352" y="13194"/>
                    </a:lnTo>
                    <a:lnTo>
                      <a:pt x="90663" y="9507"/>
                    </a:lnTo>
                    <a:close/>
                    <a:moveTo>
                      <a:pt x="20569" y="61171"/>
                    </a:moveTo>
                    <a:lnTo>
                      <a:pt x="16880" y="68553"/>
                    </a:lnTo>
                    <a:lnTo>
                      <a:pt x="13191" y="72248"/>
                    </a:lnTo>
                    <a:lnTo>
                      <a:pt x="5812" y="75935"/>
                    </a:lnTo>
                    <a:lnTo>
                      <a:pt x="9501" y="75935"/>
                    </a:lnTo>
                    <a:lnTo>
                      <a:pt x="16880" y="79630"/>
                    </a:lnTo>
                    <a:lnTo>
                      <a:pt x="20569" y="83317"/>
                    </a:lnTo>
                    <a:lnTo>
                      <a:pt x="24258" y="83317"/>
                    </a:lnTo>
                    <a:lnTo>
                      <a:pt x="24258" y="79630"/>
                    </a:lnTo>
                    <a:lnTo>
                      <a:pt x="20569" y="75935"/>
                    </a:lnTo>
                    <a:lnTo>
                      <a:pt x="16880" y="72248"/>
                    </a:lnTo>
                    <a:lnTo>
                      <a:pt x="20569" y="61171"/>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22" name="Freeform: Shape 121">
                <a:extLst>
                  <a:ext uri="{FF2B5EF4-FFF2-40B4-BE49-F238E27FC236}">
                    <a16:creationId xmlns:a16="http://schemas.microsoft.com/office/drawing/2014/main" id="{5D080C29-5152-4E1C-897C-A7EF4C55C9B4}"/>
                  </a:ext>
                </a:extLst>
              </p:cNvPr>
              <p:cNvSpPr/>
              <p:nvPr/>
            </p:nvSpPr>
            <p:spPr>
              <a:xfrm>
                <a:off x="2075308" y="4326307"/>
                <a:ext cx="129960" cy="64980"/>
              </a:xfrm>
              <a:custGeom>
                <a:avLst/>
                <a:gdLst>
                  <a:gd name="connsiteX0" fmla="*/ 27947 w 57150"/>
                  <a:gd name="connsiteY0" fmla="*/ 9507 h 28575"/>
                  <a:gd name="connsiteX1" fmla="*/ 35325 w 57150"/>
                  <a:gd name="connsiteY1" fmla="*/ 13193 h 28575"/>
                  <a:gd name="connsiteX2" fmla="*/ 46393 w 57150"/>
                  <a:gd name="connsiteY2" fmla="*/ 16889 h 28575"/>
                  <a:gd name="connsiteX3" fmla="*/ 53771 w 57150"/>
                  <a:gd name="connsiteY3" fmla="*/ 20575 h 28575"/>
                  <a:gd name="connsiteX4" fmla="*/ 53771 w 57150"/>
                  <a:gd name="connsiteY4" fmla="*/ 20575 h 28575"/>
                  <a:gd name="connsiteX5" fmla="*/ 57460 w 57150"/>
                  <a:gd name="connsiteY5" fmla="*/ 24261 h 28575"/>
                  <a:gd name="connsiteX6" fmla="*/ 53771 w 57150"/>
                  <a:gd name="connsiteY6" fmla="*/ 24261 h 28575"/>
                  <a:gd name="connsiteX7" fmla="*/ 53771 w 57150"/>
                  <a:gd name="connsiteY7" fmla="*/ 24261 h 28575"/>
                  <a:gd name="connsiteX8" fmla="*/ 46393 w 57150"/>
                  <a:gd name="connsiteY8" fmla="*/ 27957 h 28575"/>
                  <a:gd name="connsiteX9" fmla="*/ 35325 w 57150"/>
                  <a:gd name="connsiteY9" fmla="*/ 27957 h 28575"/>
                  <a:gd name="connsiteX10" fmla="*/ 31636 w 57150"/>
                  <a:gd name="connsiteY10" fmla="*/ 27957 h 28575"/>
                  <a:gd name="connsiteX11" fmla="*/ 27947 w 57150"/>
                  <a:gd name="connsiteY11" fmla="*/ 24261 h 28575"/>
                  <a:gd name="connsiteX12" fmla="*/ 24258 w 57150"/>
                  <a:gd name="connsiteY12" fmla="*/ 20575 h 28575"/>
                  <a:gd name="connsiteX13" fmla="*/ 24258 w 57150"/>
                  <a:gd name="connsiteY13" fmla="*/ 20575 h 28575"/>
                  <a:gd name="connsiteX14" fmla="*/ 20569 w 57150"/>
                  <a:gd name="connsiteY14" fmla="*/ 20575 h 28575"/>
                  <a:gd name="connsiteX15" fmla="*/ 13191 w 57150"/>
                  <a:gd name="connsiteY15" fmla="*/ 13193 h 28575"/>
                  <a:gd name="connsiteX16" fmla="*/ 9501 w 57150"/>
                  <a:gd name="connsiteY16" fmla="*/ 13193 h 28575"/>
                  <a:gd name="connsiteX17" fmla="*/ 5812 w 57150"/>
                  <a:gd name="connsiteY17" fmla="*/ 9507 h 28575"/>
                  <a:gd name="connsiteX18" fmla="*/ 5812 w 57150"/>
                  <a:gd name="connsiteY18" fmla="*/ 9507 h 28575"/>
                  <a:gd name="connsiteX19" fmla="*/ 5812 w 57150"/>
                  <a:gd name="connsiteY19" fmla="*/ 9507 h 28575"/>
                  <a:gd name="connsiteX20" fmla="*/ 9501 w 57150"/>
                  <a:gd name="connsiteY20" fmla="*/ 5812 h 28575"/>
                  <a:gd name="connsiteX21" fmla="*/ 9501 w 57150"/>
                  <a:gd name="connsiteY21" fmla="*/ 5812 h 28575"/>
                  <a:gd name="connsiteX22" fmla="*/ 16880 w 57150"/>
                  <a:gd name="connsiteY22" fmla="*/ 5812 h 28575"/>
                  <a:gd name="connsiteX23" fmla="*/ 27947 w 57150"/>
                  <a:gd name="connsiteY23" fmla="*/ 9507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150" h="28575">
                    <a:moveTo>
                      <a:pt x="27947" y="9507"/>
                    </a:moveTo>
                    <a:lnTo>
                      <a:pt x="35325" y="13193"/>
                    </a:lnTo>
                    <a:lnTo>
                      <a:pt x="46393" y="16889"/>
                    </a:lnTo>
                    <a:lnTo>
                      <a:pt x="53771" y="20575"/>
                    </a:lnTo>
                    <a:lnTo>
                      <a:pt x="53771" y="20575"/>
                    </a:lnTo>
                    <a:lnTo>
                      <a:pt x="57460" y="24261"/>
                    </a:lnTo>
                    <a:lnTo>
                      <a:pt x="53771" y="24261"/>
                    </a:lnTo>
                    <a:lnTo>
                      <a:pt x="53771" y="24261"/>
                    </a:lnTo>
                    <a:lnTo>
                      <a:pt x="46393" y="27957"/>
                    </a:lnTo>
                    <a:lnTo>
                      <a:pt x="35325" y="27957"/>
                    </a:lnTo>
                    <a:lnTo>
                      <a:pt x="31636" y="27957"/>
                    </a:lnTo>
                    <a:lnTo>
                      <a:pt x="27947" y="24261"/>
                    </a:lnTo>
                    <a:lnTo>
                      <a:pt x="24258" y="20575"/>
                    </a:lnTo>
                    <a:lnTo>
                      <a:pt x="24258" y="20575"/>
                    </a:lnTo>
                    <a:lnTo>
                      <a:pt x="20569" y="20575"/>
                    </a:lnTo>
                    <a:lnTo>
                      <a:pt x="13191" y="13193"/>
                    </a:lnTo>
                    <a:lnTo>
                      <a:pt x="9501" y="13193"/>
                    </a:lnTo>
                    <a:lnTo>
                      <a:pt x="5812" y="9507"/>
                    </a:lnTo>
                    <a:lnTo>
                      <a:pt x="5812" y="9507"/>
                    </a:lnTo>
                    <a:lnTo>
                      <a:pt x="5812" y="9507"/>
                    </a:lnTo>
                    <a:lnTo>
                      <a:pt x="9501" y="5812"/>
                    </a:lnTo>
                    <a:lnTo>
                      <a:pt x="9501" y="5812"/>
                    </a:lnTo>
                    <a:lnTo>
                      <a:pt x="16880" y="5812"/>
                    </a:lnTo>
                    <a:lnTo>
                      <a:pt x="27947" y="9507"/>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23" name="Freeform: Shape 122">
                <a:extLst>
                  <a:ext uri="{FF2B5EF4-FFF2-40B4-BE49-F238E27FC236}">
                    <a16:creationId xmlns:a16="http://schemas.microsoft.com/office/drawing/2014/main" id="{14504D5F-8406-4FCC-BDF1-1DF5D5662E0F}"/>
                  </a:ext>
                </a:extLst>
              </p:cNvPr>
              <p:cNvSpPr/>
              <p:nvPr/>
            </p:nvSpPr>
            <p:spPr>
              <a:xfrm>
                <a:off x="1764907" y="4309520"/>
                <a:ext cx="64980" cy="86640"/>
              </a:xfrm>
              <a:custGeom>
                <a:avLst/>
                <a:gdLst>
                  <a:gd name="connsiteX0" fmla="*/ 5812 w 28575"/>
                  <a:gd name="connsiteY0" fmla="*/ 9507 h 38100"/>
                  <a:gd name="connsiteX1" fmla="*/ 9501 w 28575"/>
                  <a:gd name="connsiteY1" fmla="*/ 9507 h 38100"/>
                  <a:gd name="connsiteX2" fmla="*/ 13191 w 28575"/>
                  <a:gd name="connsiteY2" fmla="*/ 5812 h 38100"/>
                  <a:gd name="connsiteX3" fmla="*/ 13191 w 28575"/>
                  <a:gd name="connsiteY3" fmla="*/ 5812 h 38100"/>
                  <a:gd name="connsiteX4" fmla="*/ 13191 w 28575"/>
                  <a:gd name="connsiteY4" fmla="*/ 9507 h 38100"/>
                  <a:gd name="connsiteX5" fmla="*/ 13191 w 28575"/>
                  <a:gd name="connsiteY5" fmla="*/ 13194 h 38100"/>
                  <a:gd name="connsiteX6" fmla="*/ 16880 w 28575"/>
                  <a:gd name="connsiteY6" fmla="*/ 24271 h 38100"/>
                  <a:gd name="connsiteX7" fmla="*/ 24258 w 28575"/>
                  <a:gd name="connsiteY7" fmla="*/ 31643 h 38100"/>
                  <a:gd name="connsiteX8" fmla="*/ 24258 w 28575"/>
                  <a:gd name="connsiteY8" fmla="*/ 31643 h 38100"/>
                  <a:gd name="connsiteX9" fmla="*/ 24258 w 28575"/>
                  <a:gd name="connsiteY9" fmla="*/ 31643 h 38100"/>
                  <a:gd name="connsiteX10" fmla="*/ 20569 w 28575"/>
                  <a:gd name="connsiteY10" fmla="*/ 35339 h 38100"/>
                  <a:gd name="connsiteX11" fmla="*/ 16880 w 28575"/>
                  <a:gd name="connsiteY11" fmla="*/ 35339 h 38100"/>
                  <a:gd name="connsiteX12" fmla="*/ 16880 w 28575"/>
                  <a:gd name="connsiteY12" fmla="*/ 31643 h 38100"/>
                  <a:gd name="connsiteX13" fmla="*/ 13191 w 28575"/>
                  <a:gd name="connsiteY13" fmla="*/ 27957 h 38100"/>
                  <a:gd name="connsiteX14" fmla="*/ 13191 w 28575"/>
                  <a:gd name="connsiteY14" fmla="*/ 24271 h 38100"/>
                  <a:gd name="connsiteX15" fmla="*/ 9501 w 28575"/>
                  <a:gd name="connsiteY15" fmla="*/ 16889 h 38100"/>
                  <a:gd name="connsiteX16" fmla="*/ 5812 w 28575"/>
                  <a:gd name="connsiteY16" fmla="*/ 13194 h 38100"/>
                  <a:gd name="connsiteX17" fmla="*/ 5812 w 28575"/>
                  <a:gd name="connsiteY17" fmla="*/ 13194 h 38100"/>
                  <a:gd name="connsiteX18" fmla="*/ 5812 w 28575"/>
                  <a:gd name="connsiteY18" fmla="*/ 9507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575" h="38100">
                    <a:moveTo>
                      <a:pt x="5812" y="9507"/>
                    </a:moveTo>
                    <a:lnTo>
                      <a:pt x="9501" y="9507"/>
                    </a:lnTo>
                    <a:lnTo>
                      <a:pt x="13191" y="5812"/>
                    </a:lnTo>
                    <a:lnTo>
                      <a:pt x="13191" y="5812"/>
                    </a:lnTo>
                    <a:lnTo>
                      <a:pt x="13191" y="9507"/>
                    </a:lnTo>
                    <a:lnTo>
                      <a:pt x="13191" y="13194"/>
                    </a:lnTo>
                    <a:lnTo>
                      <a:pt x="16880" y="24271"/>
                    </a:lnTo>
                    <a:lnTo>
                      <a:pt x="24258" y="31643"/>
                    </a:lnTo>
                    <a:lnTo>
                      <a:pt x="24258" y="31643"/>
                    </a:lnTo>
                    <a:lnTo>
                      <a:pt x="24258" y="31643"/>
                    </a:lnTo>
                    <a:lnTo>
                      <a:pt x="20569" y="35339"/>
                    </a:lnTo>
                    <a:lnTo>
                      <a:pt x="16880" y="35339"/>
                    </a:lnTo>
                    <a:lnTo>
                      <a:pt x="16880" y="31643"/>
                    </a:lnTo>
                    <a:lnTo>
                      <a:pt x="13191" y="27957"/>
                    </a:lnTo>
                    <a:lnTo>
                      <a:pt x="13191" y="24271"/>
                    </a:lnTo>
                    <a:lnTo>
                      <a:pt x="9501" y="16889"/>
                    </a:lnTo>
                    <a:lnTo>
                      <a:pt x="5812" y="13194"/>
                    </a:lnTo>
                    <a:lnTo>
                      <a:pt x="5812" y="13194"/>
                    </a:lnTo>
                    <a:lnTo>
                      <a:pt x="5812" y="9507"/>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24" name="Freeform: Shape 123">
                <a:extLst>
                  <a:ext uri="{FF2B5EF4-FFF2-40B4-BE49-F238E27FC236}">
                    <a16:creationId xmlns:a16="http://schemas.microsoft.com/office/drawing/2014/main" id="{F085782A-63E6-484A-81D3-B258F3F0C2C6}"/>
                  </a:ext>
                </a:extLst>
              </p:cNvPr>
              <p:cNvSpPr/>
              <p:nvPr/>
            </p:nvSpPr>
            <p:spPr>
              <a:xfrm>
                <a:off x="2226316" y="4427025"/>
                <a:ext cx="21660" cy="21660"/>
              </a:xfrm>
              <a:custGeom>
                <a:avLst/>
                <a:gdLst>
                  <a:gd name="connsiteX0" fmla="*/ 13190 w 9525"/>
                  <a:gd name="connsiteY0" fmla="*/ 5812 h 9525"/>
                  <a:gd name="connsiteX1" fmla="*/ 9501 w 9525"/>
                  <a:gd name="connsiteY1" fmla="*/ 9498 h 9525"/>
                  <a:gd name="connsiteX2" fmla="*/ 9501 w 9525"/>
                  <a:gd name="connsiteY2" fmla="*/ 9498 h 9525"/>
                  <a:gd name="connsiteX3" fmla="*/ 13190 w 9525"/>
                  <a:gd name="connsiteY3" fmla="*/ 9498 h 9525"/>
                  <a:gd name="connsiteX4" fmla="*/ 13190 w 9525"/>
                  <a:gd name="connsiteY4" fmla="*/ 9498 h 9525"/>
                  <a:gd name="connsiteX5" fmla="*/ 9501 w 9525"/>
                  <a:gd name="connsiteY5" fmla="*/ 9498 h 9525"/>
                  <a:gd name="connsiteX6" fmla="*/ 9501 w 9525"/>
                  <a:gd name="connsiteY6" fmla="*/ 13194 h 9525"/>
                  <a:gd name="connsiteX7" fmla="*/ 5812 w 9525"/>
                  <a:gd name="connsiteY7" fmla="*/ 9498 h 9525"/>
                  <a:gd name="connsiteX8" fmla="*/ 5812 w 9525"/>
                  <a:gd name="connsiteY8" fmla="*/ 9498 h 9525"/>
                  <a:gd name="connsiteX9" fmla="*/ 5812 w 9525"/>
                  <a:gd name="connsiteY9" fmla="*/ 9498 h 9525"/>
                  <a:gd name="connsiteX10" fmla="*/ 13190 w 9525"/>
                  <a:gd name="connsiteY10"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25" h="9525">
                    <a:moveTo>
                      <a:pt x="13190" y="5812"/>
                    </a:moveTo>
                    <a:lnTo>
                      <a:pt x="9501" y="9498"/>
                    </a:lnTo>
                    <a:lnTo>
                      <a:pt x="9501" y="9498"/>
                    </a:lnTo>
                    <a:lnTo>
                      <a:pt x="13190" y="9498"/>
                    </a:lnTo>
                    <a:lnTo>
                      <a:pt x="13190" y="9498"/>
                    </a:lnTo>
                    <a:lnTo>
                      <a:pt x="9501" y="9498"/>
                    </a:lnTo>
                    <a:lnTo>
                      <a:pt x="9501" y="13194"/>
                    </a:lnTo>
                    <a:lnTo>
                      <a:pt x="5812" y="9498"/>
                    </a:lnTo>
                    <a:lnTo>
                      <a:pt x="5812" y="9498"/>
                    </a:lnTo>
                    <a:lnTo>
                      <a:pt x="5812" y="9498"/>
                    </a:lnTo>
                    <a:lnTo>
                      <a:pt x="13190" y="5812"/>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grpSp>
        <p:sp>
          <p:nvSpPr>
            <p:cNvPr id="116" name="Freeform: Shape 115">
              <a:extLst>
                <a:ext uri="{FF2B5EF4-FFF2-40B4-BE49-F238E27FC236}">
                  <a16:creationId xmlns:a16="http://schemas.microsoft.com/office/drawing/2014/main" id="{396BCE18-99B3-4E60-84D0-9E194B962AF2}"/>
                </a:ext>
              </a:extLst>
            </p:cNvPr>
            <p:cNvSpPr/>
            <p:nvPr/>
          </p:nvSpPr>
          <p:spPr>
            <a:xfrm>
              <a:off x="4511426" y="4272532"/>
              <a:ext cx="2064238" cy="1085321"/>
            </a:xfrm>
            <a:custGeom>
              <a:avLst/>
              <a:gdLst>
                <a:gd name="connsiteX0" fmla="*/ 363662 w 923925"/>
                <a:gd name="connsiteY0" fmla="*/ 5812 h 485775"/>
                <a:gd name="connsiteX1" fmla="*/ 359973 w 923925"/>
                <a:gd name="connsiteY1" fmla="*/ 9507 h 485775"/>
                <a:gd name="connsiteX2" fmla="*/ 352595 w 923925"/>
                <a:gd name="connsiteY2" fmla="*/ 13194 h 485775"/>
                <a:gd name="connsiteX3" fmla="*/ 348906 w 923925"/>
                <a:gd name="connsiteY3" fmla="*/ 13194 h 485775"/>
                <a:gd name="connsiteX4" fmla="*/ 341527 w 923925"/>
                <a:gd name="connsiteY4" fmla="*/ 24271 h 485775"/>
                <a:gd name="connsiteX5" fmla="*/ 337838 w 923925"/>
                <a:gd name="connsiteY5" fmla="*/ 24271 h 485775"/>
                <a:gd name="connsiteX6" fmla="*/ 330460 w 923925"/>
                <a:gd name="connsiteY6" fmla="*/ 27957 h 485775"/>
                <a:gd name="connsiteX7" fmla="*/ 326771 w 923925"/>
                <a:gd name="connsiteY7" fmla="*/ 27957 h 485775"/>
                <a:gd name="connsiteX8" fmla="*/ 319392 w 923925"/>
                <a:gd name="connsiteY8" fmla="*/ 27957 h 485775"/>
                <a:gd name="connsiteX9" fmla="*/ 312014 w 923925"/>
                <a:gd name="connsiteY9" fmla="*/ 27957 h 485775"/>
                <a:gd name="connsiteX10" fmla="*/ 304636 w 923925"/>
                <a:gd name="connsiteY10" fmla="*/ 27957 h 485775"/>
                <a:gd name="connsiteX11" fmla="*/ 297257 w 923925"/>
                <a:gd name="connsiteY11" fmla="*/ 31643 h 485775"/>
                <a:gd name="connsiteX12" fmla="*/ 293568 w 923925"/>
                <a:gd name="connsiteY12" fmla="*/ 31643 h 485775"/>
                <a:gd name="connsiteX13" fmla="*/ 289878 w 923925"/>
                <a:gd name="connsiteY13" fmla="*/ 35339 h 485775"/>
                <a:gd name="connsiteX14" fmla="*/ 289878 w 923925"/>
                <a:gd name="connsiteY14" fmla="*/ 39025 h 485775"/>
                <a:gd name="connsiteX15" fmla="*/ 286189 w 923925"/>
                <a:gd name="connsiteY15" fmla="*/ 42721 h 485775"/>
                <a:gd name="connsiteX16" fmla="*/ 282500 w 923925"/>
                <a:gd name="connsiteY16" fmla="*/ 46407 h 485775"/>
                <a:gd name="connsiteX17" fmla="*/ 278811 w 923925"/>
                <a:gd name="connsiteY17" fmla="*/ 57485 h 485775"/>
                <a:gd name="connsiteX18" fmla="*/ 275121 w 923925"/>
                <a:gd name="connsiteY18" fmla="*/ 61171 h 485775"/>
                <a:gd name="connsiteX19" fmla="*/ 271432 w 923925"/>
                <a:gd name="connsiteY19" fmla="*/ 68553 h 485775"/>
                <a:gd name="connsiteX20" fmla="*/ 260365 w 923925"/>
                <a:gd name="connsiteY20" fmla="*/ 75935 h 485775"/>
                <a:gd name="connsiteX21" fmla="*/ 252986 w 923925"/>
                <a:gd name="connsiteY21" fmla="*/ 79621 h 485775"/>
                <a:gd name="connsiteX22" fmla="*/ 249297 w 923925"/>
                <a:gd name="connsiteY22" fmla="*/ 83317 h 485775"/>
                <a:gd name="connsiteX23" fmla="*/ 245608 w 923925"/>
                <a:gd name="connsiteY23" fmla="*/ 87003 h 485775"/>
                <a:gd name="connsiteX24" fmla="*/ 230851 w 923925"/>
                <a:gd name="connsiteY24" fmla="*/ 90698 h 485775"/>
                <a:gd name="connsiteX25" fmla="*/ 230851 w 923925"/>
                <a:gd name="connsiteY25" fmla="*/ 94385 h 485775"/>
                <a:gd name="connsiteX26" fmla="*/ 223473 w 923925"/>
                <a:gd name="connsiteY26" fmla="*/ 98080 h 485775"/>
                <a:gd name="connsiteX27" fmla="*/ 219784 w 923925"/>
                <a:gd name="connsiteY27" fmla="*/ 101766 h 485775"/>
                <a:gd name="connsiteX28" fmla="*/ 216095 w 923925"/>
                <a:gd name="connsiteY28" fmla="*/ 101766 h 485775"/>
                <a:gd name="connsiteX29" fmla="*/ 212406 w 923925"/>
                <a:gd name="connsiteY29" fmla="*/ 105462 h 485775"/>
                <a:gd name="connsiteX30" fmla="*/ 208717 w 923925"/>
                <a:gd name="connsiteY30" fmla="*/ 109148 h 485775"/>
                <a:gd name="connsiteX31" fmla="*/ 179203 w 923925"/>
                <a:gd name="connsiteY31" fmla="*/ 116530 h 485775"/>
                <a:gd name="connsiteX32" fmla="*/ 175514 w 923925"/>
                <a:gd name="connsiteY32" fmla="*/ 116530 h 485775"/>
                <a:gd name="connsiteX33" fmla="*/ 171825 w 923925"/>
                <a:gd name="connsiteY33" fmla="*/ 116530 h 485775"/>
                <a:gd name="connsiteX34" fmla="*/ 160757 w 923925"/>
                <a:gd name="connsiteY34" fmla="*/ 120226 h 485775"/>
                <a:gd name="connsiteX35" fmla="*/ 153379 w 923925"/>
                <a:gd name="connsiteY35" fmla="*/ 120226 h 485775"/>
                <a:gd name="connsiteX36" fmla="*/ 142311 w 923925"/>
                <a:gd name="connsiteY36" fmla="*/ 116530 h 485775"/>
                <a:gd name="connsiteX37" fmla="*/ 138621 w 923925"/>
                <a:gd name="connsiteY37" fmla="*/ 112844 h 485775"/>
                <a:gd name="connsiteX38" fmla="*/ 134932 w 923925"/>
                <a:gd name="connsiteY38" fmla="*/ 112844 h 485775"/>
                <a:gd name="connsiteX39" fmla="*/ 131243 w 923925"/>
                <a:gd name="connsiteY39" fmla="*/ 109148 h 485775"/>
                <a:gd name="connsiteX40" fmla="*/ 127554 w 923925"/>
                <a:gd name="connsiteY40" fmla="*/ 109148 h 485775"/>
                <a:gd name="connsiteX41" fmla="*/ 120176 w 923925"/>
                <a:gd name="connsiteY41" fmla="*/ 109148 h 485775"/>
                <a:gd name="connsiteX42" fmla="*/ 116487 w 923925"/>
                <a:gd name="connsiteY42" fmla="*/ 112844 h 485775"/>
                <a:gd name="connsiteX43" fmla="*/ 109108 w 923925"/>
                <a:gd name="connsiteY43" fmla="*/ 116530 h 485775"/>
                <a:gd name="connsiteX44" fmla="*/ 105419 w 923925"/>
                <a:gd name="connsiteY44" fmla="*/ 120226 h 485775"/>
                <a:gd name="connsiteX45" fmla="*/ 105419 w 923925"/>
                <a:gd name="connsiteY45" fmla="*/ 123912 h 485775"/>
                <a:gd name="connsiteX46" fmla="*/ 101730 w 923925"/>
                <a:gd name="connsiteY46" fmla="*/ 131294 h 485775"/>
                <a:gd name="connsiteX47" fmla="*/ 98041 w 923925"/>
                <a:gd name="connsiteY47" fmla="*/ 134980 h 485775"/>
                <a:gd name="connsiteX48" fmla="*/ 94352 w 923925"/>
                <a:gd name="connsiteY48" fmla="*/ 138676 h 485775"/>
                <a:gd name="connsiteX49" fmla="*/ 90662 w 923925"/>
                <a:gd name="connsiteY49" fmla="*/ 142362 h 485775"/>
                <a:gd name="connsiteX50" fmla="*/ 83284 w 923925"/>
                <a:gd name="connsiteY50" fmla="*/ 146058 h 485775"/>
                <a:gd name="connsiteX51" fmla="*/ 79595 w 923925"/>
                <a:gd name="connsiteY51" fmla="*/ 146058 h 485775"/>
                <a:gd name="connsiteX52" fmla="*/ 75906 w 923925"/>
                <a:gd name="connsiteY52" fmla="*/ 149744 h 485775"/>
                <a:gd name="connsiteX53" fmla="*/ 72217 w 923925"/>
                <a:gd name="connsiteY53" fmla="*/ 149744 h 485775"/>
                <a:gd name="connsiteX54" fmla="*/ 72217 w 923925"/>
                <a:gd name="connsiteY54" fmla="*/ 146058 h 485775"/>
                <a:gd name="connsiteX55" fmla="*/ 68527 w 923925"/>
                <a:gd name="connsiteY55" fmla="*/ 146058 h 485775"/>
                <a:gd name="connsiteX56" fmla="*/ 64838 w 923925"/>
                <a:gd name="connsiteY56" fmla="*/ 149744 h 485775"/>
                <a:gd name="connsiteX57" fmla="*/ 57460 w 923925"/>
                <a:gd name="connsiteY57" fmla="*/ 149744 h 485775"/>
                <a:gd name="connsiteX58" fmla="*/ 53771 w 923925"/>
                <a:gd name="connsiteY58" fmla="*/ 149744 h 485775"/>
                <a:gd name="connsiteX59" fmla="*/ 50082 w 923925"/>
                <a:gd name="connsiteY59" fmla="*/ 153440 h 485775"/>
                <a:gd name="connsiteX60" fmla="*/ 46393 w 923925"/>
                <a:gd name="connsiteY60" fmla="*/ 153440 h 485775"/>
                <a:gd name="connsiteX61" fmla="*/ 42703 w 923925"/>
                <a:gd name="connsiteY61" fmla="*/ 153440 h 485775"/>
                <a:gd name="connsiteX62" fmla="*/ 39014 w 923925"/>
                <a:gd name="connsiteY62" fmla="*/ 160821 h 485775"/>
                <a:gd name="connsiteX63" fmla="*/ 35325 w 923925"/>
                <a:gd name="connsiteY63" fmla="*/ 160821 h 485775"/>
                <a:gd name="connsiteX64" fmla="*/ 35325 w 923925"/>
                <a:gd name="connsiteY64" fmla="*/ 157126 h 485775"/>
                <a:gd name="connsiteX65" fmla="*/ 31636 w 923925"/>
                <a:gd name="connsiteY65" fmla="*/ 157126 h 485775"/>
                <a:gd name="connsiteX66" fmla="*/ 27947 w 923925"/>
                <a:gd name="connsiteY66" fmla="*/ 157126 h 485775"/>
                <a:gd name="connsiteX67" fmla="*/ 16879 w 923925"/>
                <a:gd name="connsiteY67" fmla="*/ 160821 h 485775"/>
                <a:gd name="connsiteX68" fmla="*/ 13190 w 923925"/>
                <a:gd name="connsiteY68" fmla="*/ 164508 h 485775"/>
                <a:gd name="connsiteX69" fmla="*/ 9501 w 923925"/>
                <a:gd name="connsiteY69" fmla="*/ 168203 h 485775"/>
                <a:gd name="connsiteX70" fmla="*/ 5812 w 923925"/>
                <a:gd name="connsiteY70" fmla="*/ 175576 h 485775"/>
                <a:gd name="connsiteX71" fmla="*/ 5812 w 923925"/>
                <a:gd name="connsiteY71" fmla="*/ 179271 h 485775"/>
                <a:gd name="connsiteX72" fmla="*/ 5812 w 923925"/>
                <a:gd name="connsiteY72" fmla="*/ 186653 h 485775"/>
                <a:gd name="connsiteX73" fmla="*/ 5812 w 923925"/>
                <a:gd name="connsiteY73" fmla="*/ 190339 h 485775"/>
                <a:gd name="connsiteX74" fmla="*/ 9501 w 923925"/>
                <a:gd name="connsiteY74" fmla="*/ 194035 h 485775"/>
                <a:gd name="connsiteX75" fmla="*/ 24258 w 923925"/>
                <a:gd name="connsiteY75" fmla="*/ 212485 h 485775"/>
                <a:gd name="connsiteX76" fmla="*/ 24258 w 923925"/>
                <a:gd name="connsiteY76" fmla="*/ 219867 h 485775"/>
                <a:gd name="connsiteX77" fmla="*/ 27947 w 923925"/>
                <a:gd name="connsiteY77" fmla="*/ 223553 h 485775"/>
                <a:gd name="connsiteX78" fmla="*/ 27947 w 923925"/>
                <a:gd name="connsiteY78" fmla="*/ 227249 h 485775"/>
                <a:gd name="connsiteX79" fmla="*/ 24258 w 923925"/>
                <a:gd name="connsiteY79" fmla="*/ 234631 h 485775"/>
                <a:gd name="connsiteX80" fmla="*/ 20568 w 923925"/>
                <a:gd name="connsiteY80" fmla="*/ 245699 h 485775"/>
                <a:gd name="connsiteX81" fmla="*/ 16879 w 923925"/>
                <a:gd name="connsiteY81" fmla="*/ 253081 h 485775"/>
                <a:gd name="connsiteX82" fmla="*/ 16879 w 923925"/>
                <a:gd name="connsiteY82" fmla="*/ 256776 h 485775"/>
                <a:gd name="connsiteX83" fmla="*/ 24258 w 923925"/>
                <a:gd name="connsiteY83" fmla="*/ 271531 h 485775"/>
                <a:gd name="connsiteX84" fmla="*/ 39014 w 923925"/>
                <a:gd name="connsiteY84" fmla="*/ 312136 h 485775"/>
                <a:gd name="connsiteX85" fmla="*/ 46393 w 923925"/>
                <a:gd name="connsiteY85" fmla="*/ 323204 h 485775"/>
                <a:gd name="connsiteX86" fmla="*/ 39014 w 923925"/>
                <a:gd name="connsiteY86" fmla="*/ 326890 h 485775"/>
                <a:gd name="connsiteX87" fmla="*/ 39014 w 923925"/>
                <a:gd name="connsiteY87" fmla="*/ 330585 h 485775"/>
                <a:gd name="connsiteX88" fmla="*/ 42703 w 923925"/>
                <a:gd name="connsiteY88" fmla="*/ 341654 h 485775"/>
                <a:gd name="connsiteX89" fmla="*/ 39014 w 923925"/>
                <a:gd name="connsiteY89" fmla="*/ 352731 h 485775"/>
                <a:gd name="connsiteX90" fmla="*/ 39014 w 923925"/>
                <a:gd name="connsiteY90" fmla="*/ 356417 h 485775"/>
                <a:gd name="connsiteX91" fmla="*/ 42703 w 923925"/>
                <a:gd name="connsiteY91" fmla="*/ 356417 h 485775"/>
                <a:gd name="connsiteX92" fmla="*/ 46393 w 923925"/>
                <a:gd name="connsiteY92" fmla="*/ 360113 h 485775"/>
                <a:gd name="connsiteX93" fmla="*/ 72217 w 923925"/>
                <a:gd name="connsiteY93" fmla="*/ 360113 h 485775"/>
                <a:gd name="connsiteX94" fmla="*/ 72217 w 923925"/>
                <a:gd name="connsiteY94" fmla="*/ 363799 h 485775"/>
                <a:gd name="connsiteX95" fmla="*/ 75906 w 923925"/>
                <a:gd name="connsiteY95" fmla="*/ 367485 h 485775"/>
                <a:gd name="connsiteX96" fmla="*/ 75906 w 923925"/>
                <a:gd name="connsiteY96" fmla="*/ 378563 h 485775"/>
                <a:gd name="connsiteX97" fmla="*/ 79595 w 923925"/>
                <a:gd name="connsiteY97" fmla="*/ 374867 h 485775"/>
                <a:gd name="connsiteX98" fmla="*/ 90662 w 923925"/>
                <a:gd name="connsiteY98" fmla="*/ 378563 h 485775"/>
                <a:gd name="connsiteX99" fmla="*/ 94352 w 923925"/>
                <a:gd name="connsiteY99" fmla="*/ 378563 h 485775"/>
                <a:gd name="connsiteX100" fmla="*/ 98041 w 923925"/>
                <a:gd name="connsiteY100" fmla="*/ 378563 h 485775"/>
                <a:gd name="connsiteX101" fmla="*/ 101730 w 923925"/>
                <a:gd name="connsiteY101" fmla="*/ 378563 h 485775"/>
                <a:gd name="connsiteX102" fmla="*/ 105419 w 923925"/>
                <a:gd name="connsiteY102" fmla="*/ 378563 h 485775"/>
                <a:gd name="connsiteX103" fmla="*/ 109108 w 923925"/>
                <a:gd name="connsiteY103" fmla="*/ 374867 h 485775"/>
                <a:gd name="connsiteX104" fmla="*/ 116487 w 923925"/>
                <a:gd name="connsiteY104" fmla="*/ 371181 h 485775"/>
                <a:gd name="connsiteX105" fmla="*/ 120176 w 923925"/>
                <a:gd name="connsiteY105" fmla="*/ 371181 h 485775"/>
                <a:gd name="connsiteX106" fmla="*/ 120176 w 923925"/>
                <a:gd name="connsiteY106" fmla="*/ 367485 h 485775"/>
                <a:gd name="connsiteX107" fmla="*/ 120176 w 923925"/>
                <a:gd name="connsiteY107" fmla="*/ 363799 h 485775"/>
                <a:gd name="connsiteX108" fmla="*/ 101730 w 923925"/>
                <a:gd name="connsiteY108" fmla="*/ 337967 h 485775"/>
                <a:gd name="connsiteX109" fmla="*/ 98041 w 923925"/>
                <a:gd name="connsiteY109" fmla="*/ 326890 h 485775"/>
                <a:gd name="connsiteX110" fmla="*/ 101730 w 923925"/>
                <a:gd name="connsiteY110" fmla="*/ 323204 h 485775"/>
                <a:gd name="connsiteX111" fmla="*/ 105419 w 923925"/>
                <a:gd name="connsiteY111" fmla="*/ 323204 h 485775"/>
                <a:gd name="connsiteX112" fmla="*/ 105419 w 923925"/>
                <a:gd name="connsiteY112" fmla="*/ 319508 h 485775"/>
                <a:gd name="connsiteX113" fmla="*/ 105419 w 923925"/>
                <a:gd name="connsiteY113" fmla="*/ 315822 h 485775"/>
                <a:gd name="connsiteX114" fmla="*/ 105419 w 923925"/>
                <a:gd name="connsiteY114" fmla="*/ 312136 h 485775"/>
                <a:gd name="connsiteX115" fmla="*/ 105419 w 923925"/>
                <a:gd name="connsiteY115" fmla="*/ 308440 h 485775"/>
                <a:gd name="connsiteX116" fmla="*/ 101730 w 923925"/>
                <a:gd name="connsiteY116" fmla="*/ 308440 h 485775"/>
                <a:gd name="connsiteX117" fmla="*/ 98041 w 923925"/>
                <a:gd name="connsiteY117" fmla="*/ 304754 h 485775"/>
                <a:gd name="connsiteX118" fmla="*/ 101730 w 923925"/>
                <a:gd name="connsiteY118" fmla="*/ 301058 h 485775"/>
                <a:gd name="connsiteX119" fmla="*/ 127554 w 923925"/>
                <a:gd name="connsiteY119" fmla="*/ 289990 h 485775"/>
                <a:gd name="connsiteX120" fmla="*/ 134932 w 923925"/>
                <a:gd name="connsiteY120" fmla="*/ 289990 h 485775"/>
                <a:gd name="connsiteX121" fmla="*/ 138621 w 923925"/>
                <a:gd name="connsiteY121" fmla="*/ 286294 h 485775"/>
                <a:gd name="connsiteX122" fmla="*/ 142311 w 923925"/>
                <a:gd name="connsiteY122" fmla="*/ 282608 h 485775"/>
                <a:gd name="connsiteX123" fmla="*/ 146000 w 923925"/>
                <a:gd name="connsiteY123" fmla="*/ 282608 h 485775"/>
                <a:gd name="connsiteX124" fmla="*/ 149690 w 923925"/>
                <a:gd name="connsiteY124" fmla="*/ 282608 h 485775"/>
                <a:gd name="connsiteX125" fmla="*/ 175514 w 923925"/>
                <a:gd name="connsiteY125" fmla="*/ 278912 h 485775"/>
                <a:gd name="connsiteX126" fmla="*/ 179203 w 923925"/>
                <a:gd name="connsiteY126" fmla="*/ 286294 h 485775"/>
                <a:gd name="connsiteX127" fmla="*/ 171825 w 923925"/>
                <a:gd name="connsiteY127" fmla="*/ 304754 h 485775"/>
                <a:gd name="connsiteX128" fmla="*/ 175514 w 923925"/>
                <a:gd name="connsiteY128" fmla="*/ 326890 h 485775"/>
                <a:gd name="connsiteX129" fmla="*/ 193960 w 923925"/>
                <a:gd name="connsiteY129" fmla="*/ 319508 h 485775"/>
                <a:gd name="connsiteX130" fmla="*/ 197649 w 923925"/>
                <a:gd name="connsiteY130" fmla="*/ 319508 h 485775"/>
                <a:gd name="connsiteX131" fmla="*/ 205027 w 923925"/>
                <a:gd name="connsiteY131" fmla="*/ 319508 h 485775"/>
                <a:gd name="connsiteX132" fmla="*/ 219784 w 923925"/>
                <a:gd name="connsiteY132" fmla="*/ 323204 h 485775"/>
                <a:gd name="connsiteX133" fmla="*/ 227162 w 923925"/>
                <a:gd name="connsiteY133" fmla="*/ 326890 h 485775"/>
                <a:gd name="connsiteX134" fmla="*/ 230851 w 923925"/>
                <a:gd name="connsiteY134" fmla="*/ 326890 h 485775"/>
                <a:gd name="connsiteX135" fmla="*/ 230851 w 923925"/>
                <a:gd name="connsiteY135" fmla="*/ 323204 h 485775"/>
                <a:gd name="connsiteX136" fmla="*/ 234541 w 923925"/>
                <a:gd name="connsiteY136" fmla="*/ 326890 h 485775"/>
                <a:gd name="connsiteX137" fmla="*/ 241919 w 923925"/>
                <a:gd name="connsiteY137" fmla="*/ 323204 h 485775"/>
                <a:gd name="connsiteX138" fmla="*/ 238230 w 923925"/>
                <a:gd name="connsiteY138" fmla="*/ 308440 h 485775"/>
                <a:gd name="connsiteX139" fmla="*/ 249297 w 923925"/>
                <a:gd name="connsiteY139" fmla="*/ 304754 h 485775"/>
                <a:gd name="connsiteX140" fmla="*/ 252986 w 923925"/>
                <a:gd name="connsiteY140" fmla="*/ 304754 h 485775"/>
                <a:gd name="connsiteX141" fmla="*/ 256676 w 923925"/>
                <a:gd name="connsiteY141" fmla="*/ 293676 h 485775"/>
                <a:gd name="connsiteX142" fmla="*/ 264054 w 923925"/>
                <a:gd name="connsiteY142" fmla="*/ 289990 h 485775"/>
                <a:gd name="connsiteX143" fmla="*/ 267743 w 923925"/>
                <a:gd name="connsiteY143" fmla="*/ 286294 h 485775"/>
                <a:gd name="connsiteX144" fmla="*/ 271432 w 923925"/>
                <a:gd name="connsiteY144" fmla="*/ 278912 h 485775"/>
                <a:gd name="connsiteX145" fmla="*/ 278811 w 923925"/>
                <a:gd name="connsiteY145" fmla="*/ 275226 h 485775"/>
                <a:gd name="connsiteX146" fmla="*/ 282500 w 923925"/>
                <a:gd name="connsiteY146" fmla="*/ 271531 h 485775"/>
                <a:gd name="connsiteX147" fmla="*/ 278811 w 923925"/>
                <a:gd name="connsiteY147" fmla="*/ 267844 h 485775"/>
                <a:gd name="connsiteX148" fmla="*/ 282500 w 923925"/>
                <a:gd name="connsiteY148" fmla="*/ 267844 h 485775"/>
                <a:gd name="connsiteX149" fmla="*/ 286189 w 923925"/>
                <a:gd name="connsiteY149" fmla="*/ 267844 h 485775"/>
                <a:gd name="connsiteX150" fmla="*/ 286189 w 923925"/>
                <a:gd name="connsiteY150" fmla="*/ 264158 h 485775"/>
                <a:gd name="connsiteX151" fmla="*/ 293568 w 923925"/>
                <a:gd name="connsiteY151" fmla="*/ 260462 h 485775"/>
                <a:gd name="connsiteX152" fmla="*/ 297257 w 923925"/>
                <a:gd name="connsiteY152" fmla="*/ 264158 h 485775"/>
                <a:gd name="connsiteX153" fmla="*/ 297257 w 923925"/>
                <a:gd name="connsiteY153" fmla="*/ 267844 h 485775"/>
                <a:gd name="connsiteX154" fmla="*/ 300946 w 923925"/>
                <a:gd name="connsiteY154" fmla="*/ 267844 h 485775"/>
                <a:gd name="connsiteX155" fmla="*/ 304636 w 923925"/>
                <a:gd name="connsiteY155" fmla="*/ 267844 h 485775"/>
                <a:gd name="connsiteX156" fmla="*/ 312014 w 923925"/>
                <a:gd name="connsiteY156" fmla="*/ 271531 h 485775"/>
                <a:gd name="connsiteX157" fmla="*/ 315703 w 923925"/>
                <a:gd name="connsiteY157" fmla="*/ 271531 h 485775"/>
                <a:gd name="connsiteX158" fmla="*/ 315703 w 923925"/>
                <a:gd name="connsiteY158" fmla="*/ 275226 h 485775"/>
                <a:gd name="connsiteX159" fmla="*/ 315703 w 923925"/>
                <a:gd name="connsiteY159" fmla="*/ 278912 h 485775"/>
                <a:gd name="connsiteX160" fmla="*/ 319392 w 923925"/>
                <a:gd name="connsiteY160" fmla="*/ 282608 h 485775"/>
                <a:gd name="connsiteX161" fmla="*/ 323081 w 923925"/>
                <a:gd name="connsiteY161" fmla="*/ 278912 h 485775"/>
                <a:gd name="connsiteX162" fmla="*/ 326771 w 923925"/>
                <a:gd name="connsiteY162" fmla="*/ 282608 h 485775"/>
                <a:gd name="connsiteX163" fmla="*/ 323081 w 923925"/>
                <a:gd name="connsiteY163" fmla="*/ 289990 h 485775"/>
                <a:gd name="connsiteX164" fmla="*/ 323081 w 923925"/>
                <a:gd name="connsiteY164" fmla="*/ 297372 h 485775"/>
                <a:gd name="connsiteX165" fmla="*/ 326771 w 923925"/>
                <a:gd name="connsiteY165" fmla="*/ 297372 h 485775"/>
                <a:gd name="connsiteX166" fmla="*/ 326771 w 923925"/>
                <a:gd name="connsiteY166" fmla="*/ 301058 h 485775"/>
                <a:gd name="connsiteX167" fmla="*/ 323081 w 923925"/>
                <a:gd name="connsiteY167" fmla="*/ 301058 h 485775"/>
                <a:gd name="connsiteX168" fmla="*/ 319392 w 923925"/>
                <a:gd name="connsiteY168" fmla="*/ 304754 h 485775"/>
                <a:gd name="connsiteX169" fmla="*/ 315703 w 923925"/>
                <a:gd name="connsiteY169" fmla="*/ 308440 h 485775"/>
                <a:gd name="connsiteX170" fmla="*/ 319392 w 923925"/>
                <a:gd name="connsiteY170" fmla="*/ 323204 h 485775"/>
                <a:gd name="connsiteX171" fmla="*/ 319392 w 923925"/>
                <a:gd name="connsiteY171" fmla="*/ 326890 h 485775"/>
                <a:gd name="connsiteX172" fmla="*/ 323081 w 923925"/>
                <a:gd name="connsiteY172" fmla="*/ 326890 h 485775"/>
                <a:gd name="connsiteX173" fmla="*/ 326771 w 923925"/>
                <a:gd name="connsiteY173" fmla="*/ 326890 h 485775"/>
                <a:gd name="connsiteX174" fmla="*/ 326771 w 923925"/>
                <a:gd name="connsiteY174" fmla="*/ 330585 h 485775"/>
                <a:gd name="connsiteX175" fmla="*/ 323081 w 923925"/>
                <a:gd name="connsiteY175" fmla="*/ 330585 h 485775"/>
                <a:gd name="connsiteX176" fmla="*/ 312014 w 923925"/>
                <a:gd name="connsiteY176" fmla="*/ 326890 h 485775"/>
                <a:gd name="connsiteX177" fmla="*/ 308325 w 923925"/>
                <a:gd name="connsiteY177" fmla="*/ 323204 h 485775"/>
                <a:gd name="connsiteX178" fmla="*/ 300946 w 923925"/>
                <a:gd name="connsiteY178" fmla="*/ 323204 h 485775"/>
                <a:gd name="connsiteX179" fmla="*/ 300946 w 923925"/>
                <a:gd name="connsiteY179" fmla="*/ 319508 h 485775"/>
                <a:gd name="connsiteX180" fmla="*/ 297257 w 923925"/>
                <a:gd name="connsiteY180" fmla="*/ 319508 h 485775"/>
                <a:gd name="connsiteX181" fmla="*/ 289878 w 923925"/>
                <a:gd name="connsiteY181" fmla="*/ 323204 h 485775"/>
                <a:gd name="connsiteX182" fmla="*/ 289878 w 923925"/>
                <a:gd name="connsiteY182" fmla="*/ 326890 h 485775"/>
                <a:gd name="connsiteX183" fmla="*/ 289878 w 923925"/>
                <a:gd name="connsiteY183" fmla="*/ 330585 h 485775"/>
                <a:gd name="connsiteX184" fmla="*/ 293568 w 923925"/>
                <a:gd name="connsiteY184" fmla="*/ 334272 h 485775"/>
                <a:gd name="connsiteX185" fmla="*/ 300946 w 923925"/>
                <a:gd name="connsiteY185" fmla="*/ 337967 h 485775"/>
                <a:gd name="connsiteX186" fmla="*/ 304636 w 923925"/>
                <a:gd name="connsiteY186" fmla="*/ 337967 h 485775"/>
                <a:gd name="connsiteX187" fmla="*/ 315703 w 923925"/>
                <a:gd name="connsiteY187" fmla="*/ 334272 h 485775"/>
                <a:gd name="connsiteX188" fmla="*/ 323081 w 923925"/>
                <a:gd name="connsiteY188" fmla="*/ 334272 h 485775"/>
                <a:gd name="connsiteX189" fmla="*/ 330460 w 923925"/>
                <a:gd name="connsiteY189" fmla="*/ 334272 h 485775"/>
                <a:gd name="connsiteX190" fmla="*/ 334149 w 923925"/>
                <a:gd name="connsiteY190" fmla="*/ 337967 h 485775"/>
                <a:gd name="connsiteX191" fmla="*/ 337838 w 923925"/>
                <a:gd name="connsiteY191" fmla="*/ 337967 h 485775"/>
                <a:gd name="connsiteX192" fmla="*/ 337838 w 923925"/>
                <a:gd name="connsiteY192" fmla="*/ 334272 h 485775"/>
                <a:gd name="connsiteX193" fmla="*/ 341527 w 923925"/>
                <a:gd name="connsiteY193" fmla="*/ 334272 h 485775"/>
                <a:gd name="connsiteX194" fmla="*/ 345217 w 923925"/>
                <a:gd name="connsiteY194" fmla="*/ 334272 h 485775"/>
                <a:gd name="connsiteX195" fmla="*/ 348906 w 923925"/>
                <a:gd name="connsiteY195" fmla="*/ 334272 h 485775"/>
                <a:gd name="connsiteX196" fmla="*/ 352595 w 923925"/>
                <a:gd name="connsiteY196" fmla="*/ 334272 h 485775"/>
                <a:gd name="connsiteX197" fmla="*/ 359973 w 923925"/>
                <a:gd name="connsiteY197" fmla="*/ 341654 h 485775"/>
                <a:gd name="connsiteX198" fmla="*/ 359973 w 923925"/>
                <a:gd name="connsiteY198" fmla="*/ 345349 h 485775"/>
                <a:gd name="connsiteX199" fmla="*/ 363662 w 923925"/>
                <a:gd name="connsiteY199" fmla="*/ 345349 h 485775"/>
                <a:gd name="connsiteX200" fmla="*/ 367351 w 923925"/>
                <a:gd name="connsiteY200" fmla="*/ 349036 h 485775"/>
                <a:gd name="connsiteX201" fmla="*/ 371041 w 923925"/>
                <a:gd name="connsiteY201" fmla="*/ 349036 h 485775"/>
                <a:gd name="connsiteX202" fmla="*/ 385797 w 923925"/>
                <a:gd name="connsiteY202" fmla="*/ 326890 h 485775"/>
                <a:gd name="connsiteX203" fmla="*/ 407932 w 923925"/>
                <a:gd name="connsiteY203" fmla="*/ 312136 h 485775"/>
                <a:gd name="connsiteX204" fmla="*/ 407932 w 923925"/>
                <a:gd name="connsiteY204" fmla="*/ 304754 h 485775"/>
                <a:gd name="connsiteX205" fmla="*/ 411621 w 923925"/>
                <a:gd name="connsiteY205" fmla="*/ 304754 h 485775"/>
                <a:gd name="connsiteX206" fmla="*/ 411621 w 923925"/>
                <a:gd name="connsiteY206" fmla="*/ 301058 h 485775"/>
                <a:gd name="connsiteX207" fmla="*/ 407932 w 923925"/>
                <a:gd name="connsiteY207" fmla="*/ 297372 h 485775"/>
                <a:gd name="connsiteX208" fmla="*/ 407932 w 923925"/>
                <a:gd name="connsiteY208" fmla="*/ 293676 h 485775"/>
                <a:gd name="connsiteX209" fmla="*/ 411621 w 923925"/>
                <a:gd name="connsiteY209" fmla="*/ 289990 h 485775"/>
                <a:gd name="connsiteX210" fmla="*/ 411621 w 923925"/>
                <a:gd name="connsiteY210" fmla="*/ 286294 h 485775"/>
                <a:gd name="connsiteX211" fmla="*/ 415310 w 923925"/>
                <a:gd name="connsiteY211" fmla="*/ 282608 h 485775"/>
                <a:gd name="connsiteX212" fmla="*/ 422689 w 923925"/>
                <a:gd name="connsiteY212" fmla="*/ 278912 h 485775"/>
                <a:gd name="connsiteX213" fmla="*/ 426378 w 923925"/>
                <a:gd name="connsiteY213" fmla="*/ 278912 h 485775"/>
                <a:gd name="connsiteX214" fmla="*/ 422689 w 923925"/>
                <a:gd name="connsiteY214" fmla="*/ 282608 h 485775"/>
                <a:gd name="connsiteX215" fmla="*/ 426378 w 923925"/>
                <a:gd name="connsiteY215" fmla="*/ 286294 h 485775"/>
                <a:gd name="connsiteX216" fmla="*/ 426378 w 923925"/>
                <a:gd name="connsiteY216" fmla="*/ 289990 h 485775"/>
                <a:gd name="connsiteX217" fmla="*/ 430067 w 923925"/>
                <a:gd name="connsiteY217" fmla="*/ 289990 h 485775"/>
                <a:gd name="connsiteX218" fmla="*/ 444825 w 923925"/>
                <a:gd name="connsiteY218" fmla="*/ 289990 h 485775"/>
                <a:gd name="connsiteX219" fmla="*/ 455892 w 923925"/>
                <a:gd name="connsiteY219" fmla="*/ 323204 h 485775"/>
                <a:gd name="connsiteX220" fmla="*/ 452203 w 923925"/>
                <a:gd name="connsiteY220" fmla="*/ 330585 h 485775"/>
                <a:gd name="connsiteX221" fmla="*/ 441136 w 923925"/>
                <a:gd name="connsiteY221" fmla="*/ 352731 h 485775"/>
                <a:gd name="connsiteX222" fmla="*/ 463271 w 923925"/>
                <a:gd name="connsiteY222" fmla="*/ 378563 h 485775"/>
                <a:gd name="connsiteX223" fmla="*/ 463271 w 923925"/>
                <a:gd name="connsiteY223" fmla="*/ 382249 h 485775"/>
                <a:gd name="connsiteX224" fmla="*/ 466960 w 923925"/>
                <a:gd name="connsiteY224" fmla="*/ 385945 h 485775"/>
                <a:gd name="connsiteX225" fmla="*/ 470649 w 923925"/>
                <a:gd name="connsiteY225" fmla="*/ 389631 h 485775"/>
                <a:gd name="connsiteX226" fmla="*/ 470649 w 923925"/>
                <a:gd name="connsiteY226" fmla="*/ 415463 h 485775"/>
                <a:gd name="connsiteX227" fmla="*/ 485405 w 923925"/>
                <a:gd name="connsiteY227" fmla="*/ 419159 h 485775"/>
                <a:gd name="connsiteX228" fmla="*/ 489095 w 923925"/>
                <a:gd name="connsiteY228" fmla="*/ 415463 h 485775"/>
                <a:gd name="connsiteX229" fmla="*/ 500162 w 923925"/>
                <a:gd name="connsiteY229" fmla="*/ 411777 h 485775"/>
                <a:gd name="connsiteX230" fmla="*/ 503851 w 923925"/>
                <a:gd name="connsiteY230" fmla="*/ 411777 h 485775"/>
                <a:gd name="connsiteX231" fmla="*/ 503851 w 923925"/>
                <a:gd name="connsiteY231" fmla="*/ 408091 h 485775"/>
                <a:gd name="connsiteX232" fmla="*/ 525986 w 923925"/>
                <a:gd name="connsiteY232" fmla="*/ 422845 h 485775"/>
                <a:gd name="connsiteX233" fmla="*/ 518608 w 923925"/>
                <a:gd name="connsiteY233" fmla="*/ 452372 h 485775"/>
                <a:gd name="connsiteX234" fmla="*/ 522297 w 923925"/>
                <a:gd name="connsiteY234" fmla="*/ 456068 h 485775"/>
                <a:gd name="connsiteX235" fmla="*/ 537051 w 923925"/>
                <a:gd name="connsiteY235" fmla="*/ 452372 h 485775"/>
                <a:gd name="connsiteX236" fmla="*/ 551815 w 923925"/>
                <a:gd name="connsiteY236" fmla="*/ 456068 h 485775"/>
                <a:gd name="connsiteX237" fmla="*/ 562874 w 923925"/>
                <a:gd name="connsiteY237" fmla="*/ 456068 h 485775"/>
                <a:gd name="connsiteX238" fmla="*/ 570255 w 923925"/>
                <a:gd name="connsiteY238" fmla="*/ 456068 h 485775"/>
                <a:gd name="connsiteX239" fmla="*/ 573942 w 923925"/>
                <a:gd name="connsiteY239" fmla="*/ 452372 h 485775"/>
                <a:gd name="connsiteX240" fmla="*/ 577637 w 923925"/>
                <a:gd name="connsiteY240" fmla="*/ 444990 h 485775"/>
                <a:gd name="connsiteX241" fmla="*/ 588705 w 923925"/>
                <a:gd name="connsiteY241" fmla="*/ 448686 h 485775"/>
                <a:gd name="connsiteX242" fmla="*/ 603460 w 923925"/>
                <a:gd name="connsiteY242" fmla="*/ 452372 h 485775"/>
                <a:gd name="connsiteX243" fmla="*/ 610841 w 923925"/>
                <a:gd name="connsiteY243" fmla="*/ 456068 h 485775"/>
                <a:gd name="connsiteX244" fmla="*/ 621910 w 923925"/>
                <a:gd name="connsiteY244" fmla="*/ 444990 h 485775"/>
                <a:gd name="connsiteX245" fmla="*/ 625596 w 923925"/>
                <a:gd name="connsiteY245" fmla="*/ 441304 h 485775"/>
                <a:gd name="connsiteX246" fmla="*/ 636664 w 923925"/>
                <a:gd name="connsiteY246" fmla="*/ 437608 h 485775"/>
                <a:gd name="connsiteX247" fmla="*/ 640350 w 923925"/>
                <a:gd name="connsiteY247" fmla="*/ 433922 h 485775"/>
                <a:gd name="connsiteX248" fmla="*/ 644036 w 923925"/>
                <a:gd name="connsiteY248" fmla="*/ 430227 h 485775"/>
                <a:gd name="connsiteX249" fmla="*/ 644036 w 923925"/>
                <a:gd name="connsiteY249" fmla="*/ 426540 h 485775"/>
                <a:gd name="connsiteX250" fmla="*/ 647732 w 923925"/>
                <a:gd name="connsiteY250" fmla="*/ 426540 h 485775"/>
                <a:gd name="connsiteX251" fmla="*/ 662486 w 923925"/>
                <a:gd name="connsiteY251" fmla="*/ 430227 h 485775"/>
                <a:gd name="connsiteX252" fmla="*/ 662486 w 923925"/>
                <a:gd name="connsiteY252" fmla="*/ 433922 h 485775"/>
                <a:gd name="connsiteX253" fmla="*/ 666172 w 923925"/>
                <a:gd name="connsiteY253" fmla="*/ 441304 h 485775"/>
                <a:gd name="connsiteX254" fmla="*/ 677240 w 923925"/>
                <a:gd name="connsiteY254" fmla="*/ 448686 h 485775"/>
                <a:gd name="connsiteX255" fmla="*/ 680936 w 923925"/>
                <a:gd name="connsiteY255" fmla="*/ 452372 h 485775"/>
                <a:gd name="connsiteX256" fmla="*/ 680936 w 923925"/>
                <a:gd name="connsiteY256" fmla="*/ 456068 h 485775"/>
                <a:gd name="connsiteX257" fmla="*/ 680936 w 923925"/>
                <a:gd name="connsiteY257" fmla="*/ 459754 h 485775"/>
                <a:gd name="connsiteX258" fmla="*/ 680936 w 923925"/>
                <a:gd name="connsiteY258" fmla="*/ 463440 h 485775"/>
                <a:gd name="connsiteX259" fmla="*/ 680936 w 923925"/>
                <a:gd name="connsiteY259" fmla="*/ 467136 h 485775"/>
                <a:gd name="connsiteX260" fmla="*/ 680936 w 923925"/>
                <a:gd name="connsiteY260" fmla="*/ 474518 h 485775"/>
                <a:gd name="connsiteX261" fmla="*/ 684622 w 923925"/>
                <a:gd name="connsiteY261" fmla="*/ 489282 h 485775"/>
                <a:gd name="connsiteX262" fmla="*/ 688308 w 923925"/>
                <a:gd name="connsiteY262" fmla="*/ 489282 h 485775"/>
                <a:gd name="connsiteX263" fmla="*/ 699376 w 923925"/>
                <a:gd name="connsiteY263" fmla="*/ 485586 h 485775"/>
                <a:gd name="connsiteX264" fmla="*/ 703063 w 923925"/>
                <a:gd name="connsiteY264" fmla="*/ 485586 h 485775"/>
                <a:gd name="connsiteX265" fmla="*/ 714131 w 923925"/>
                <a:gd name="connsiteY265" fmla="*/ 481900 h 485775"/>
                <a:gd name="connsiteX266" fmla="*/ 714131 w 923925"/>
                <a:gd name="connsiteY266" fmla="*/ 467136 h 485775"/>
                <a:gd name="connsiteX267" fmla="*/ 717826 w 923925"/>
                <a:gd name="connsiteY267" fmla="*/ 448686 h 485775"/>
                <a:gd name="connsiteX268" fmla="*/ 725199 w 923925"/>
                <a:gd name="connsiteY268" fmla="*/ 433922 h 485775"/>
                <a:gd name="connsiteX269" fmla="*/ 728894 w 923925"/>
                <a:gd name="connsiteY269" fmla="*/ 426540 h 485775"/>
                <a:gd name="connsiteX270" fmla="*/ 739962 w 923925"/>
                <a:gd name="connsiteY270" fmla="*/ 415463 h 485775"/>
                <a:gd name="connsiteX271" fmla="*/ 754717 w 923925"/>
                <a:gd name="connsiteY271" fmla="*/ 408091 h 485775"/>
                <a:gd name="connsiteX272" fmla="*/ 758403 w 923925"/>
                <a:gd name="connsiteY272" fmla="*/ 408091 h 485775"/>
                <a:gd name="connsiteX273" fmla="*/ 776853 w 923925"/>
                <a:gd name="connsiteY273" fmla="*/ 404395 h 485775"/>
                <a:gd name="connsiteX274" fmla="*/ 784225 w 923925"/>
                <a:gd name="connsiteY274" fmla="*/ 400709 h 485775"/>
                <a:gd name="connsiteX275" fmla="*/ 787921 w 923925"/>
                <a:gd name="connsiteY275" fmla="*/ 400709 h 485775"/>
                <a:gd name="connsiteX276" fmla="*/ 791607 w 923925"/>
                <a:gd name="connsiteY276" fmla="*/ 397013 h 485775"/>
                <a:gd name="connsiteX277" fmla="*/ 821125 w 923925"/>
                <a:gd name="connsiteY277" fmla="*/ 389631 h 485775"/>
                <a:gd name="connsiteX278" fmla="*/ 832193 w 923925"/>
                <a:gd name="connsiteY278" fmla="*/ 385945 h 485775"/>
                <a:gd name="connsiteX279" fmla="*/ 835879 w 923925"/>
                <a:gd name="connsiteY279" fmla="*/ 385945 h 485775"/>
                <a:gd name="connsiteX280" fmla="*/ 839565 w 923925"/>
                <a:gd name="connsiteY280" fmla="*/ 382249 h 485775"/>
                <a:gd name="connsiteX281" fmla="*/ 843252 w 923925"/>
                <a:gd name="connsiteY281" fmla="*/ 382249 h 485775"/>
                <a:gd name="connsiteX282" fmla="*/ 850633 w 923925"/>
                <a:gd name="connsiteY282" fmla="*/ 374867 h 485775"/>
                <a:gd name="connsiteX283" fmla="*/ 861701 w 923925"/>
                <a:gd name="connsiteY283" fmla="*/ 363799 h 485775"/>
                <a:gd name="connsiteX284" fmla="*/ 869083 w 923925"/>
                <a:gd name="connsiteY284" fmla="*/ 360113 h 485775"/>
                <a:gd name="connsiteX285" fmla="*/ 861701 w 923925"/>
                <a:gd name="connsiteY285" fmla="*/ 349036 h 485775"/>
                <a:gd name="connsiteX286" fmla="*/ 854319 w 923925"/>
                <a:gd name="connsiteY286" fmla="*/ 334272 h 485775"/>
                <a:gd name="connsiteX287" fmla="*/ 839565 w 923925"/>
                <a:gd name="connsiteY287" fmla="*/ 308440 h 485775"/>
                <a:gd name="connsiteX288" fmla="*/ 839565 w 923925"/>
                <a:gd name="connsiteY288" fmla="*/ 304754 h 485775"/>
                <a:gd name="connsiteX289" fmla="*/ 832193 w 923925"/>
                <a:gd name="connsiteY289" fmla="*/ 271531 h 485775"/>
                <a:gd name="connsiteX290" fmla="*/ 828497 w 923925"/>
                <a:gd name="connsiteY290" fmla="*/ 264158 h 485775"/>
                <a:gd name="connsiteX291" fmla="*/ 828497 w 923925"/>
                <a:gd name="connsiteY291" fmla="*/ 256776 h 485775"/>
                <a:gd name="connsiteX292" fmla="*/ 824811 w 923925"/>
                <a:gd name="connsiteY292" fmla="*/ 245699 h 485775"/>
                <a:gd name="connsiteX293" fmla="*/ 821125 w 923925"/>
                <a:gd name="connsiteY293" fmla="*/ 212485 h 485775"/>
                <a:gd name="connsiteX294" fmla="*/ 835879 w 923925"/>
                <a:gd name="connsiteY294" fmla="*/ 216181 h 485775"/>
                <a:gd name="connsiteX295" fmla="*/ 846947 w 923925"/>
                <a:gd name="connsiteY295" fmla="*/ 219867 h 485775"/>
                <a:gd name="connsiteX296" fmla="*/ 854319 w 923925"/>
                <a:gd name="connsiteY296" fmla="*/ 223553 h 485775"/>
                <a:gd name="connsiteX297" fmla="*/ 861701 w 923925"/>
                <a:gd name="connsiteY297" fmla="*/ 223553 h 485775"/>
                <a:gd name="connsiteX298" fmla="*/ 869083 w 923925"/>
                <a:gd name="connsiteY298" fmla="*/ 223553 h 485775"/>
                <a:gd name="connsiteX299" fmla="*/ 876456 w 923925"/>
                <a:gd name="connsiteY299" fmla="*/ 219867 h 485775"/>
                <a:gd name="connsiteX300" fmla="*/ 887524 w 923925"/>
                <a:gd name="connsiteY300" fmla="*/ 216181 h 485775"/>
                <a:gd name="connsiteX301" fmla="*/ 894905 w 923925"/>
                <a:gd name="connsiteY301" fmla="*/ 212485 h 485775"/>
                <a:gd name="connsiteX302" fmla="*/ 902287 w 923925"/>
                <a:gd name="connsiteY302" fmla="*/ 208799 h 485775"/>
                <a:gd name="connsiteX303" fmla="*/ 902287 w 923925"/>
                <a:gd name="connsiteY303" fmla="*/ 212485 h 485775"/>
                <a:gd name="connsiteX304" fmla="*/ 905974 w 923925"/>
                <a:gd name="connsiteY304" fmla="*/ 212485 h 485775"/>
                <a:gd name="connsiteX305" fmla="*/ 909660 w 923925"/>
                <a:gd name="connsiteY305" fmla="*/ 216181 h 485775"/>
                <a:gd name="connsiteX306" fmla="*/ 917042 w 923925"/>
                <a:gd name="connsiteY306" fmla="*/ 223553 h 485775"/>
                <a:gd name="connsiteX307" fmla="*/ 917042 w 923925"/>
                <a:gd name="connsiteY307" fmla="*/ 219867 h 485775"/>
                <a:gd name="connsiteX308" fmla="*/ 920728 w 923925"/>
                <a:gd name="connsiteY308" fmla="*/ 219867 h 485775"/>
                <a:gd name="connsiteX309" fmla="*/ 924414 w 923925"/>
                <a:gd name="connsiteY309" fmla="*/ 219867 h 485775"/>
                <a:gd name="connsiteX310" fmla="*/ 920728 w 923925"/>
                <a:gd name="connsiteY310" fmla="*/ 216181 h 485775"/>
                <a:gd name="connsiteX311" fmla="*/ 920728 w 923925"/>
                <a:gd name="connsiteY311" fmla="*/ 212485 h 485775"/>
                <a:gd name="connsiteX312" fmla="*/ 920728 w 923925"/>
                <a:gd name="connsiteY312" fmla="*/ 208799 h 485775"/>
                <a:gd name="connsiteX313" fmla="*/ 920728 w 923925"/>
                <a:gd name="connsiteY313" fmla="*/ 205103 h 485775"/>
                <a:gd name="connsiteX314" fmla="*/ 920728 w 923925"/>
                <a:gd name="connsiteY314" fmla="*/ 201417 h 485775"/>
                <a:gd name="connsiteX315" fmla="*/ 917042 w 923925"/>
                <a:gd name="connsiteY315" fmla="*/ 194035 h 485775"/>
                <a:gd name="connsiteX316" fmla="*/ 913356 w 923925"/>
                <a:gd name="connsiteY316" fmla="*/ 190339 h 485775"/>
                <a:gd name="connsiteX317" fmla="*/ 913356 w 923925"/>
                <a:gd name="connsiteY317" fmla="*/ 186653 h 485775"/>
                <a:gd name="connsiteX318" fmla="*/ 913356 w 923925"/>
                <a:gd name="connsiteY318" fmla="*/ 175576 h 485775"/>
                <a:gd name="connsiteX319" fmla="*/ 909660 w 923925"/>
                <a:gd name="connsiteY319" fmla="*/ 171890 h 485775"/>
                <a:gd name="connsiteX320" fmla="*/ 909660 w 923925"/>
                <a:gd name="connsiteY320" fmla="*/ 168203 h 485775"/>
                <a:gd name="connsiteX321" fmla="*/ 905974 w 923925"/>
                <a:gd name="connsiteY321" fmla="*/ 164508 h 485775"/>
                <a:gd name="connsiteX322" fmla="*/ 902287 w 923925"/>
                <a:gd name="connsiteY322" fmla="*/ 160821 h 485775"/>
                <a:gd name="connsiteX323" fmla="*/ 898592 w 923925"/>
                <a:gd name="connsiteY323" fmla="*/ 157126 h 485775"/>
                <a:gd name="connsiteX324" fmla="*/ 887524 w 923925"/>
                <a:gd name="connsiteY324" fmla="*/ 153440 h 485775"/>
                <a:gd name="connsiteX325" fmla="*/ 887524 w 923925"/>
                <a:gd name="connsiteY325" fmla="*/ 149744 h 485775"/>
                <a:gd name="connsiteX326" fmla="*/ 883838 w 923925"/>
                <a:gd name="connsiteY326" fmla="*/ 146058 h 485775"/>
                <a:gd name="connsiteX327" fmla="*/ 883838 w 923925"/>
                <a:gd name="connsiteY327" fmla="*/ 134980 h 485775"/>
                <a:gd name="connsiteX328" fmla="*/ 883838 w 923925"/>
                <a:gd name="connsiteY328" fmla="*/ 131294 h 485775"/>
                <a:gd name="connsiteX329" fmla="*/ 883838 w 923925"/>
                <a:gd name="connsiteY329" fmla="*/ 127598 h 485775"/>
                <a:gd name="connsiteX330" fmla="*/ 883838 w 923925"/>
                <a:gd name="connsiteY330" fmla="*/ 120226 h 485775"/>
                <a:gd name="connsiteX331" fmla="*/ 880151 w 923925"/>
                <a:gd name="connsiteY331" fmla="*/ 120226 h 485775"/>
                <a:gd name="connsiteX332" fmla="*/ 880151 w 923925"/>
                <a:gd name="connsiteY332" fmla="*/ 116530 h 485775"/>
                <a:gd name="connsiteX333" fmla="*/ 880151 w 923925"/>
                <a:gd name="connsiteY333" fmla="*/ 109148 h 485775"/>
                <a:gd name="connsiteX334" fmla="*/ 876456 w 923925"/>
                <a:gd name="connsiteY334" fmla="*/ 98080 h 485775"/>
                <a:gd name="connsiteX335" fmla="*/ 872769 w 923925"/>
                <a:gd name="connsiteY335" fmla="*/ 98080 h 485775"/>
                <a:gd name="connsiteX336" fmla="*/ 869083 w 923925"/>
                <a:gd name="connsiteY336" fmla="*/ 94385 h 485775"/>
                <a:gd name="connsiteX337" fmla="*/ 861701 w 923925"/>
                <a:gd name="connsiteY337" fmla="*/ 94385 h 485775"/>
                <a:gd name="connsiteX338" fmla="*/ 854319 w 923925"/>
                <a:gd name="connsiteY338" fmla="*/ 90698 h 485775"/>
                <a:gd name="connsiteX339" fmla="*/ 846947 w 923925"/>
                <a:gd name="connsiteY339" fmla="*/ 90698 h 485775"/>
                <a:gd name="connsiteX340" fmla="*/ 843252 w 923925"/>
                <a:gd name="connsiteY340" fmla="*/ 87003 h 485775"/>
                <a:gd name="connsiteX341" fmla="*/ 843252 w 923925"/>
                <a:gd name="connsiteY341" fmla="*/ 79621 h 485775"/>
                <a:gd name="connsiteX342" fmla="*/ 839565 w 923925"/>
                <a:gd name="connsiteY342" fmla="*/ 72248 h 485775"/>
                <a:gd name="connsiteX343" fmla="*/ 839565 w 923925"/>
                <a:gd name="connsiteY343" fmla="*/ 68553 h 485775"/>
                <a:gd name="connsiteX344" fmla="*/ 839565 w 923925"/>
                <a:gd name="connsiteY344" fmla="*/ 64867 h 485775"/>
                <a:gd name="connsiteX345" fmla="*/ 835879 w 923925"/>
                <a:gd name="connsiteY345" fmla="*/ 64867 h 485775"/>
                <a:gd name="connsiteX346" fmla="*/ 832193 w 923925"/>
                <a:gd name="connsiteY346" fmla="*/ 61171 h 485775"/>
                <a:gd name="connsiteX347" fmla="*/ 828497 w 923925"/>
                <a:gd name="connsiteY347" fmla="*/ 61171 h 485775"/>
                <a:gd name="connsiteX348" fmla="*/ 821125 w 923925"/>
                <a:gd name="connsiteY348" fmla="*/ 61171 h 485775"/>
                <a:gd name="connsiteX349" fmla="*/ 810057 w 923925"/>
                <a:gd name="connsiteY349" fmla="*/ 61171 h 485775"/>
                <a:gd name="connsiteX350" fmla="*/ 806361 w 923925"/>
                <a:gd name="connsiteY350" fmla="*/ 61171 h 485775"/>
                <a:gd name="connsiteX351" fmla="*/ 795293 w 923925"/>
                <a:gd name="connsiteY351" fmla="*/ 64867 h 485775"/>
                <a:gd name="connsiteX352" fmla="*/ 791607 w 923925"/>
                <a:gd name="connsiteY352" fmla="*/ 64867 h 485775"/>
                <a:gd name="connsiteX353" fmla="*/ 784225 w 923925"/>
                <a:gd name="connsiteY353" fmla="*/ 64867 h 485775"/>
                <a:gd name="connsiteX354" fmla="*/ 780539 w 923925"/>
                <a:gd name="connsiteY354" fmla="*/ 64867 h 485775"/>
                <a:gd name="connsiteX355" fmla="*/ 776853 w 923925"/>
                <a:gd name="connsiteY355" fmla="*/ 64867 h 485775"/>
                <a:gd name="connsiteX356" fmla="*/ 773157 w 923925"/>
                <a:gd name="connsiteY356" fmla="*/ 61171 h 485775"/>
                <a:gd name="connsiteX357" fmla="*/ 773157 w 923925"/>
                <a:gd name="connsiteY357" fmla="*/ 57485 h 485775"/>
                <a:gd name="connsiteX358" fmla="*/ 769471 w 923925"/>
                <a:gd name="connsiteY358" fmla="*/ 53789 h 485775"/>
                <a:gd name="connsiteX359" fmla="*/ 765785 w 923925"/>
                <a:gd name="connsiteY359" fmla="*/ 50103 h 485775"/>
                <a:gd name="connsiteX360" fmla="*/ 762098 w 923925"/>
                <a:gd name="connsiteY360" fmla="*/ 50103 h 485775"/>
                <a:gd name="connsiteX361" fmla="*/ 758403 w 923925"/>
                <a:gd name="connsiteY361" fmla="*/ 50103 h 485775"/>
                <a:gd name="connsiteX362" fmla="*/ 754717 w 923925"/>
                <a:gd name="connsiteY362" fmla="*/ 46407 h 485775"/>
                <a:gd name="connsiteX363" fmla="*/ 751030 w 923925"/>
                <a:gd name="connsiteY363" fmla="*/ 46407 h 485775"/>
                <a:gd name="connsiteX364" fmla="*/ 751030 w 923925"/>
                <a:gd name="connsiteY364" fmla="*/ 39025 h 485775"/>
                <a:gd name="connsiteX365" fmla="*/ 747335 w 923925"/>
                <a:gd name="connsiteY365" fmla="*/ 39025 h 485775"/>
                <a:gd name="connsiteX366" fmla="*/ 743649 w 923925"/>
                <a:gd name="connsiteY366" fmla="*/ 35339 h 485775"/>
                <a:gd name="connsiteX367" fmla="*/ 739962 w 923925"/>
                <a:gd name="connsiteY367" fmla="*/ 35339 h 485775"/>
                <a:gd name="connsiteX368" fmla="*/ 736267 w 923925"/>
                <a:gd name="connsiteY368" fmla="*/ 35339 h 485775"/>
                <a:gd name="connsiteX369" fmla="*/ 732581 w 923925"/>
                <a:gd name="connsiteY369" fmla="*/ 31643 h 485775"/>
                <a:gd name="connsiteX370" fmla="*/ 728894 w 923925"/>
                <a:gd name="connsiteY370" fmla="*/ 27957 h 485775"/>
                <a:gd name="connsiteX371" fmla="*/ 725199 w 923925"/>
                <a:gd name="connsiteY371" fmla="*/ 24271 h 485775"/>
                <a:gd name="connsiteX372" fmla="*/ 725199 w 923925"/>
                <a:gd name="connsiteY372" fmla="*/ 16889 h 485775"/>
                <a:gd name="connsiteX373" fmla="*/ 721512 w 923925"/>
                <a:gd name="connsiteY373" fmla="*/ 13194 h 485775"/>
                <a:gd name="connsiteX374" fmla="*/ 714131 w 923925"/>
                <a:gd name="connsiteY374" fmla="*/ 13194 h 485775"/>
                <a:gd name="connsiteX375" fmla="*/ 710444 w 923925"/>
                <a:gd name="connsiteY375" fmla="*/ 13194 h 485775"/>
                <a:gd name="connsiteX376" fmla="*/ 706758 w 923925"/>
                <a:gd name="connsiteY376" fmla="*/ 9507 h 485775"/>
                <a:gd name="connsiteX377" fmla="*/ 699376 w 923925"/>
                <a:gd name="connsiteY377" fmla="*/ 5812 h 485775"/>
                <a:gd name="connsiteX378" fmla="*/ 695690 w 923925"/>
                <a:gd name="connsiteY378" fmla="*/ 5812 h 485775"/>
                <a:gd name="connsiteX379" fmla="*/ 692004 w 923925"/>
                <a:gd name="connsiteY379" fmla="*/ 5812 h 485775"/>
                <a:gd name="connsiteX380" fmla="*/ 684622 w 923925"/>
                <a:gd name="connsiteY380" fmla="*/ 5812 h 485775"/>
                <a:gd name="connsiteX381" fmla="*/ 680936 w 923925"/>
                <a:gd name="connsiteY381" fmla="*/ 5812 h 485775"/>
                <a:gd name="connsiteX382" fmla="*/ 677240 w 923925"/>
                <a:gd name="connsiteY382" fmla="*/ 9507 h 485775"/>
                <a:gd name="connsiteX383" fmla="*/ 677240 w 923925"/>
                <a:gd name="connsiteY383" fmla="*/ 13194 h 485775"/>
                <a:gd name="connsiteX384" fmla="*/ 673554 w 923925"/>
                <a:gd name="connsiteY384" fmla="*/ 16889 h 485775"/>
                <a:gd name="connsiteX385" fmla="*/ 669868 w 923925"/>
                <a:gd name="connsiteY385" fmla="*/ 16889 h 485775"/>
                <a:gd name="connsiteX386" fmla="*/ 666172 w 923925"/>
                <a:gd name="connsiteY386" fmla="*/ 13194 h 485775"/>
                <a:gd name="connsiteX387" fmla="*/ 662486 w 923925"/>
                <a:gd name="connsiteY387" fmla="*/ 13194 h 485775"/>
                <a:gd name="connsiteX388" fmla="*/ 658800 w 923925"/>
                <a:gd name="connsiteY388" fmla="*/ 13194 h 485775"/>
                <a:gd name="connsiteX389" fmla="*/ 658800 w 923925"/>
                <a:gd name="connsiteY389" fmla="*/ 9507 h 485775"/>
                <a:gd name="connsiteX390" fmla="*/ 655104 w 923925"/>
                <a:gd name="connsiteY390" fmla="*/ 5812 h 485775"/>
                <a:gd name="connsiteX391" fmla="*/ 651418 w 923925"/>
                <a:gd name="connsiteY391" fmla="*/ 5812 h 485775"/>
                <a:gd name="connsiteX392" fmla="*/ 647732 w 923925"/>
                <a:gd name="connsiteY392" fmla="*/ 5812 h 485775"/>
                <a:gd name="connsiteX393" fmla="*/ 644036 w 923925"/>
                <a:gd name="connsiteY393" fmla="*/ 5812 h 485775"/>
                <a:gd name="connsiteX394" fmla="*/ 644036 w 923925"/>
                <a:gd name="connsiteY394" fmla="*/ 9507 h 485775"/>
                <a:gd name="connsiteX395" fmla="*/ 640350 w 923925"/>
                <a:gd name="connsiteY395" fmla="*/ 16889 h 485775"/>
                <a:gd name="connsiteX396" fmla="*/ 636664 w 923925"/>
                <a:gd name="connsiteY396" fmla="*/ 20575 h 485775"/>
                <a:gd name="connsiteX397" fmla="*/ 629282 w 923925"/>
                <a:gd name="connsiteY397" fmla="*/ 20575 h 485775"/>
                <a:gd name="connsiteX398" fmla="*/ 621910 w 923925"/>
                <a:gd name="connsiteY398" fmla="*/ 20575 h 485775"/>
                <a:gd name="connsiteX399" fmla="*/ 618214 w 923925"/>
                <a:gd name="connsiteY399" fmla="*/ 20575 h 485775"/>
                <a:gd name="connsiteX400" fmla="*/ 614528 w 923925"/>
                <a:gd name="connsiteY400" fmla="*/ 16889 h 485775"/>
                <a:gd name="connsiteX401" fmla="*/ 610841 w 923925"/>
                <a:gd name="connsiteY401" fmla="*/ 13194 h 485775"/>
                <a:gd name="connsiteX402" fmla="*/ 610841 w 923925"/>
                <a:gd name="connsiteY402" fmla="*/ 9507 h 485775"/>
                <a:gd name="connsiteX403" fmla="*/ 607146 w 923925"/>
                <a:gd name="connsiteY403" fmla="*/ 9507 h 485775"/>
                <a:gd name="connsiteX404" fmla="*/ 603460 w 923925"/>
                <a:gd name="connsiteY404" fmla="*/ 13194 h 485775"/>
                <a:gd name="connsiteX405" fmla="*/ 603460 w 923925"/>
                <a:gd name="connsiteY405" fmla="*/ 16889 h 485775"/>
                <a:gd name="connsiteX406" fmla="*/ 599773 w 923925"/>
                <a:gd name="connsiteY406" fmla="*/ 20575 h 485775"/>
                <a:gd name="connsiteX407" fmla="*/ 596078 w 923925"/>
                <a:gd name="connsiteY407" fmla="*/ 24271 h 485775"/>
                <a:gd name="connsiteX408" fmla="*/ 588705 w 923925"/>
                <a:gd name="connsiteY408" fmla="*/ 35339 h 485775"/>
                <a:gd name="connsiteX409" fmla="*/ 588705 w 923925"/>
                <a:gd name="connsiteY409" fmla="*/ 39025 h 485775"/>
                <a:gd name="connsiteX410" fmla="*/ 585010 w 923925"/>
                <a:gd name="connsiteY410" fmla="*/ 46407 h 485775"/>
                <a:gd name="connsiteX411" fmla="*/ 585010 w 923925"/>
                <a:gd name="connsiteY411" fmla="*/ 53789 h 485775"/>
                <a:gd name="connsiteX412" fmla="*/ 585010 w 923925"/>
                <a:gd name="connsiteY412" fmla="*/ 61171 h 485775"/>
                <a:gd name="connsiteX413" fmla="*/ 581323 w 923925"/>
                <a:gd name="connsiteY413" fmla="*/ 61171 h 485775"/>
                <a:gd name="connsiteX414" fmla="*/ 581323 w 923925"/>
                <a:gd name="connsiteY414" fmla="*/ 64867 h 485775"/>
                <a:gd name="connsiteX415" fmla="*/ 562874 w 923925"/>
                <a:gd name="connsiteY415" fmla="*/ 72248 h 485775"/>
                <a:gd name="connsiteX416" fmla="*/ 555501 w 923925"/>
                <a:gd name="connsiteY416" fmla="*/ 75935 h 485775"/>
                <a:gd name="connsiteX417" fmla="*/ 555501 w 923925"/>
                <a:gd name="connsiteY417" fmla="*/ 79621 h 485775"/>
                <a:gd name="connsiteX418" fmla="*/ 551815 w 923925"/>
                <a:gd name="connsiteY418" fmla="*/ 79621 h 485775"/>
                <a:gd name="connsiteX419" fmla="*/ 544433 w 923925"/>
                <a:gd name="connsiteY419" fmla="*/ 75935 h 485775"/>
                <a:gd name="connsiteX420" fmla="*/ 537051 w 923925"/>
                <a:gd name="connsiteY420" fmla="*/ 75935 h 485775"/>
                <a:gd name="connsiteX421" fmla="*/ 533365 w 923925"/>
                <a:gd name="connsiteY421" fmla="*/ 79621 h 485775"/>
                <a:gd name="connsiteX422" fmla="*/ 529675 w 923925"/>
                <a:gd name="connsiteY422" fmla="*/ 83317 h 485775"/>
                <a:gd name="connsiteX423" fmla="*/ 525986 w 923925"/>
                <a:gd name="connsiteY423" fmla="*/ 79621 h 485775"/>
                <a:gd name="connsiteX424" fmla="*/ 518608 w 923925"/>
                <a:gd name="connsiteY424" fmla="*/ 75935 h 485775"/>
                <a:gd name="connsiteX425" fmla="*/ 514919 w 923925"/>
                <a:gd name="connsiteY425" fmla="*/ 72248 h 485775"/>
                <a:gd name="connsiteX426" fmla="*/ 511230 w 923925"/>
                <a:gd name="connsiteY426" fmla="*/ 75935 h 485775"/>
                <a:gd name="connsiteX427" fmla="*/ 507540 w 923925"/>
                <a:gd name="connsiteY427" fmla="*/ 75935 h 485775"/>
                <a:gd name="connsiteX428" fmla="*/ 503851 w 923925"/>
                <a:gd name="connsiteY428" fmla="*/ 75935 h 485775"/>
                <a:gd name="connsiteX429" fmla="*/ 496473 w 923925"/>
                <a:gd name="connsiteY429" fmla="*/ 75935 h 485775"/>
                <a:gd name="connsiteX430" fmla="*/ 492784 w 923925"/>
                <a:gd name="connsiteY430" fmla="*/ 75935 h 485775"/>
                <a:gd name="connsiteX431" fmla="*/ 485405 w 923925"/>
                <a:gd name="connsiteY431" fmla="*/ 75935 h 485775"/>
                <a:gd name="connsiteX432" fmla="*/ 478027 w 923925"/>
                <a:gd name="connsiteY432" fmla="*/ 75935 h 485775"/>
                <a:gd name="connsiteX433" fmla="*/ 470649 w 923925"/>
                <a:gd name="connsiteY433" fmla="*/ 79621 h 485775"/>
                <a:gd name="connsiteX434" fmla="*/ 466960 w 923925"/>
                <a:gd name="connsiteY434" fmla="*/ 75935 h 485775"/>
                <a:gd name="connsiteX435" fmla="*/ 466960 w 923925"/>
                <a:gd name="connsiteY435" fmla="*/ 72248 h 485775"/>
                <a:gd name="connsiteX436" fmla="*/ 470649 w 923925"/>
                <a:gd name="connsiteY436" fmla="*/ 72248 h 485775"/>
                <a:gd name="connsiteX437" fmla="*/ 474338 w 923925"/>
                <a:gd name="connsiteY437" fmla="*/ 68553 h 485775"/>
                <a:gd name="connsiteX438" fmla="*/ 478027 w 923925"/>
                <a:gd name="connsiteY438" fmla="*/ 64867 h 485775"/>
                <a:gd name="connsiteX439" fmla="*/ 474338 w 923925"/>
                <a:gd name="connsiteY439" fmla="*/ 61171 h 485775"/>
                <a:gd name="connsiteX440" fmla="*/ 474338 w 923925"/>
                <a:gd name="connsiteY440" fmla="*/ 57485 h 485775"/>
                <a:gd name="connsiteX441" fmla="*/ 474338 w 923925"/>
                <a:gd name="connsiteY441" fmla="*/ 53789 h 485775"/>
                <a:gd name="connsiteX442" fmla="*/ 474338 w 923925"/>
                <a:gd name="connsiteY442" fmla="*/ 50103 h 485775"/>
                <a:gd name="connsiteX443" fmla="*/ 463271 w 923925"/>
                <a:gd name="connsiteY443" fmla="*/ 46407 h 485775"/>
                <a:gd name="connsiteX444" fmla="*/ 459581 w 923925"/>
                <a:gd name="connsiteY444" fmla="*/ 42721 h 485775"/>
                <a:gd name="connsiteX445" fmla="*/ 455892 w 923925"/>
                <a:gd name="connsiteY445" fmla="*/ 39025 h 485775"/>
                <a:gd name="connsiteX446" fmla="*/ 452203 w 923925"/>
                <a:gd name="connsiteY446" fmla="*/ 39025 h 485775"/>
                <a:gd name="connsiteX447" fmla="*/ 448514 w 923925"/>
                <a:gd name="connsiteY447" fmla="*/ 42721 h 485775"/>
                <a:gd name="connsiteX448" fmla="*/ 444825 w 923925"/>
                <a:gd name="connsiteY448" fmla="*/ 46407 h 485775"/>
                <a:gd name="connsiteX449" fmla="*/ 441136 w 923925"/>
                <a:gd name="connsiteY449" fmla="*/ 46407 h 485775"/>
                <a:gd name="connsiteX450" fmla="*/ 441136 w 923925"/>
                <a:gd name="connsiteY450" fmla="*/ 42721 h 485775"/>
                <a:gd name="connsiteX451" fmla="*/ 437445 w 923925"/>
                <a:gd name="connsiteY451" fmla="*/ 42721 h 485775"/>
                <a:gd name="connsiteX452" fmla="*/ 437445 w 923925"/>
                <a:gd name="connsiteY452" fmla="*/ 39025 h 485775"/>
                <a:gd name="connsiteX453" fmla="*/ 433756 w 923925"/>
                <a:gd name="connsiteY453" fmla="*/ 35339 h 485775"/>
                <a:gd name="connsiteX454" fmla="*/ 433756 w 923925"/>
                <a:gd name="connsiteY454" fmla="*/ 31643 h 485775"/>
                <a:gd name="connsiteX455" fmla="*/ 430067 w 923925"/>
                <a:gd name="connsiteY455" fmla="*/ 31643 h 485775"/>
                <a:gd name="connsiteX456" fmla="*/ 426378 w 923925"/>
                <a:gd name="connsiteY456" fmla="*/ 27957 h 485775"/>
                <a:gd name="connsiteX457" fmla="*/ 419000 w 923925"/>
                <a:gd name="connsiteY457" fmla="*/ 24271 h 485775"/>
                <a:gd name="connsiteX458" fmla="*/ 415310 w 923925"/>
                <a:gd name="connsiteY458" fmla="*/ 20575 h 485775"/>
                <a:gd name="connsiteX459" fmla="*/ 411621 w 923925"/>
                <a:gd name="connsiteY459" fmla="*/ 20575 h 485775"/>
                <a:gd name="connsiteX460" fmla="*/ 411621 w 923925"/>
                <a:gd name="connsiteY460" fmla="*/ 16889 h 485775"/>
                <a:gd name="connsiteX461" fmla="*/ 411621 w 923925"/>
                <a:gd name="connsiteY461" fmla="*/ 13194 h 485775"/>
                <a:gd name="connsiteX462" fmla="*/ 407932 w 923925"/>
                <a:gd name="connsiteY462" fmla="*/ 13194 h 485775"/>
                <a:gd name="connsiteX463" fmla="*/ 400554 w 923925"/>
                <a:gd name="connsiteY463" fmla="*/ 13194 h 485775"/>
                <a:gd name="connsiteX464" fmla="*/ 396865 w 923925"/>
                <a:gd name="connsiteY464" fmla="*/ 9507 h 485775"/>
                <a:gd name="connsiteX465" fmla="*/ 393175 w 923925"/>
                <a:gd name="connsiteY465" fmla="*/ 9507 h 485775"/>
                <a:gd name="connsiteX466" fmla="*/ 385797 w 923925"/>
                <a:gd name="connsiteY466" fmla="*/ 9507 h 485775"/>
                <a:gd name="connsiteX467" fmla="*/ 378419 w 923925"/>
                <a:gd name="connsiteY467" fmla="*/ 5812 h 485775"/>
                <a:gd name="connsiteX468" fmla="*/ 374730 w 923925"/>
                <a:gd name="connsiteY468" fmla="*/ 5812 h 485775"/>
                <a:gd name="connsiteX469" fmla="*/ 371041 w 923925"/>
                <a:gd name="connsiteY469" fmla="*/ 5812 h 485775"/>
                <a:gd name="connsiteX470" fmla="*/ 363662 w 923925"/>
                <a:gd name="connsiteY470" fmla="*/ 5812 h 485775"/>
                <a:gd name="connsiteX471" fmla="*/ 367351 w 923925"/>
                <a:gd name="connsiteY471" fmla="*/ 349036 h 485775"/>
                <a:gd name="connsiteX472" fmla="*/ 363662 w 923925"/>
                <a:gd name="connsiteY472" fmla="*/ 349036 h 485775"/>
                <a:gd name="connsiteX473" fmla="*/ 359973 w 923925"/>
                <a:gd name="connsiteY473" fmla="*/ 349036 h 485775"/>
                <a:gd name="connsiteX474" fmla="*/ 363662 w 923925"/>
                <a:gd name="connsiteY474" fmla="*/ 352731 h 485775"/>
                <a:gd name="connsiteX475" fmla="*/ 367351 w 923925"/>
                <a:gd name="connsiteY475" fmla="*/ 349036 h 485775"/>
                <a:gd name="connsiteX476" fmla="*/ 363662 w 923925"/>
                <a:gd name="connsiteY476" fmla="*/ 308440 h 485775"/>
                <a:gd name="connsiteX477" fmla="*/ 367351 w 923925"/>
                <a:gd name="connsiteY477" fmla="*/ 308440 h 485775"/>
                <a:gd name="connsiteX478" fmla="*/ 367351 w 923925"/>
                <a:gd name="connsiteY478" fmla="*/ 312136 h 485775"/>
                <a:gd name="connsiteX479" fmla="*/ 371041 w 923925"/>
                <a:gd name="connsiteY479" fmla="*/ 315822 h 485775"/>
                <a:gd name="connsiteX480" fmla="*/ 374730 w 923925"/>
                <a:gd name="connsiteY480" fmla="*/ 315822 h 485775"/>
                <a:gd name="connsiteX481" fmla="*/ 374730 w 923925"/>
                <a:gd name="connsiteY481" fmla="*/ 319508 h 485775"/>
                <a:gd name="connsiteX482" fmla="*/ 374730 w 923925"/>
                <a:gd name="connsiteY482" fmla="*/ 323204 h 485775"/>
                <a:gd name="connsiteX483" fmla="*/ 371041 w 923925"/>
                <a:gd name="connsiteY483" fmla="*/ 323204 h 485775"/>
                <a:gd name="connsiteX484" fmla="*/ 367351 w 923925"/>
                <a:gd name="connsiteY484" fmla="*/ 319508 h 485775"/>
                <a:gd name="connsiteX485" fmla="*/ 363662 w 923925"/>
                <a:gd name="connsiteY485" fmla="*/ 319508 h 485775"/>
                <a:gd name="connsiteX486" fmla="*/ 367351 w 923925"/>
                <a:gd name="connsiteY486" fmla="*/ 315822 h 485775"/>
                <a:gd name="connsiteX487" fmla="*/ 363662 w 923925"/>
                <a:gd name="connsiteY487" fmla="*/ 312136 h 485775"/>
                <a:gd name="connsiteX488" fmla="*/ 363662 w 923925"/>
                <a:gd name="connsiteY488" fmla="*/ 308440 h 485775"/>
                <a:gd name="connsiteX489" fmla="*/ 371041 w 923925"/>
                <a:gd name="connsiteY489" fmla="*/ 308440 h 485775"/>
                <a:gd name="connsiteX490" fmla="*/ 374730 w 923925"/>
                <a:gd name="connsiteY490" fmla="*/ 312136 h 485775"/>
                <a:gd name="connsiteX491" fmla="*/ 371041 w 923925"/>
                <a:gd name="connsiteY491" fmla="*/ 312136 h 485775"/>
                <a:gd name="connsiteX492" fmla="*/ 371041 w 923925"/>
                <a:gd name="connsiteY492" fmla="*/ 308440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Lst>
              <a:rect l="l" t="t" r="r" b="b"/>
              <a:pathLst>
                <a:path w="923925" h="485775">
                  <a:moveTo>
                    <a:pt x="363662" y="5812"/>
                  </a:moveTo>
                  <a:lnTo>
                    <a:pt x="359973" y="9507"/>
                  </a:lnTo>
                  <a:lnTo>
                    <a:pt x="352595" y="13194"/>
                  </a:lnTo>
                  <a:lnTo>
                    <a:pt x="348906" y="13194"/>
                  </a:lnTo>
                  <a:lnTo>
                    <a:pt x="341527" y="24271"/>
                  </a:lnTo>
                  <a:lnTo>
                    <a:pt x="337838" y="24271"/>
                  </a:lnTo>
                  <a:lnTo>
                    <a:pt x="330460" y="27957"/>
                  </a:lnTo>
                  <a:lnTo>
                    <a:pt x="326771" y="27957"/>
                  </a:lnTo>
                  <a:lnTo>
                    <a:pt x="319392" y="27957"/>
                  </a:lnTo>
                  <a:lnTo>
                    <a:pt x="312014" y="27957"/>
                  </a:lnTo>
                  <a:lnTo>
                    <a:pt x="304636" y="27957"/>
                  </a:lnTo>
                  <a:lnTo>
                    <a:pt x="297257" y="31643"/>
                  </a:lnTo>
                  <a:lnTo>
                    <a:pt x="293568" y="31643"/>
                  </a:lnTo>
                  <a:lnTo>
                    <a:pt x="289878" y="35339"/>
                  </a:lnTo>
                  <a:lnTo>
                    <a:pt x="289878" y="39025"/>
                  </a:lnTo>
                  <a:lnTo>
                    <a:pt x="286189" y="42721"/>
                  </a:lnTo>
                  <a:lnTo>
                    <a:pt x="282500" y="46407"/>
                  </a:lnTo>
                  <a:lnTo>
                    <a:pt x="278811" y="57485"/>
                  </a:lnTo>
                  <a:lnTo>
                    <a:pt x="275121" y="61171"/>
                  </a:lnTo>
                  <a:lnTo>
                    <a:pt x="271432" y="68553"/>
                  </a:lnTo>
                  <a:lnTo>
                    <a:pt x="260365" y="75935"/>
                  </a:lnTo>
                  <a:lnTo>
                    <a:pt x="252986" y="79621"/>
                  </a:lnTo>
                  <a:lnTo>
                    <a:pt x="249297" y="83317"/>
                  </a:lnTo>
                  <a:lnTo>
                    <a:pt x="245608" y="87003"/>
                  </a:lnTo>
                  <a:lnTo>
                    <a:pt x="230851" y="90698"/>
                  </a:lnTo>
                  <a:lnTo>
                    <a:pt x="230851" y="94385"/>
                  </a:lnTo>
                  <a:lnTo>
                    <a:pt x="223473" y="98080"/>
                  </a:lnTo>
                  <a:lnTo>
                    <a:pt x="219784" y="101766"/>
                  </a:lnTo>
                  <a:lnTo>
                    <a:pt x="216095" y="101766"/>
                  </a:lnTo>
                  <a:lnTo>
                    <a:pt x="212406" y="105462"/>
                  </a:lnTo>
                  <a:lnTo>
                    <a:pt x="208717" y="109148"/>
                  </a:lnTo>
                  <a:lnTo>
                    <a:pt x="179203" y="116530"/>
                  </a:lnTo>
                  <a:lnTo>
                    <a:pt x="175514" y="116530"/>
                  </a:lnTo>
                  <a:lnTo>
                    <a:pt x="171825" y="116530"/>
                  </a:lnTo>
                  <a:lnTo>
                    <a:pt x="160757" y="120226"/>
                  </a:lnTo>
                  <a:lnTo>
                    <a:pt x="153379" y="120226"/>
                  </a:lnTo>
                  <a:lnTo>
                    <a:pt x="142311" y="116530"/>
                  </a:lnTo>
                  <a:lnTo>
                    <a:pt x="138621" y="112844"/>
                  </a:lnTo>
                  <a:lnTo>
                    <a:pt x="134932" y="112844"/>
                  </a:lnTo>
                  <a:lnTo>
                    <a:pt x="131243" y="109148"/>
                  </a:lnTo>
                  <a:lnTo>
                    <a:pt x="127554" y="109148"/>
                  </a:lnTo>
                  <a:lnTo>
                    <a:pt x="120176" y="109148"/>
                  </a:lnTo>
                  <a:lnTo>
                    <a:pt x="116487" y="112844"/>
                  </a:lnTo>
                  <a:lnTo>
                    <a:pt x="109108" y="116530"/>
                  </a:lnTo>
                  <a:lnTo>
                    <a:pt x="105419" y="120226"/>
                  </a:lnTo>
                  <a:lnTo>
                    <a:pt x="105419" y="123912"/>
                  </a:lnTo>
                  <a:lnTo>
                    <a:pt x="101730" y="131294"/>
                  </a:lnTo>
                  <a:lnTo>
                    <a:pt x="98041" y="134980"/>
                  </a:lnTo>
                  <a:lnTo>
                    <a:pt x="94352" y="138676"/>
                  </a:lnTo>
                  <a:lnTo>
                    <a:pt x="90662" y="142362"/>
                  </a:lnTo>
                  <a:lnTo>
                    <a:pt x="83284" y="146058"/>
                  </a:lnTo>
                  <a:lnTo>
                    <a:pt x="79595" y="146058"/>
                  </a:lnTo>
                  <a:lnTo>
                    <a:pt x="75906" y="149744"/>
                  </a:lnTo>
                  <a:lnTo>
                    <a:pt x="72217" y="149744"/>
                  </a:lnTo>
                  <a:lnTo>
                    <a:pt x="72217" y="146058"/>
                  </a:lnTo>
                  <a:lnTo>
                    <a:pt x="68527" y="146058"/>
                  </a:lnTo>
                  <a:lnTo>
                    <a:pt x="64838" y="149744"/>
                  </a:lnTo>
                  <a:lnTo>
                    <a:pt x="57460" y="149744"/>
                  </a:lnTo>
                  <a:lnTo>
                    <a:pt x="53771" y="149744"/>
                  </a:lnTo>
                  <a:lnTo>
                    <a:pt x="50082" y="153440"/>
                  </a:lnTo>
                  <a:lnTo>
                    <a:pt x="46393" y="153440"/>
                  </a:lnTo>
                  <a:lnTo>
                    <a:pt x="42703" y="153440"/>
                  </a:lnTo>
                  <a:lnTo>
                    <a:pt x="39014" y="160821"/>
                  </a:lnTo>
                  <a:lnTo>
                    <a:pt x="35325" y="160821"/>
                  </a:lnTo>
                  <a:lnTo>
                    <a:pt x="35325" y="157126"/>
                  </a:lnTo>
                  <a:lnTo>
                    <a:pt x="31636" y="157126"/>
                  </a:lnTo>
                  <a:lnTo>
                    <a:pt x="27947" y="157126"/>
                  </a:lnTo>
                  <a:lnTo>
                    <a:pt x="16879" y="160821"/>
                  </a:lnTo>
                  <a:lnTo>
                    <a:pt x="13190" y="164508"/>
                  </a:lnTo>
                  <a:lnTo>
                    <a:pt x="9501" y="168203"/>
                  </a:lnTo>
                  <a:lnTo>
                    <a:pt x="5812" y="175576"/>
                  </a:lnTo>
                  <a:lnTo>
                    <a:pt x="5812" y="179271"/>
                  </a:lnTo>
                  <a:lnTo>
                    <a:pt x="5812" y="186653"/>
                  </a:lnTo>
                  <a:lnTo>
                    <a:pt x="5812" y="190339"/>
                  </a:lnTo>
                  <a:lnTo>
                    <a:pt x="9501" y="194035"/>
                  </a:lnTo>
                  <a:lnTo>
                    <a:pt x="24258" y="212485"/>
                  </a:lnTo>
                  <a:lnTo>
                    <a:pt x="24258" y="219867"/>
                  </a:lnTo>
                  <a:lnTo>
                    <a:pt x="27947" y="223553"/>
                  </a:lnTo>
                  <a:lnTo>
                    <a:pt x="27947" y="227249"/>
                  </a:lnTo>
                  <a:lnTo>
                    <a:pt x="24258" y="234631"/>
                  </a:lnTo>
                  <a:lnTo>
                    <a:pt x="20568" y="245699"/>
                  </a:lnTo>
                  <a:lnTo>
                    <a:pt x="16879" y="253081"/>
                  </a:lnTo>
                  <a:lnTo>
                    <a:pt x="16879" y="256776"/>
                  </a:lnTo>
                  <a:lnTo>
                    <a:pt x="24258" y="271531"/>
                  </a:lnTo>
                  <a:lnTo>
                    <a:pt x="39014" y="312136"/>
                  </a:lnTo>
                  <a:lnTo>
                    <a:pt x="46393" y="323204"/>
                  </a:lnTo>
                  <a:lnTo>
                    <a:pt x="39014" y="326890"/>
                  </a:lnTo>
                  <a:lnTo>
                    <a:pt x="39014" y="330585"/>
                  </a:lnTo>
                  <a:lnTo>
                    <a:pt x="42703" y="341654"/>
                  </a:lnTo>
                  <a:lnTo>
                    <a:pt x="39014" y="352731"/>
                  </a:lnTo>
                  <a:lnTo>
                    <a:pt x="39014" y="356417"/>
                  </a:lnTo>
                  <a:lnTo>
                    <a:pt x="42703" y="356417"/>
                  </a:lnTo>
                  <a:lnTo>
                    <a:pt x="46393" y="360113"/>
                  </a:lnTo>
                  <a:lnTo>
                    <a:pt x="72217" y="360113"/>
                  </a:lnTo>
                  <a:lnTo>
                    <a:pt x="72217" y="363799"/>
                  </a:lnTo>
                  <a:lnTo>
                    <a:pt x="75906" y="367485"/>
                  </a:lnTo>
                  <a:lnTo>
                    <a:pt x="75906" y="378563"/>
                  </a:lnTo>
                  <a:lnTo>
                    <a:pt x="79595" y="374867"/>
                  </a:lnTo>
                  <a:lnTo>
                    <a:pt x="90662" y="378563"/>
                  </a:lnTo>
                  <a:lnTo>
                    <a:pt x="94352" y="378563"/>
                  </a:lnTo>
                  <a:lnTo>
                    <a:pt x="98041" y="378563"/>
                  </a:lnTo>
                  <a:lnTo>
                    <a:pt x="101730" y="378563"/>
                  </a:lnTo>
                  <a:lnTo>
                    <a:pt x="105419" y="378563"/>
                  </a:lnTo>
                  <a:lnTo>
                    <a:pt x="109108" y="374867"/>
                  </a:lnTo>
                  <a:lnTo>
                    <a:pt x="116487" y="371181"/>
                  </a:lnTo>
                  <a:lnTo>
                    <a:pt x="120176" y="371181"/>
                  </a:lnTo>
                  <a:lnTo>
                    <a:pt x="120176" y="367485"/>
                  </a:lnTo>
                  <a:lnTo>
                    <a:pt x="120176" y="363799"/>
                  </a:lnTo>
                  <a:lnTo>
                    <a:pt x="101730" y="337967"/>
                  </a:lnTo>
                  <a:lnTo>
                    <a:pt x="98041" y="326890"/>
                  </a:lnTo>
                  <a:lnTo>
                    <a:pt x="101730" y="323204"/>
                  </a:lnTo>
                  <a:lnTo>
                    <a:pt x="105419" y="323204"/>
                  </a:lnTo>
                  <a:lnTo>
                    <a:pt x="105419" y="319508"/>
                  </a:lnTo>
                  <a:lnTo>
                    <a:pt x="105419" y="315822"/>
                  </a:lnTo>
                  <a:lnTo>
                    <a:pt x="105419" y="312136"/>
                  </a:lnTo>
                  <a:lnTo>
                    <a:pt x="105419" y="308440"/>
                  </a:lnTo>
                  <a:lnTo>
                    <a:pt x="101730" y="308440"/>
                  </a:lnTo>
                  <a:lnTo>
                    <a:pt x="98041" y="304754"/>
                  </a:lnTo>
                  <a:lnTo>
                    <a:pt x="101730" y="301058"/>
                  </a:lnTo>
                  <a:lnTo>
                    <a:pt x="127554" y="289990"/>
                  </a:lnTo>
                  <a:lnTo>
                    <a:pt x="134932" y="289990"/>
                  </a:lnTo>
                  <a:lnTo>
                    <a:pt x="138621" y="286294"/>
                  </a:lnTo>
                  <a:lnTo>
                    <a:pt x="142311" y="282608"/>
                  </a:lnTo>
                  <a:lnTo>
                    <a:pt x="146000" y="282608"/>
                  </a:lnTo>
                  <a:lnTo>
                    <a:pt x="149690" y="282608"/>
                  </a:lnTo>
                  <a:lnTo>
                    <a:pt x="175514" y="278912"/>
                  </a:lnTo>
                  <a:lnTo>
                    <a:pt x="179203" y="286294"/>
                  </a:lnTo>
                  <a:lnTo>
                    <a:pt x="171825" y="304754"/>
                  </a:lnTo>
                  <a:lnTo>
                    <a:pt x="175514" y="326890"/>
                  </a:lnTo>
                  <a:lnTo>
                    <a:pt x="193960" y="319508"/>
                  </a:lnTo>
                  <a:lnTo>
                    <a:pt x="197649" y="319508"/>
                  </a:lnTo>
                  <a:lnTo>
                    <a:pt x="205027" y="319508"/>
                  </a:lnTo>
                  <a:lnTo>
                    <a:pt x="219784" y="323204"/>
                  </a:lnTo>
                  <a:lnTo>
                    <a:pt x="227162" y="326890"/>
                  </a:lnTo>
                  <a:lnTo>
                    <a:pt x="230851" y="326890"/>
                  </a:lnTo>
                  <a:lnTo>
                    <a:pt x="230851" y="323204"/>
                  </a:lnTo>
                  <a:lnTo>
                    <a:pt x="234541" y="326890"/>
                  </a:lnTo>
                  <a:lnTo>
                    <a:pt x="241919" y="323204"/>
                  </a:lnTo>
                  <a:lnTo>
                    <a:pt x="238230" y="308440"/>
                  </a:lnTo>
                  <a:lnTo>
                    <a:pt x="249297" y="304754"/>
                  </a:lnTo>
                  <a:lnTo>
                    <a:pt x="252986" y="304754"/>
                  </a:lnTo>
                  <a:lnTo>
                    <a:pt x="256676" y="293676"/>
                  </a:lnTo>
                  <a:lnTo>
                    <a:pt x="264054" y="289990"/>
                  </a:lnTo>
                  <a:lnTo>
                    <a:pt x="267743" y="286294"/>
                  </a:lnTo>
                  <a:lnTo>
                    <a:pt x="271432" y="278912"/>
                  </a:lnTo>
                  <a:lnTo>
                    <a:pt x="278811" y="275226"/>
                  </a:lnTo>
                  <a:lnTo>
                    <a:pt x="282500" y="271531"/>
                  </a:lnTo>
                  <a:lnTo>
                    <a:pt x="278811" y="267844"/>
                  </a:lnTo>
                  <a:lnTo>
                    <a:pt x="282500" y="267844"/>
                  </a:lnTo>
                  <a:lnTo>
                    <a:pt x="286189" y="267844"/>
                  </a:lnTo>
                  <a:lnTo>
                    <a:pt x="286189" y="264158"/>
                  </a:lnTo>
                  <a:lnTo>
                    <a:pt x="293568" y="260462"/>
                  </a:lnTo>
                  <a:lnTo>
                    <a:pt x="297257" y="264158"/>
                  </a:lnTo>
                  <a:lnTo>
                    <a:pt x="297257" y="267844"/>
                  </a:lnTo>
                  <a:lnTo>
                    <a:pt x="300946" y="267844"/>
                  </a:lnTo>
                  <a:lnTo>
                    <a:pt x="304636" y="267844"/>
                  </a:lnTo>
                  <a:lnTo>
                    <a:pt x="312014" y="271531"/>
                  </a:lnTo>
                  <a:lnTo>
                    <a:pt x="315703" y="271531"/>
                  </a:lnTo>
                  <a:lnTo>
                    <a:pt x="315703" y="275226"/>
                  </a:lnTo>
                  <a:lnTo>
                    <a:pt x="315703" y="278912"/>
                  </a:lnTo>
                  <a:lnTo>
                    <a:pt x="319392" y="282608"/>
                  </a:lnTo>
                  <a:lnTo>
                    <a:pt x="323081" y="278912"/>
                  </a:lnTo>
                  <a:lnTo>
                    <a:pt x="326771" y="282608"/>
                  </a:lnTo>
                  <a:lnTo>
                    <a:pt x="323081" y="289990"/>
                  </a:lnTo>
                  <a:lnTo>
                    <a:pt x="323081" y="297372"/>
                  </a:lnTo>
                  <a:lnTo>
                    <a:pt x="326771" y="297372"/>
                  </a:lnTo>
                  <a:lnTo>
                    <a:pt x="326771" y="301058"/>
                  </a:lnTo>
                  <a:lnTo>
                    <a:pt x="323081" y="301058"/>
                  </a:lnTo>
                  <a:lnTo>
                    <a:pt x="319392" y="304754"/>
                  </a:lnTo>
                  <a:lnTo>
                    <a:pt x="315703" y="308440"/>
                  </a:lnTo>
                  <a:lnTo>
                    <a:pt x="319392" y="323204"/>
                  </a:lnTo>
                  <a:lnTo>
                    <a:pt x="319392" y="326890"/>
                  </a:lnTo>
                  <a:lnTo>
                    <a:pt x="323081" y="326890"/>
                  </a:lnTo>
                  <a:lnTo>
                    <a:pt x="326771" y="326890"/>
                  </a:lnTo>
                  <a:lnTo>
                    <a:pt x="326771" y="330585"/>
                  </a:lnTo>
                  <a:lnTo>
                    <a:pt x="323081" y="330585"/>
                  </a:lnTo>
                  <a:lnTo>
                    <a:pt x="312014" y="326890"/>
                  </a:lnTo>
                  <a:lnTo>
                    <a:pt x="308325" y="323204"/>
                  </a:lnTo>
                  <a:lnTo>
                    <a:pt x="300946" y="323204"/>
                  </a:lnTo>
                  <a:lnTo>
                    <a:pt x="300946" y="319508"/>
                  </a:lnTo>
                  <a:lnTo>
                    <a:pt x="297257" y="319508"/>
                  </a:lnTo>
                  <a:lnTo>
                    <a:pt x="289878" y="323204"/>
                  </a:lnTo>
                  <a:lnTo>
                    <a:pt x="289878" y="326890"/>
                  </a:lnTo>
                  <a:lnTo>
                    <a:pt x="289878" y="330585"/>
                  </a:lnTo>
                  <a:lnTo>
                    <a:pt x="293568" y="334272"/>
                  </a:lnTo>
                  <a:lnTo>
                    <a:pt x="300946" y="337967"/>
                  </a:lnTo>
                  <a:lnTo>
                    <a:pt x="304636" y="337967"/>
                  </a:lnTo>
                  <a:lnTo>
                    <a:pt x="315703" y="334272"/>
                  </a:lnTo>
                  <a:lnTo>
                    <a:pt x="323081" y="334272"/>
                  </a:lnTo>
                  <a:lnTo>
                    <a:pt x="330460" y="334272"/>
                  </a:lnTo>
                  <a:lnTo>
                    <a:pt x="334149" y="337967"/>
                  </a:lnTo>
                  <a:lnTo>
                    <a:pt x="337838" y="337967"/>
                  </a:lnTo>
                  <a:lnTo>
                    <a:pt x="337838" y="334272"/>
                  </a:lnTo>
                  <a:lnTo>
                    <a:pt x="341527" y="334272"/>
                  </a:lnTo>
                  <a:lnTo>
                    <a:pt x="345217" y="334272"/>
                  </a:lnTo>
                  <a:lnTo>
                    <a:pt x="348906" y="334272"/>
                  </a:lnTo>
                  <a:lnTo>
                    <a:pt x="352595" y="334272"/>
                  </a:lnTo>
                  <a:lnTo>
                    <a:pt x="359973" y="341654"/>
                  </a:lnTo>
                  <a:lnTo>
                    <a:pt x="359973" y="345349"/>
                  </a:lnTo>
                  <a:lnTo>
                    <a:pt x="363662" y="345349"/>
                  </a:lnTo>
                  <a:lnTo>
                    <a:pt x="367351" y="349036"/>
                  </a:lnTo>
                  <a:lnTo>
                    <a:pt x="371041" y="349036"/>
                  </a:lnTo>
                  <a:lnTo>
                    <a:pt x="385797" y="326890"/>
                  </a:lnTo>
                  <a:lnTo>
                    <a:pt x="407932" y="312136"/>
                  </a:lnTo>
                  <a:lnTo>
                    <a:pt x="407932" y="304754"/>
                  </a:lnTo>
                  <a:lnTo>
                    <a:pt x="411621" y="304754"/>
                  </a:lnTo>
                  <a:lnTo>
                    <a:pt x="411621" y="301058"/>
                  </a:lnTo>
                  <a:lnTo>
                    <a:pt x="407932" y="297372"/>
                  </a:lnTo>
                  <a:lnTo>
                    <a:pt x="407932" y="293676"/>
                  </a:lnTo>
                  <a:lnTo>
                    <a:pt x="411621" y="289990"/>
                  </a:lnTo>
                  <a:lnTo>
                    <a:pt x="411621" y="286294"/>
                  </a:lnTo>
                  <a:lnTo>
                    <a:pt x="415310" y="282608"/>
                  </a:lnTo>
                  <a:lnTo>
                    <a:pt x="422689" y="278912"/>
                  </a:lnTo>
                  <a:lnTo>
                    <a:pt x="426378" y="278912"/>
                  </a:lnTo>
                  <a:lnTo>
                    <a:pt x="422689" y="282608"/>
                  </a:lnTo>
                  <a:lnTo>
                    <a:pt x="426378" y="286294"/>
                  </a:lnTo>
                  <a:lnTo>
                    <a:pt x="426378" y="289990"/>
                  </a:lnTo>
                  <a:lnTo>
                    <a:pt x="430067" y="289990"/>
                  </a:lnTo>
                  <a:lnTo>
                    <a:pt x="444825" y="289990"/>
                  </a:lnTo>
                  <a:lnTo>
                    <a:pt x="455892" y="323204"/>
                  </a:lnTo>
                  <a:lnTo>
                    <a:pt x="452203" y="330585"/>
                  </a:lnTo>
                  <a:lnTo>
                    <a:pt x="441136" y="352731"/>
                  </a:lnTo>
                  <a:lnTo>
                    <a:pt x="463271" y="378563"/>
                  </a:lnTo>
                  <a:lnTo>
                    <a:pt x="463271" y="382249"/>
                  </a:lnTo>
                  <a:lnTo>
                    <a:pt x="466960" y="385945"/>
                  </a:lnTo>
                  <a:lnTo>
                    <a:pt x="470649" y="389631"/>
                  </a:lnTo>
                  <a:lnTo>
                    <a:pt x="470649" y="415463"/>
                  </a:lnTo>
                  <a:lnTo>
                    <a:pt x="485405" y="419159"/>
                  </a:lnTo>
                  <a:lnTo>
                    <a:pt x="489095" y="415463"/>
                  </a:lnTo>
                  <a:lnTo>
                    <a:pt x="500162" y="411777"/>
                  </a:lnTo>
                  <a:lnTo>
                    <a:pt x="503851" y="411777"/>
                  </a:lnTo>
                  <a:lnTo>
                    <a:pt x="503851" y="408091"/>
                  </a:lnTo>
                  <a:lnTo>
                    <a:pt x="525986" y="422845"/>
                  </a:lnTo>
                  <a:lnTo>
                    <a:pt x="518608" y="452372"/>
                  </a:lnTo>
                  <a:lnTo>
                    <a:pt x="522297" y="456068"/>
                  </a:lnTo>
                  <a:lnTo>
                    <a:pt x="537051" y="452372"/>
                  </a:lnTo>
                  <a:lnTo>
                    <a:pt x="551815" y="456068"/>
                  </a:lnTo>
                  <a:lnTo>
                    <a:pt x="562874" y="456068"/>
                  </a:lnTo>
                  <a:lnTo>
                    <a:pt x="570255" y="456068"/>
                  </a:lnTo>
                  <a:lnTo>
                    <a:pt x="573942" y="452372"/>
                  </a:lnTo>
                  <a:lnTo>
                    <a:pt x="577637" y="444990"/>
                  </a:lnTo>
                  <a:lnTo>
                    <a:pt x="588705" y="448686"/>
                  </a:lnTo>
                  <a:lnTo>
                    <a:pt x="603460" y="452372"/>
                  </a:lnTo>
                  <a:lnTo>
                    <a:pt x="610841" y="456068"/>
                  </a:lnTo>
                  <a:lnTo>
                    <a:pt x="621910" y="444990"/>
                  </a:lnTo>
                  <a:lnTo>
                    <a:pt x="625596" y="441304"/>
                  </a:lnTo>
                  <a:lnTo>
                    <a:pt x="636664" y="437608"/>
                  </a:lnTo>
                  <a:lnTo>
                    <a:pt x="640350" y="433922"/>
                  </a:lnTo>
                  <a:lnTo>
                    <a:pt x="644036" y="430227"/>
                  </a:lnTo>
                  <a:lnTo>
                    <a:pt x="644036" y="426540"/>
                  </a:lnTo>
                  <a:lnTo>
                    <a:pt x="647732" y="426540"/>
                  </a:lnTo>
                  <a:lnTo>
                    <a:pt x="662486" y="430227"/>
                  </a:lnTo>
                  <a:lnTo>
                    <a:pt x="662486" y="433922"/>
                  </a:lnTo>
                  <a:lnTo>
                    <a:pt x="666172" y="441304"/>
                  </a:lnTo>
                  <a:lnTo>
                    <a:pt x="677240" y="448686"/>
                  </a:lnTo>
                  <a:lnTo>
                    <a:pt x="680936" y="452372"/>
                  </a:lnTo>
                  <a:lnTo>
                    <a:pt x="680936" y="456068"/>
                  </a:lnTo>
                  <a:lnTo>
                    <a:pt x="680936" y="459754"/>
                  </a:lnTo>
                  <a:lnTo>
                    <a:pt x="680936" y="463440"/>
                  </a:lnTo>
                  <a:lnTo>
                    <a:pt x="680936" y="467136"/>
                  </a:lnTo>
                  <a:lnTo>
                    <a:pt x="680936" y="474518"/>
                  </a:lnTo>
                  <a:lnTo>
                    <a:pt x="684622" y="489282"/>
                  </a:lnTo>
                  <a:lnTo>
                    <a:pt x="688308" y="489282"/>
                  </a:lnTo>
                  <a:lnTo>
                    <a:pt x="699376" y="485586"/>
                  </a:lnTo>
                  <a:lnTo>
                    <a:pt x="703063" y="485586"/>
                  </a:lnTo>
                  <a:lnTo>
                    <a:pt x="714131" y="481900"/>
                  </a:lnTo>
                  <a:lnTo>
                    <a:pt x="714131" y="467136"/>
                  </a:lnTo>
                  <a:lnTo>
                    <a:pt x="717826" y="448686"/>
                  </a:lnTo>
                  <a:lnTo>
                    <a:pt x="725199" y="433922"/>
                  </a:lnTo>
                  <a:lnTo>
                    <a:pt x="728894" y="426540"/>
                  </a:lnTo>
                  <a:lnTo>
                    <a:pt x="739962" y="415463"/>
                  </a:lnTo>
                  <a:lnTo>
                    <a:pt x="754717" y="408091"/>
                  </a:lnTo>
                  <a:lnTo>
                    <a:pt x="758403" y="408091"/>
                  </a:lnTo>
                  <a:lnTo>
                    <a:pt x="776853" y="404395"/>
                  </a:lnTo>
                  <a:lnTo>
                    <a:pt x="784225" y="400709"/>
                  </a:lnTo>
                  <a:lnTo>
                    <a:pt x="787921" y="400709"/>
                  </a:lnTo>
                  <a:lnTo>
                    <a:pt x="791607" y="397013"/>
                  </a:lnTo>
                  <a:lnTo>
                    <a:pt x="821125" y="389631"/>
                  </a:lnTo>
                  <a:lnTo>
                    <a:pt x="832193" y="385945"/>
                  </a:lnTo>
                  <a:lnTo>
                    <a:pt x="835879" y="385945"/>
                  </a:lnTo>
                  <a:lnTo>
                    <a:pt x="839565" y="382249"/>
                  </a:lnTo>
                  <a:lnTo>
                    <a:pt x="843252" y="382249"/>
                  </a:lnTo>
                  <a:lnTo>
                    <a:pt x="850633" y="374867"/>
                  </a:lnTo>
                  <a:lnTo>
                    <a:pt x="861701" y="363799"/>
                  </a:lnTo>
                  <a:lnTo>
                    <a:pt x="869083" y="360113"/>
                  </a:lnTo>
                  <a:lnTo>
                    <a:pt x="861701" y="349036"/>
                  </a:lnTo>
                  <a:lnTo>
                    <a:pt x="854319" y="334272"/>
                  </a:lnTo>
                  <a:lnTo>
                    <a:pt x="839565" y="308440"/>
                  </a:lnTo>
                  <a:lnTo>
                    <a:pt x="839565" y="304754"/>
                  </a:lnTo>
                  <a:lnTo>
                    <a:pt x="832193" y="271531"/>
                  </a:lnTo>
                  <a:lnTo>
                    <a:pt x="828497" y="264158"/>
                  </a:lnTo>
                  <a:lnTo>
                    <a:pt x="828497" y="256776"/>
                  </a:lnTo>
                  <a:lnTo>
                    <a:pt x="824811" y="245699"/>
                  </a:lnTo>
                  <a:lnTo>
                    <a:pt x="821125" y="212485"/>
                  </a:lnTo>
                  <a:lnTo>
                    <a:pt x="835879" y="216181"/>
                  </a:lnTo>
                  <a:lnTo>
                    <a:pt x="846947" y="219867"/>
                  </a:lnTo>
                  <a:lnTo>
                    <a:pt x="854319" y="223553"/>
                  </a:lnTo>
                  <a:lnTo>
                    <a:pt x="861701" y="223553"/>
                  </a:lnTo>
                  <a:lnTo>
                    <a:pt x="869083" y="223553"/>
                  </a:lnTo>
                  <a:lnTo>
                    <a:pt x="876456" y="219867"/>
                  </a:lnTo>
                  <a:lnTo>
                    <a:pt x="887524" y="216181"/>
                  </a:lnTo>
                  <a:lnTo>
                    <a:pt x="894905" y="212485"/>
                  </a:lnTo>
                  <a:lnTo>
                    <a:pt x="902287" y="208799"/>
                  </a:lnTo>
                  <a:lnTo>
                    <a:pt x="902287" y="212485"/>
                  </a:lnTo>
                  <a:lnTo>
                    <a:pt x="905974" y="212485"/>
                  </a:lnTo>
                  <a:lnTo>
                    <a:pt x="909660" y="216181"/>
                  </a:lnTo>
                  <a:lnTo>
                    <a:pt x="917042" y="223553"/>
                  </a:lnTo>
                  <a:lnTo>
                    <a:pt x="917042" y="219867"/>
                  </a:lnTo>
                  <a:lnTo>
                    <a:pt x="920728" y="219867"/>
                  </a:lnTo>
                  <a:lnTo>
                    <a:pt x="924414" y="219867"/>
                  </a:lnTo>
                  <a:lnTo>
                    <a:pt x="920728" y="216181"/>
                  </a:lnTo>
                  <a:lnTo>
                    <a:pt x="920728" y="212485"/>
                  </a:lnTo>
                  <a:lnTo>
                    <a:pt x="920728" y="208799"/>
                  </a:lnTo>
                  <a:lnTo>
                    <a:pt x="920728" y="205103"/>
                  </a:lnTo>
                  <a:lnTo>
                    <a:pt x="920728" y="201417"/>
                  </a:lnTo>
                  <a:lnTo>
                    <a:pt x="917042" y="194035"/>
                  </a:lnTo>
                  <a:lnTo>
                    <a:pt x="913356" y="190339"/>
                  </a:lnTo>
                  <a:lnTo>
                    <a:pt x="913356" y="186653"/>
                  </a:lnTo>
                  <a:lnTo>
                    <a:pt x="913356" y="175576"/>
                  </a:lnTo>
                  <a:lnTo>
                    <a:pt x="909660" y="171890"/>
                  </a:lnTo>
                  <a:lnTo>
                    <a:pt x="909660" y="168203"/>
                  </a:lnTo>
                  <a:lnTo>
                    <a:pt x="905974" y="164508"/>
                  </a:lnTo>
                  <a:lnTo>
                    <a:pt x="902287" y="160821"/>
                  </a:lnTo>
                  <a:lnTo>
                    <a:pt x="898592" y="157126"/>
                  </a:lnTo>
                  <a:lnTo>
                    <a:pt x="887524" y="153440"/>
                  </a:lnTo>
                  <a:lnTo>
                    <a:pt x="887524" y="149744"/>
                  </a:lnTo>
                  <a:lnTo>
                    <a:pt x="883838" y="146058"/>
                  </a:lnTo>
                  <a:lnTo>
                    <a:pt x="883838" y="134980"/>
                  </a:lnTo>
                  <a:lnTo>
                    <a:pt x="883838" y="131294"/>
                  </a:lnTo>
                  <a:lnTo>
                    <a:pt x="883838" y="127598"/>
                  </a:lnTo>
                  <a:lnTo>
                    <a:pt x="883838" y="120226"/>
                  </a:lnTo>
                  <a:lnTo>
                    <a:pt x="880151" y="120226"/>
                  </a:lnTo>
                  <a:lnTo>
                    <a:pt x="880151" y="116530"/>
                  </a:lnTo>
                  <a:lnTo>
                    <a:pt x="880151" y="109148"/>
                  </a:lnTo>
                  <a:lnTo>
                    <a:pt x="876456" y="98080"/>
                  </a:lnTo>
                  <a:lnTo>
                    <a:pt x="872769" y="98080"/>
                  </a:lnTo>
                  <a:lnTo>
                    <a:pt x="869083" y="94385"/>
                  </a:lnTo>
                  <a:lnTo>
                    <a:pt x="861701" y="94385"/>
                  </a:lnTo>
                  <a:lnTo>
                    <a:pt x="854319" y="90698"/>
                  </a:lnTo>
                  <a:lnTo>
                    <a:pt x="846947" y="90698"/>
                  </a:lnTo>
                  <a:lnTo>
                    <a:pt x="843252" y="87003"/>
                  </a:lnTo>
                  <a:lnTo>
                    <a:pt x="843252" y="79621"/>
                  </a:lnTo>
                  <a:lnTo>
                    <a:pt x="839565" y="72248"/>
                  </a:lnTo>
                  <a:lnTo>
                    <a:pt x="839565" y="68553"/>
                  </a:lnTo>
                  <a:lnTo>
                    <a:pt x="839565" y="64867"/>
                  </a:lnTo>
                  <a:lnTo>
                    <a:pt x="835879" y="64867"/>
                  </a:lnTo>
                  <a:lnTo>
                    <a:pt x="832193" y="61171"/>
                  </a:lnTo>
                  <a:lnTo>
                    <a:pt x="828497" y="61171"/>
                  </a:lnTo>
                  <a:lnTo>
                    <a:pt x="821125" y="61171"/>
                  </a:lnTo>
                  <a:lnTo>
                    <a:pt x="810057" y="61171"/>
                  </a:lnTo>
                  <a:lnTo>
                    <a:pt x="806361" y="61171"/>
                  </a:lnTo>
                  <a:lnTo>
                    <a:pt x="795293" y="64867"/>
                  </a:lnTo>
                  <a:lnTo>
                    <a:pt x="791607" y="64867"/>
                  </a:lnTo>
                  <a:lnTo>
                    <a:pt x="784225" y="64867"/>
                  </a:lnTo>
                  <a:lnTo>
                    <a:pt x="780539" y="64867"/>
                  </a:lnTo>
                  <a:lnTo>
                    <a:pt x="776853" y="64867"/>
                  </a:lnTo>
                  <a:lnTo>
                    <a:pt x="773157" y="61171"/>
                  </a:lnTo>
                  <a:lnTo>
                    <a:pt x="773157" y="57485"/>
                  </a:lnTo>
                  <a:lnTo>
                    <a:pt x="769471" y="53789"/>
                  </a:lnTo>
                  <a:lnTo>
                    <a:pt x="765785" y="50103"/>
                  </a:lnTo>
                  <a:lnTo>
                    <a:pt x="762098" y="50103"/>
                  </a:lnTo>
                  <a:lnTo>
                    <a:pt x="758403" y="50103"/>
                  </a:lnTo>
                  <a:lnTo>
                    <a:pt x="754717" y="46407"/>
                  </a:lnTo>
                  <a:lnTo>
                    <a:pt x="751030" y="46407"/>
                  </a:lnTo>
                  <a:lnTo>
                    <a:pt x="751030" y="39025"/>
                  </a:lnTo>
                  <a:lnTo>
                    <a:pt x="747335" y="39025"/>
                  </a:lnTo>
                  <a:lnTo>
                    <a:pt x="743649" y="35339"/>
                  </a:lnTo>
                  <a:lnTo>
                    <a:pt x="739962" y="35339"/>
                  </a:lnTo>
                  <a:lnTo>
                    <a:pt x="736267" y="35339"/>
                  </a:lnTo>
                  <a:lnTo>
                    <a:pt x="732581" y="31643"/>
                  </a:lnTo>
                  <a:lnTo>
                    <a:pt x="728894" y="27957"/>
                  </a:lnTo>
                  <a:lnTo>
                    <a:pt x="725199" y="24271"/>
                  </a:lnTo>
                  <a:lnTo>
                    <a:pt x="725199" y="16889"/>
                  </a:lnTo>
                  <a:lnTo>
                    <a:pt x="721512" y="13194"/>
                  </a:lnTo>
                  <a:lnTo>
                    <a:pt x="714131" y="13194"/>
                  </a:lnTo>
                  <a:lnTo>
                    <a:pt x="710444" y="13194"/>
                  </a:lnTo>
                  <a:lnTo>
                    <a:pt x="706758" y="9507"/>
                  </a:lnTo>
                  <a:lnTo>
                    <a:pt x="699376" y="5812"/>
                  </a:lnTo>
                  <a:lnTo>
                    <a:pt x="695690" y="5812"/>
                  </a:lnTo>
                  <a:lnTo>
                    <a:pt x="692004" y="5812"/>
                  </a:lnTo>
                  <a:lnTo>
                    <a:pt x="684622" y="5812"/>
                  </a:lnTo>
                  <a:lnTo>
                    <a:pt x="680936" y="5812"/>
                  </a:lnTo>
                  <a:lnTo>
                    <a:pt x="677240" y="9507"/>
                  </a:lnTo>
                  <a:lnTo>
                    <a:pt x="677240" y="13194"/>
                  </a:lnTo>
                  <a:lnTo>
                    <a:pt x="673554" y="16889"/>
                  </a:lnTo>
                  <a:lnTo>
                    <a:pt x="669868" y="16889"/>
                  </a:lnTo>
                  <a:lnTo>
                    <a:pt x="666172" y="13194"/>
                  </a:lnTo>
                  <a:lnTo>
                    <a:pt x="662486" y="13194"/>
                  </a:lnTo>
                  <a:lnTo>
                    <a:pt x="658800" y="13194"/>
                  </a:lnTo>
                  <a:lnTo>
                    <a:pt x="658800" y="9507"/>
                  </a:lnTo>
                  <a:lnTo>
                    <a:pt x="655104" y="5812"/>
                  </a:lnTo>
                  <a:lnTo>
                    <a:pt x="651418" y="5812"/>
                  </a:lnTo>
                  <a:lnTo>
                    <a:pt x="647732" y="5812"/>
                  </a:lnTo>
                  <a:lnTo>
                    <a:pt x="644036" y="5812"/>
                  </a:lnTo>
                  <a:lnTo>
                    <a:pt x="644036" y="9507"/>
                  </a:lnTo>
                  <a:lnTo>
                    <a:pt x="640350" y="16889"/>
                  </a:lnTo>
                  <a:lnTo>
                    <a:pt x="636664" y="20575"/>
                  </a:lnTo>
                  <a:lnTo>
                    <a:pt x="629282" y="20575"/>
                  </a:lnTo>
                  <a:lnTo>
                    <a:pt x="621910" y="20575"/>
                  </a:lnTo>
                  <a:lnTo>
                    <a:pt x="618214" y="20575"/>
                  </a:lnTo>
                  <a:lnTo>
                    <a:pt x="614528" y="16889"/>
                  </a:lnTo>
                  <a:lnTo>
                    <a:pt x="610841" y="13194"/>
                  </a:lnTo>
                  <a:lnTo>
                    <a:pt x="610841" y="9507"/>
                  </a:lnTo>
                  <a:lnTo>
                    <a:pt x="607146" y="9507"/>
                  </a:lnTo>
                  <a:lnTo>
                    <a:pt x="603460" y="13194"/>
                  </a:lnTo>
                  <a:lnTo>
                    <a:pt x="603460" y="16889"/>
                  </a:lnTo>
                  <a:lnTo>
                    <a:pt x="599773" y="20575"/>
                  </a:lnTo>
                  <a:lnTo>
                    <a:pt x="596078" y="24271"/>
                  </a:lnTo>
                  <a:lnTo>
                    <a:pt x="588705" y="35339"/>
                  </a:lnTo>
                  <a:lnTo>
                    <a:pt x="588705" y="39025"/>
                  </a:lnTo>
                  <a:lnTo>
                    <a:pt x="585010" y="46407"/>
                  </a:lnTo>
                  <a:lnTo>
                    <a:pt x="585010" y="53789"/>
                  </a:lnTo>
                  <a:lnTo>
                    <a:pt x="585010" y="61171"/>
                  </a:lnTo>
                  <a:lnTo>
                    <a:pt x="581323" y="61171"/>
                  </a:lnTo>
                  <a:lnTo>
                    <a:pt x="581323" y="64867"/>
                  </a:lnTo>
                  <a:lnTo>
                    <a:pt x="562874" y="72248"/>
                  </a:lnTo>
                  <a:lnTo>
                    <a:pt x="555501" y="75935"/>
                  </a:lnTo>
                  <a:lnTo>
                    <a:pt x="555501" y="79621"/>
                  </a:lnTo>
                  <a:lnTo>
                    <a:pt x="551815" y="79621"/>
                  </a:lnTo>
                  <a:lnTo>
                    <a:pt x="544433" y="75935"/>
                  </a:lnTo>
                  <a:lnTo>
                    <a:pt x="537051" y="75935"/>
                  </a:lnTo>
                  <a:lnTo>
                    <a:pt x="533365" y="79621"/>
                  </a:lnTo>
                  <a:lnTo>
                    <a:pt x="529675" y="83317"/>
                  </a:lnTo>
                  <a:lnTo>
                    <a:pt x="525986" y="79621"/>
                  </a:lnTo>
                  <a:lnTo>
                    <a:pt x="518608" y="75935"/>
                  </a:lnTo>
                  <a:lnTo>
                    <a:pt x="514919" y="72248"/>
                  </a:lnTo>
                  <a:lnTo>
                    <a:pt x="511230" y="75935"/>
                  </a:lnTo>
                  <a:lnTo>
                    <a:pt x="507540" y="75935"/>
                  </a:lnTo>
                  <a:lnTo>
                    <a:pt x="503851" y="75935"/>
                  </a:lnTo>
                  <a:lnTo>
                    <a:pt x="496473" y="75935"/>
                  </a:lnTo>
                  <a:lnTo>
                    <a:pt x="492784" y="75935"/>
                  </a:lnTo>
                  <a:lnTo>
                    <a:pt x="485405" y="75935"/>
                  </a:lnTo>
                  <a:lnTo>
                    <a:pt x="478027" y="75935"/>
                  </a:lnTo>
                  <a:lnTo>
                    <a:pt x="470649" y="79621"/>
                  </a:lnTo>
                  <a:lnTo>
                    <a:pt x="466960" y="75935"/>
                  </a:lnTo>
                  <a:lnTo>
                    <a:pt x="466960" y="72248"/>
                  </a:lnTo>
                  <a:lnTo>
                    <a:pt x="470649" y="72248"/>
                  </a:lnTo>
                  <a:lnTo>
                    <a:pt x="474338" y="68553"/>
                  </a:lnTo>
                  <a:lnTo>
                    <a:pt x="478027" y="64867"/>
                  </a:lnTo>
                  <a:lnTo>
                    <a:pt x="474338" y="61171"/>
                  </a:lnTo>
                  <a:lnTo>
                    <a:pt x="474338" y="57485"/>
                  </a:lnTo>
                  <a:lnTo>
                    <a:pt x="474338" y="53789"/>
                  </a:lnTo>
                  <a:lnTo>
                    <a:pt x="474338" y="50103"/>
                  </a:lnTo>
                  <a:lnTo>
                    <a:pt x="463271" y="46407"/>
                  </a:lnTo>
                  <a:lnTo>
                    <a:pt x="459581" y="42721"/>
                  </a:lnTo>
                  <a:lnTo>
                    <a:pt x="455892" y="39025"/>
                  </a:lnTo>
                  <a:lnTo>
                    <a:pt x="452203" y="39025"/>
                  </a:lnTo>
                  <a:lnTo>
                    <a:pt x="448514" y="42721"/>
                  </a:lnTo>
                  <a:lnTo>
                    <a:pt x="444825" y="46407"/>
                  </a:lnTo>
                  <a:lnTo>
                    <a:pt x="441136" y="46407"/>
                  </a:lnTo>
                  <a:lnTo>
                    <a:pt x="441136" y="42721"/>
                  </a:lnTo>
                  <a:lnTo>
                    <a:pt x="437445" y="42721"/>
                  </a:lnTo>
                  <a:lnTo>
                    <a:pt x="437445" y="39025"/>
                  </a:lnTo>
                  <a:lnTo>
                    <a:pt x="433756" y="35339"/>
                  </a:lnTo>
                  <a:lnTo>
                    <a:pt x="433756" y="31643"/>
                  </a:lnTo>
                  <a:lnTo>
                    <a:pt x="430067" y="31643"/>
                  </a:lnTo>
                  <a:lnTo>
                    <a:pt x="426378" y="27957"/>
                  </a:lnTo>
                  <a:lnTo>
                    <a:pt x="419000" y="24271"/>
                  </a:lnTo>
                  <a:lnTo>
                    <a:pt x="415310" y="20575"/>
                  </a:lnTo>
                  <a:lnTo>
                    <a:pt x="411621" y="20575"/>
                  </a:lnTo>
                  <a:lnTo>
                    <a:pt x="411621" y="16889"/>
                  </a:lnTo>
                  <a:lnTo>
                    <a:pt x="411621" y="13194"/>
                  </a:lnTo>
                  <a:lnTo>
                    <a:pt x="407932" y="13194"/>
                  </a:lnTo>
                  <a:lnTo>
                    <a:pt x="400554" y="13194"/>
                  </a:lnTo>
                  <a:lnTo>
                    <a:pt x="396865" y="9507"/>
                  </a:lnTo>
                  <a:lnTo>
                    <a:pt x="393175" y="9507"/>
                  </a:lnTo>
                  <a:lnTo>
                    <a:pt x="385797" y="9507"/>
                  </a:lnTo>
                  <a:lnTo>
                    <a:pt x="378419" y="5812"/>
                  </a:lnTo>
                  <a:lnTo>
                    <a:pt x="374730" y="5812"/>
                  </a:lnTo>
                  <a:lnTo>
                    <a:pt x="371041" y="5812"/>
                  </a:lnTo>
                  <a:lnTo>
                    <a:pt x="363662" y="5812"/>
                  </a:lnTo>
                  <a:close/>
                  <a:moveTo>
                    <a:pt x="367351" y="349036"/>
                  </a:moveTo>
                  <a:lnTo>
                    <a:pt x="363662" y="349036"/>
                  </a:lnTo>
                  <a:lnTo>
                    <a:pt x="359973" y="349036"/>
                  </a:lnTo>
                  <a:lnTo>
                    <a:pt x="363662" y="352731"/>
                  </a:lnTo>
                  <a:lnTo>
                    <a:pt x="367351" y="349036"/>
                  </a:lnTo>
                  <a:close/>
                  <a:moveTo>
                    <a:pt x="363662" y="308440"/>
                  </a:moveTo>
                  <a:lnTo>
                    <a:pt x="367351" y="308440"/>
                  </a:lnTo>
                  <a:lnTo>
                    <a:pt x="367351" y="312136"/>
                  </a:lnTo>
                  <a:lnTo>
                    <a:pt x="371041" y="315822"/>
                  </a:lnTo>
                  <a:lnTo>
                    <a:pt x="374730" y="315822"/>
                  </a:lnTo>
                  <a:lnTo>
                    <a:pt x="374730" y="319508"/>
                  </a:lnTo>
                  <a:lnTo>
                    <a:pt x="374730" y="323204"/>
                  </a:lnTo>
                  <a:lnTo>
                    <a:pt x="371041" y="323204"/>
                  </a:lnTo>
                  <a:lnTo>
                    <a:pt x="367351" y="319508"/>
                  </a:lnTo>
                  <a:lnTo>
                    <a:pt x="363662" y="319508"/>
                  </a:lnTo>
                  <a:lnTo>
                    <a:pt x="367351" y="315822"/>
                  </a:lnTo>
                  <a:lnTo>
                    <a:pt x="363662" y="312136"/>
                  </a:lnTo>
                  <a:lnTo>
                    <a:pt x="363662" y="308440"/>
                  </a:lnTo>
                  <a:close/>
                  <a:moveTo>
                    <a:pt x="371041" y="308440"/>
                  </a:moveTo>
                  <a:lnTo>
                    <a:pt x="374730" y="312136"/>
                  </a:lnTo>
                  <a:lnTo>
                    <a:pt x="371041" y="312136"/>
                  </a:lnTo>
                  <a:lnTo>
                    <a:pt x="371041" y="308440"/>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17" name="Freeform: Shape 116">
              <a:extLst>
                <a:ext uri="{FF2B5EF4-FFF2-40B4-BE49-F238E27FC236}">
                  <a16:creationId xmlns:a16="http://schemas.microsoft.com/office/drawing/2014/main" id="{5A5F9D9F-F91A-4AF0-BBD2-B4FF25D3FC33}"/>
                </a:ext>
              </a:extLst>
            </p:cNvPr>
            <p:cNvSpPr/>
            <p:nvPr/>
          </p:nvSpPr>
          <p:spPr>
            <a:xfrm>
              <a:off x="5310965" y="4948685"/>
              <a:ext cx="42562" cy="42562"/>
            </a:xfrm>
            <a:custGeom>
              <a:avLst/>
              <a:gdLst>
                <a:gd name="connsiteX0" fmla="*/ 9501 w 19050"/>
                <a:gd name="connsiteY0" fmla="*/ 5812 h 19050"/>
                <a:gd name="connsiteX1" fmla="*/ 9501 w 19050"/>
                <a:gd name="connsiteY1" fmla="*/ 9507 h 19050"/>
                <a:gd name="connsiteX2" fmla="*/ 13191 w 19050"/>
                <a:gd name="connsiteY2" fmla="*/ 13194 h 19050"/>
                <a:gd name="connsiteX3" fmla="*/ 13191 w 19050"/>
                <a:gd name="connsiteY3" fmla="*/ 13194 h 19050"/>
                <a:gd name="connsiteX4" fmla="*/ 13191 w 19050"/>
                <a:gd name="connsiteY4" fmla="*/ 9507 h 19050"/>
                <a:gd name="connsiteX5" fmla="*/ 13191 w 19050"/>
                <a:gd name="connsiteY5" fmla="*/ 5812 h 19050"/>
                <a:gd name="connsiteX6" fmla="*/ 16880 w 19050"/>
                <a:gd name="connsiteY6" fmla="*/ 9507 h 19050"/>
                <a:gd name="connsiteX7" fmla="*/ 16880 w 19050"/>
                <a:gd name="connsiteY7" fmla="*/ 9507 h 19050"/>
                <a:gd name="connsiteX8" fmla="*/ 13191 w 19050"/>
                <a:gd name="connsiteY8" fmla="*/ 9507 h 19050"/>
                <a:gd name="connsiteX9" fmla="*/ 13191 w 19050"/>
                <a:gd name="connsiteY9" fmla="*/ 9507 h 19050"/>
                <a:gd name="connsiteX10" fmla="*/ 13191 w 19050"/>
                <a:gd name="connsiteY10" fmla="*/ 13194 h 19050"/>
                <a:gd name="connsiteX11" fmla="*/ 13191 w 19050"/>
                <a:gd name="connsiteY11" fmla="*/ 13194 h 19050"/>
                <a:gd name="connsiteX12" fmla="*/ 16880 w 19050"/>
                <a:gd name="connsiteY12" fmla="*/ 13194 h 19050"/>
                <a:gd name="connsiteX13" fmla="*/ 16880 w 19050"/>
                <a:gd name="connsiteY13" fmla="*/ 16880 h 19050"/>
                <a:gd name="connsiteX14" fmla="*/ 16880 w 19050"/>
                <a:gd name="connsiteY14" fmla="*/ 16880 h 19050"/>
                <a:gd name="connsiteX15" fmla="*/ 16880 w 19050"/>
                <a:gd name="connsiteY15" fmla="*/ 20575 h 19050"/>
                <a:gd name="connsiteX16" fmla="*/ 16880 w 19050"/>
                <a:gd name="connsiteY16" fmla="*/ 20575 h 19050"/>
                <a:gd name="connsiteX17" fmla="*/ 13191 w 19050"/>
                <a:gd name="connsiteY17" fmla="*/ 20575 h 19050"/>
                <a:gd name="connsiteX18" fmla="*/ 9501 w 19050"/>
                <a:gd name="connsiteY18" fmla="*/ 16880 h 19050"/>
                <a:gd name="connsiteX19" fmla="*/ 5812 w 19050"/>
                <a:gd name="connsiteY19" fmla="*/ 16880 h 19050"/>
                <a:gd name="connsiteX20" fmla="*/ 9501 w 19050"/>
                <a:gd name="connsiteY20" fmla="*/ 13194 h 19050"/>
                <a:gd name="connsiteX21" fmla="*/ 5812 w 19050"/>
                <a:gd name="connsiteY21" fmla="*/ 9507 h 19050"/>
                <a:gd name="connsiteX22" fmla="*/ 5812 w 19050"/>
                <a:gd name="connsiteY22" fmla="*/ 5812 h 19050"/>
                <a:gd name="connsiteX23" fmla="*/ 9501 w 19050"/>
                <a:gd name="connsiteY23" fmla="*/ 5812 h 19050"/>
                <a:gd name="connsiteX24" fmla="*/ 9501 w 19050"/>
                <a:gd name="connsiteY24"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 h="19050">
                  <a:moveTo>
                    <a:pt x="9501" y="5812"/>
                  </a:moveTo>
                  <a:lnTo>
                    <a:pt x="9501" y="9507"/>
                  </a:lnTo>
                  <a:lnTo>
                    <a:pt x="13191" y="13194"/>
                  </a:lnTo>
                  <a:lnTo>
                    <a:pt x="13191" y="13194"/>
                  </a:lnTo>
                  <a:lnTo>
                    <a:pt x="13191" y="9507"/>
                  </a:lnTo>
                  <a:lnTo>
                    <a:pt x="13191" y="5812"/>
                  </a:lnTo>
                  <a:lnTo>
                    <a:pt x="16880" y="9507"/>
                  </a:lnTo>
                  <a:lnTo>
                    <a:pt x="16880" y="9507"/>
                  </a:lnTo>
                  <a:lnTo>
                    <a:pt x="13191" y="9507"/>
                  </a:lnTo>
                  <a:lnTo>
                    <a:pt x="13191" y="9507"/>
                  </a:lnTo>
                  <a:lnTo>
                    <a:pt x="13191" y="13194"/>
                  </a:lnTo>
                  <a:lnTo>
                    <a:pt x="13191" y="13194"/>
                  </a:lnTo>
                  <a:lnTo>
                    <a:pt x="16880" y="13194"/>
                  </a:lnTo>
                  <a:lnTo>
                    <a:pt x="16880" y="16880"/>
                  </a:lnTo>
                  <a:lnTo>
                    <a:pt x="16880" y="16880"/>
                  </a:lnTo>
                  <a:lnTo>
                    <a:pt x="16880" y="20575"/>
                  </a:lnTo>
                  <a:lnTo>
                    <a:pt x="16880" y="20575"/>
                  </a:lnTo>
                  <a:lnTo>
                    <a:pt x="13191" y="20575"/>
                  </a:lnTo>
                  <a:lnTo>
                    <a:pt x="9501" y="16880"/>
                  </a:lnTo>
                  <a:lnTo>
                    <a:pt x="5812" y="16880"/>
                  </a:lnTo>
                  <a:lnTo>
                    <a:pt x="9501" y="13194"/>
                  </a:lnTo>
                  <a:lnTo>
                    <a:pt x="5812" y="9507"/>
                  </a:lnTo>
                  <a:lnTo>
                    <a:pt x="5812" y="5812"/>
                  </a:lnTo>
                  <a:lnTo>
                    <a:pt x="9501" y="5812"/>
                  </a:lnTo>
                  <a:lnTo>
                    <a:pt x="9501" y="5812"/>
                  </a:lnTo>
                  <a:close/>
                </a:path>
              </a:pathLst>
            </a:custGeom>
            <a:grpFill/>
            <a:ln w="12821" cap="flat">
              <a:solidFill>
                <a:srgbClr val="FFFFF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grpSp>
      <p:sp>
        <p:nvSpPr>
          <p:cNvPr id="5" name="Footer Placeholder 4">
            <a:extLst>
              <a:ext uri="{FF2B5EF4-FFF2-40B4-BE49-F238E27FC236}">
                <a16:creationId xmlns:a16="http://schemas.microsoft.com/office/drawing/2014/main" id="{6450BDB4-A43E-402D-996C-55C79B926CE4}"/>
              </a:ext>
            </a:extLst>
          </p:cNvPr>
          <p:cNvSpPr>
            <a:spLocks noGrp="1"/>
          </p:cNvSpPr>
          <p:nvPr>
            <p:ph type="ftr" sz="quarter" idx="3"/>
          </p:nvPr>
        </p:nvSpPr>
        <p:spPr/>
        <p:txBody>
          <a:bodyPr/>
          <a:lstStyle/>
          <a:p>
            <a:r>
              <a:rPr lang="nl-NL" dirty="0"/>
              <a:t>Bron: websites van verschillende gemeenten; Goudappel Coffeng, ‘Verkenning Landschap Sociaal Vervoer 2020’  (24 april 2020); Provincie NB, ‘Gedeelde Mobiliteit Is Maatwerk’ (14 dec. 2018); Forsetti en APPM, ‘Kansen voor Integratie Doelgroepenvervoer en Openbaar Vervoer’ (5 nov. 2019); MRDH, ‘Uitvoeringsagenda Bereikbaarheid 2016 – 2025’ (1 juli 2016);  VRA, ‘Beleidskader Inclusieve Mobiliteit’ (mei 2020)</a:t>
            </a:r>
          </a:p>
        </p:txBody>
      </p:sp>
      <p:sp>
        <p:nvSpPr>
          <p:cNvPr id="6" name="Slide Number Placeholder 5">
            <a:extLst>
              <a:ext uri="{FF2B5EF4-FFF2-40B4-BE49-F238E27FC236}">
                <a16:creationId xmlns:a16="http://schemas.microsoft.com/office/drawing/2014/main" id="{EA5B4AF5-72CF-4819-8135-F522810EB50A}"/>
              </a:ext>
            </a:extLst>
          </p:cNvPr>
          <p:cNvSpPr>
            <a:spLocks noGrp="1"/>
          </p:cNvSpPr>
          <p:nvPr>
            <p:ph type="sldNum" sz="quarter" idx="12"/>
          </p:nvPr>
        </p:nvSpPr>
        <p:spPr/>
        <p:txBody>
          <a:bodyPr/>
          <a:lstStyle/>
          <a:p>
            <a:fld id="{992CD0B2-8AB2-4C6C-8876-E15753662C9B}" type="slidenum">
              <a:rPr lang="nl-NL" smtClean="0"/>
              <a:pPr/>
              <a:t>27</a:t>
            </a:fld>
            <a:endParaRPr lang="nl-NL" dirty="0"/>
          </a:p>
        </p:txBody>
      </p:sp>
      <p:sp>
        <p:nvSpPr>
          <p:cNvPr id="8" name="Title 7">
            <a:extLst>
              <a:ext uri="{FF2B5EF4-FFF2-40B4-BE49-F238E27FC236}">
                <a16:creationId xmlns:a16="http://schemas.microsoft.com/office/drawing/2014/main" id="{4CF772DC-DC31-4B79-9450-0687029A3727}"/>
              </a:ext>
            </a:extLst>
          </p:cNvPr>
          <p:cNvSpPr>
            <a:spLocks noGrp="1"/>
          </p:cNvSpPr>
          <p:nvPr>
            <p:ph type="title"/>
          </p:nvPr>
        </p:nvSpPr>
        <p:spPr>
          <a:xfrm>
            <a:off x="-1" y="265387"/>
            <a:ext cx="12192001" cy="942979"/>
          </a:xfrm>
          <a:solidFill>
            <a:srgbClr val="22777B"/>
          </a:solidFill>
        </p:spPr>
        <p:txBody>
          <a:bodyPr vert="horz" anchor="ctr"/>
          <a:lstStyle/>
          <a:p>
            <a:r>
              <a:rPr lang="nl-NL" sz="2400" dirty="0">
                <a:solidFill>
                  <a:srgbClr val="FFFFFF"/>
                </a:solidFill>
              </a:rPr>
              <a:t>	</a:t>
            </a:r>
          </a:p>
        </p:txBody>
      </p:sp>
      <p:grpSp>
        <p:nvGrpSpPr>
          <p:cNvPr id="11" name="Group 10">
            <a:extLst>
              <a:ext uri="{FF2B5EF4-FFF2-40B4-BE49-F238E27FC236}">
                <a16:creationId xmlns:a16="http://schemas.microsoft.com/office/drawing/2014/main" id="{B1C6B87C-E457-4DCC-9172-98716F0394F0}"/>
              </a:ext>
            </a:extLst>
          </p:cNvPr>
          <p:cNvGrpSpPr/>
          <p:nvPr/>
        </p:nvGrpSpPr>
        <p:grpSpPr>
          <a:xfrm>
            <a:off x="701659" y="55733"/>
            <a:ext cx="2040807" cy="176387"/>
            <a:chOff x="701659" y="55733"/>
            <a:chExt cx="2040807" cy="176387"/>
          </a:xfrm>
        </p:grpSpPr>
        <p:sp>
          <p:nvSpPr>
            <p:cNvPr id="12" name="Rectangle: Rounded Corners 11">
              <a:extLst>
                <a:ext uri="{FF2B5EF4-FFF2-40B4-BE49-F238E27FC236}">
                  <a16:creationId xmlns:a16="http://schemas.microsoft.com/office/drawing/2014/main" id="{E863339A-0A65-4A05-B27B-5E235F761D13}"/>
                </a:ext>
              </a:extLst>
            </p:cNvPr>
            <p:cNvSpPr/>
            <p:nvPr/>
          </p:nvSpPr>
          <p:spPr>
            <a:xfrm>
              <a:off x="93125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a:t>
              </a:r>
            </a:p>
          </p:txBody>
        </p:sp>
        <p:sp>
          <p:nvSpPr>
            <p:cNvPr id="13" name="Rectangle: Rounded Corners 12">
              <a:extLst>
                <a:ext uri="{FF2B5EF4-FFF2-40B4-BE49-F238E27FC236}">
                  <a16:creationId xmlns:a16="http://schemas.microsoft.com/office/drawing/2014/main" id="{F145D70C-2197-42D9-9FF5-273DABF9A92B}"/>
                </a:ext>
              </a:extLst>
            </p:cNvPr>
            <p:cNvSpPr/>
            <p:nvPr/>
          </p:nvSpPr>
          <p:spPr>
            <a:xfrm>
              <a:off x="116084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2</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4" name="Rectangle: Rounded Corners 13">
              <a:extLst>
                <a:ext uri="{FF2B5EF4-FFF2-40B4-BE49-F238E27FC236}">
                  <a16:creationId xmlns:a16="http://schemas.microsoft.com/office/drawing/2014/main" id="{1B6A65A8-F987-4AC6-8132-502AE5EA9ED5}"/>
                </a:ext>
              </a:extLst>
            </p:cNvPr>
            <p:cNvSpPr/>
            <p:nvPr/>
          </p:nvSpPr>
          <p:spPr>
            <a:xfrm>
              <a:off x="1390441"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3</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5" name="Rectangle: Rounded Corners 14">
              <a:extLst>
                <a:ext uri="{FF2B5EF4-FFF2-40B4-BE49-F238E27FC236}">
                  <a16:creationId xmlns:a16="http://schemas.microsoft.com/office/drawing/2014/main" id="{324AB17D-3C24-4E7B-8A62-87B466D19970}"/>
                </a:ext>
              </a:extLst>
            </p:cNvPr>
            <p:cNvSpPr/>
            <p:nvPr/>
          </p:nvSpPr>
          <p:spPr>
            <a:xfrm>
              <a:off x="1620035"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4</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6" name="Rectangle: Rounded Corners 15">
              <a:extLst>
                <a:ext uri="{FF2B5EF4-FFF2-40B4-BE49-F238E27FC236}">
                  <a16:creationId xmlns:a16="http://schemas.microsoft.com/office/drawing/2014/main" id="{5C000AD3-A479-4BF7-A72D-3DD9560983C4}"/>
                </a:ext>
              </a:extLst>
            </p:cNvPr>
            <p:cNvSpPr/>
            <p:nvPr/>
          </p:nvSpPr>
          <p:spPr>
            <a:xfrm>
              <a:off x="184962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5</a:t>
              </a:r>
            </a:p>
          </p:txBody>
        </p:sp>
        <p:sp>
          <p:nvSpPr>
            <p:cNvPr id="17" name="Rectangle: Rounded Corners 16">
              <a:extLst>
                <a:ext uri="{FF2B5EF4-FFF2-40B4-BE49-F238E27FC236}">
                  <a16:creationId xmlns:a16="http://schemas.microsoft.com/office/drawing/2014/main" id="{10B5D2EC-1D17-48CD-8B48-9B5C7D7F9F2E}"/>
                </a:ext>
              </a:extLst>
            </p:cNvPr>
            <p:cNvSpPr/>
            <p:nvPr/>
          </p:nvSpPr>
          <p:spPr>
            <a:xfrm>
              <a:off x="2079223"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6</a:t>
              </a:r>
            </a:p>
          </p:txBody>
        </p:sp>
        <p:sp>
          <p:nvSpPr>
            <p:cNvPr id="18" name="Rectangle: Rounded Corners 17">
              <a:extLst>
                <a:ext uri="{FF2B5EF4-FFF2-40B4-BE49-F238E27FC236}">
                  <a16:creationId xmlns:a16="http://schemas.microsoft.com/office/drawing/2014/main" id="{11795E91-94A6-43E5-9ADE-3A34B2BC7E14}"/>
                </a:ext>
              </a:extLst>
            </p:cNvPr>
            <p:cNvSpPr/>
            <p:nvPr/>
          </p:nvSpPr>
          <p:spPr>
            <a:xfrm>
              <a:off x="2308817"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7</a:t>
              </a:r>
            </a:p>
          </p:txBody>
        </p:sp>
        <p:sp>
          <p:nvSpPr>
            <p:cNvPr id="19" name="Rectangle: Rounded Corners 18">
              <a:extLst>
                <a:ext uri="{FF2B5EF4-FFF2-40B4-BE49-F238E27FC236}">
                  <a16:creationId xmlns:a16="http://schemas.microsoft.com/office/drawing/2014/main" id="{D8FDC16D-6881-4A6B-9CC6-E9CF45C08599}"/>
                </a:ext>
              </a:extLst>
            </p:cNvPr>
            <p:cNvSpPr/>
            <p:nvPr/>
          </p:nvSpPr>
          <p:spPr>
            <a:xfrm>
              <a:off x="2538413" y="55733"/>
              <a:ext cx="204053" cy="176387"/>
            </a:xfrm>
            <a:prstGeom prst="roundRect">
              <a:avLst/>
            </a:prstGeom>
            <a:solidFill>
              <a:srgbClr val="EC6224"/>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8</a:t>
              </a:r>
            </a:p>
          </p:txBody>
        </p:sp>
        <p:grpSp>
          <p:nvGrpSpPr>
            <p:cNvPr id="20" name="Group 19">
              <a:extLst>
                <a:ext uri="{FF2B5EF4-FFF2-40B4-BE49-F238E27FC236}">
                  <a16:creationId xmlns:a16="http://schemas.microsoft.com/office/drawing/2014/main" id="{13A90D14-8929-49FE-BCEA-8F6AC5595E23}"/>
                </a:ext>
              </a:extLst>
            </p:cNvPr>
            <p:cNvGrpSpPr/>
            <p:nvPr/>
          </p:nvGrpSpPr>
          <p:grpSpPr>
            <a:xfrm>
              <a:off x="701659" y="55733"/>
              <a:ext cx="204053" cy="176387"/>
              <a:chOff x="701659" y="55733"/>
              <a:chExt cx="204053" cy="176387"/>
            </a:xfrm>
          </p:grpSpPr>
          <p:sp>
            <p:nvSpPr>
              <p:cNvPr id="21" name="Rectangle: Rounded Corners 20">
                <a:extLst>
                  <a:ext uri="{FF2B5EF4-FFF2-40B4-BE49-F238E27FC236}">
                    <a16:creationId xmlns:a16="http://schemas.microsoft.com/office/drawing/2014/main" id="{1DD29C2E-92B2-415D-8336-9EB68B20E6DF}"/>
                  </a:ext>
                </a:extLst>
              </p:cNvPr>
              <p:cNvSpPr/>
              <p:nvPr/>
            </p:nvSpPr>
            <p:spPr>
              <a:xfrm>
                <a:off x="701659" y="55733"/>
                <a:ext cx="204053" cy="176387"/>
              </a:xfrm>
              <a:prstGeom prst="roundRect">
                <a:avLst/>
              </a:prstGeom>
              <a:solidFill>
                <a:schemeClr val="accent6">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22" name="Graphic 21" descr="Home with solid fill">
                <a:hlinkClick r:id="rId7" action="ppaction://hlinksldjump"/>
                <a:extLst>
                  <a:ext uri="{FF2B5EF4-FFF2-40B4-BE49-F238E27FC236}">
                    <a16:creationId xmlns:a16="http://schemas.microsoft.com/office/drawing/2014/main" id="{9CF7D58B-02F0-4A5A-8660-860A2DFC8557}"/>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34263" y="63707"/>
                <a:ext cx="136149" cy="136149"/>
              </a:xfrm>
              <a:prstGeom prst="rect">
                <a:avLst/>
              </a:prstGeom>
            </p:spPr>
          </p:pic>
        </p:grpSp>
      </p:grpSp>
      <p:cxnSp>
        <p:nvCxnSpPr>
          <p:cNvPr id="151" name="Straight Arrow Connector 150">
            <a:extLst>
              <a:ext uri="{FF2B5EF4-FFF2-40B4-BE49-F238E27FC236}">
                <a16:creationId xmlns:a16="http://schemas.microsoft.com/office/drawing/2014/main" id="{23B6DD83-33F3-453B-A3D3-478082057C64}"/>
              </a:ext>
            </a:extLst>
          </p:cNvPr>
          <p:cNvCxnSpPr>
            <a:cxnSpLocks/>
            <a:stCxn id="204" idx="2"/>
            <a:endCxn id="101" idx="262"/>
          </p:cNvCxnSpPr>
          <p:nvPr/>
        </p:nvCxnSpPr>
        <p:spPr>
          <a:xfrm>
            <a:off x="3240278" y="3579067"/>
            <a:ext cx="2152003" cy="185951"/>
          </a:xfrm>
          <a:prstGeom prst="straightConnector1">
            <a:avLst/>
          </a:prstGeom>
          <a:ln w="6350">
            <a:solidFill>
              <a:srgbClr val="22777B"/>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E5BAEA06-D710-444A-8F83-949E65C3BFA2}"/>
              </a:ext>
            </a:extLst>
          </p:cNvPr>
          <p:cNvCxnSpPr>
            <a:cxnSpLocks/>
            <a:stCxn id="173" idx="1"/>
          </p:cNvCxnSpPr>
          <p:nvPr/>
        </p:nvCxnSpPr>
        <p:spPr>
          <a:xfrm flipH="1">
            <a:off x="5591399" y="3275400"/>
            <a:ext cx="730102" cy="895335"/>
          </a:xfrm>
          <a:prstGeom prst="straightConnector1">
            <a:avLst/>
          </a:prstGeom>
          <a:ln w="6350">
            <a:solidFill>
              <a:srgbClr val="22777B"/>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20C0A556-E121-4FE6-B085-DBA5BD59FB88}"/>
              </a:ext>
            </a:extLst>
          </p:cNvPr>
          <p:cNvCxnSpPr>
            <a:cxnSpLocks/>
            <a:stCxn id="225" idx="1"/>
          </p:cNvCxnSpPr>
          <p:nvPr/>
        </p:nvCxnSpPr>
        <p:spPr>
          <a:xfrm flipH="1">
            <a:off x="5860516" y="4932811"/>
            <a:ext cx="663806" cy="29893"/>
          </a:xfrm>
          <a:prstGeom prst="straightConnector1">
            <a:avLst/>
          </a:prstGeom>
          <a:ln w="6350">
            <a:solidFill>
              <a:srgbClr val="22777B"/>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4190DA08-5A56-47A4-96A1-1995C7195520}"/>
              </a:ext>
            </a:extLst>
          </p:cNvPr>
          <p:cNvCxnSpPr>
            <a:cxnSpLocks/>
            <a:stCxn id="214" idx="1"/>
          </p:cNvCxnSpPr>
          <p:nvPr/>
        </p:nvCxnSpPr>
        <p:spPr>
          <a:xfrm flipH="1">
            <a:off x="5613325" y="4046044"/>
            <a:ext cx="887218" cy="779054"/>
          </a:xfrm>
          <a:prstGeom prst="straightConnector1">
            <a:avLst/>
          </a:prstGeom>
          <a:ln w="6350">
            <a:solidFill>
              <a:srgbClr val="22777B"/>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2FD0FC24-3B20-45C5-8800-C1B9D60B8745}"/>
              </a:ext>
            </a:extLst>
          </p:cNvPr>
          <p:cNvCxnSpPr>
            <a:cxnSpLocks/>
            <a:stCxn id="235" idx="1"/>
          </p:cNvCxnSpPr>
          <p:nvPr/>
        </p:nvCxnSpPr>
        <p:spPr>
          <a:xfrm flipH="1" flipV="1">
            <a:off x="5075012" y="4829663"/>
            <a:ext cx="1246489" cy="951730"/>
          </a:xfrm>
          <a:prstGeom prst="straightConnector1">
            <a:avLst/>
          </a:prstGeom>
          <a:ln w="6350">
            <a:solidFill>
              <a:srgbClr val="22777B"/>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A841BE94-CF0D-4AE3-A15B-141EAA7ED11F}"/>
              </a:ext>
            </a:extLst>
          </p:cNvPr>
          <p:cNvCxnSpPr>
            <a:cxnSpLocks/>
            <a:stCxn id="167" idx="3"/>
            <a:endCxn id="111" idx="190"/>
          </p:cNvCxnSpPr>
          <p:nvPr/>
        </p:nvCxnSpPr>
        <p:spPr>
          <a:xfrm>
            <a:off x="6202022" y="2144371"/>
            <a:ext cx="649823" cy="558148"/>
          </a:xfrm>
          <a:prstGeom prst="straightConnector1">
            <a:avLst/>
          </a:prstGeom>
          <a:ln w="6350">
            <a:solidFill>
              <a:srgbClr val="22777B"/>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594EBE3C-84CB-456B-90CA-CAC9D3B6BFC1}"/>
              </a:ext>
            </a:extLst>
          </p:cNvPr>
          <p:cNvSpPr txBox="1"/>
          <p:nvPr/>
        </p:nvSpPr>
        <p:spPr>
          <a:xfrm>
            <a:off x="658813" y="274425"/>
            <a:ext cx="6724448" cy="230832"/>
          </a:xfrm>
          <a:prstGeom prst="rect">
            <a:avLst/>
          </a:prstGeom>
          <a:noFill/>
          <a:ln w="9525">
            <a:noFill/>
          </a:ln>
          <a:extLst>
            <a:ext uri="{91240B29-F687-4F45-9708-019B960494DF}">
              <a14:hiddenLine xmlns:a14="http://schemas.microsoft.com/office/drawing/2010/main" w="9525">
                <a:solidFill>
                  <a:srgbClr val="FFFFFF"/>
                </a:solidFill>
              </a14:hiddenLine>
            </a:ext>
          </a:extLst>
        </p:spPr>
        <p:txBody>
          <a:bodyPr wrap="square">
            <a:spAutoFit/>
          </a:bodyPr>
          <a:lstStyle/>
          <a:p>
            <a:pPr marL="0" indent="0">
              <a:buNone/>
            </a:pPr>
            <a:r>
              <a:rPr lang="nl-NL" sz="1000" b="1" dirty="0">
                <a:solidFill>
                  <a:srgbClr val="FFFFFF"/>
                </a:solidFill>
              </a:rPr>
              <a:t>Regionaal samenwerken</a:t>
            </a:r>
          </a:p>
        </p:txBody>
      </p:sp>
      <p:sp>
        <p:nvSpPr>
          <p:cNvPr id="163" name="TextBox 162">
            <a:extLst>
              <a:ext uri="{FF2B5EF4-FFF2-40B4-BE49-F238E27FC236}">
                <a16:creationId xmlns:a16="http://schemas.microsoft.com/office/drawing/2014/main" id="{0694BE65-94AC-4074-8514-86518F57B159}"/>
              </a:ext>
            </a:extLst>
          </p:cNvPr>
          <p:cNvSpPr txBox="1"/>
          <p:nvPr/>
        </p:nvSpPr>
        <p:spPr>
          <a:xfrm>
            <a:off x="658813" y="451367"/>
            <a:ext cx="10921582" cy="757130"/>
          </a:xfrm>
          <a:prstGeom prst="rect">
            <a:avLst/>
          </a:prstGeom>
          <a:noFill/>
          <a:ln w="9525">
            <a:noFill/>
          </a:ln>
          <a:extLst>
            <a:ext uri="{91240B29-F687-4F45-9708-019B960494DF}">
              <a14:hiddenLine xmlns:a14="http://schemas.microsoft.com/office/drawing/2010/main" w="9525">
                <a:solidFill>
                  <a:srgbClr val="FFFFFF"/>
                </a:solidFill>
              </a14:hiddenLine>
            </a:ext>
          </a:extLst>
        </p:spPr>
        <p:txBody>
          <a:bodyPr wrap="square" anchor="ctr">
            <a:spAutoFit/>
          </a:bodyPr>
          <a:lstStyle/>
          <a:p>
            <a:pPr marL="0" indent="0">
              <a:buNone/>
            </a:pPr>
            <a:r>
              <a:rPr lang="en-GB" sz="2400" b="1" dirty="0" err="1">
                <a:solidFill>
                  <a:srgbClr val="FFFFFF"/>
                </a:solidFill>
              </a:rPr>
              <a:t>Regionale</a:t>
            </a:r>
            <a:r>
              <a:rPr lang="en-GB" sz="2400" b="1" dirty="0">
                <a:solidFill>
                  <a:srgbClr val="FFFFFF"/>
                </a:solidFill>
              </a:rPr>
              <a:t> </a:t>
            </a:r>
            <a:r>
              <a:rPr lang="en-GB" sz="2400" b="1" dirty="0" err="1">
                <a:solidFill>
                  <a:srgbClr val="FFFFFF"/>
                </a:solidFill>
              </a:rPr>
              <a:t>samenwerkingsverbanden</a:t>
            </a:r>
            <a:r>
              <a:rPr lang="en-GB" sz="2400" b="1" dirty="0">
                <a:solidFill>
                  <a:srgbClr val="FFFFFF"/>
                </a:solidFill>
              </a:rPr>
              <a:t> </a:t>
            </a:r>
            <a:r>
              <a:rPr lang="en-GB" sz="2400" b="1" dirty="0" err="1">
                <a:solidFill>
                  <a:srgbClr val="FFFFFF"/>
                </a:solidFill>
              </a:rPr>
              <a:t>richten</a:t>
            </a:r>
            <a:r>
              <a:rPr lang="en-GB" sz="2400" b="1" dirty="0">
                <a:solidFill>
                  <a:srgbClr val="FFFFFF"/>
                </a:solidFill>
              </a:rPr>
              <a:t> </a:t>
            </a:r>
            <a:r>
              <a:rPr lang="en-GB" sz="2400" b="1" dirty="0" err="1">
                <a:solidFill>
                  <a:srgbClr val="FFFFFF"/>
                </a:solidFill>
              </a:rPr>
              <a:t>zich</a:t>
            </a:r>
            <a:r>
              <a:rPr lang="en-GB" sz="2400" b="1" dirty="0">
                <a:solidFill>
                  <a:srgbClr val="FFFFFF"/>
                </a:solidFill>
              </a:rPr>
              <a:t> de </a:t>
            </a:r>
            <a:r>
              <a:rPr lang="en-GB" sz="2400" b="1" dirty="0" err="1">
                <a:solidFill>
                  <a:srgbClr val="FFFFFF"/>
                </a:solidFill>
              </a:rPr>
              <a:t>komende</a:t>
            </a:r>
            <a:r>
              <a:rPr lang="en-GB" sz="2400" b="1" dirty="0">
                <a:solidFill>
                  <a:srgbClr val="FFFFFF"/>
                </a:solidFill>
              </a:rPr>
              <a:t> 5 à 10 </a:t>
            </a:r>
            <a:r>
              <a:rPr lang="en-GB" sz="2400" b="1" dirty="0" err="1">
                <a:solidFill>
                  <a:srgbClr val="FFFFFF"/>
                </a:solidFill>
              </a:rPr>
              <a:t>jaar</a:t>
            </a:r>
            <a:r>
              <a:rPr lang="en-GB" sz="2400" b="1" dirty="0">
                <a:solidFill>
                  <a:srgbClr val="FFFFFF"/>
                </a:solidFill>
              </a:rPr>
              <a:t> met name op de </a:t>
            </a:r>
            <a:r>
              <a:rPr lang="en-GB" sz="2400" b="1" dirty="0" err="1">
                <a:solidFill>
                  <a:srgbClr val="FFFFFF"/>
                </a:solidFill>
              </a:rPr>
              <a:t>aansluiting</a:t>
            </a:r>
            <a:r>
              <a:rPr lang="en-GB" sz="2400" b="1" dirty="0">
                <a:solidFill>
                  <a:srgbClr val="FFFFFF"/>
                </a:solidFill>
              </a:rPr>
              <a:t> van doelgroepenvervoer met (flex-)OV</a:t>
            </a:r>
            <a:endParaRPr lang="nl-NL" sz="2400" b="1" dirty="0">
              <a:solidFill>
                <a:srgbClr val="FFFFFF"/>
              </a:solidFill>
            </a:endParaRPr>
          </a:p>
        </p:txBody>
      </p:sp>
      <p:grpSp>
        <p:nvGrpSpPr>
          <p:cNvPr id="89" name="Group 88">
            <a:extLst>
              <a:ext uri="{FF2B5EF4-FFF2-40B4-BE49-F238E27FC236}">
                <a16:creationId xmlns:a16="http://schemas.microsoft.com/office/drawing/2014/main" id="{5BC73D14-D9F9-4D09-8A27-C217814A7455}"/>
              </a:ext>
            </a:extLst>
          </p:cNvPr>
          <p:cNvGrpSpPr/>
          <p:nvPr/>
        </p:nvGrpSpPr>
        <p:grpSpPr>
          <a:xfrm>
            <a:off x="1245515" y="1800165"/>
            <a:ext cx="4956507" cy="688411"/>
            <a:chOff x="3997430" y="1634700"/>
            <a:chExt cx="4956507" cy="688411"/>
          </a:xfrm>
        </p:grpSpPr>
        <p:sp>
          <p:nvSpPr>
            <p:cNvPr id="167" name="Content Placeholder 2">
              <a:extLst>
                <a:ext uri="{FF2B5EF4-FFF2-40B4-BE49-F238E27FC236}">
                  <a16:creationId xmlns:a16="http://schemas.microsoft.com/office/drawing/2014/main" id="{FE970972-1F87-40C8-8982-BBF9FDEEF2C0}"/>
                </a:ext>
              </a:extLst>
            </p:cNvPr>
            <p:cNvSpPr txBox="1">
              <a:spLocks/>
            </p:cNvSpPr>
            <p:nvPr/>
          </p:nvSpPr>
          <p:spPr>
            <a:xfrm>
              <a:off x="3997430" y="1634700"/>
              <a:ext cx="4956507" cy="688411"/>
            </a:xfrm>
            <a:prstGeom prst="rect">
              <a:avLst/>
            </a:prstGeom>
            <a:solidFill>
              <a:schemeClr val="accent4">
                <a:lumMod val="20000"/>
                <a:lumOff val="80000"/>
              </a:schemeClr>
            </a:solidFill>
            <a:ln w="6350">
              <a:solidFill>
                <a:srgbClr val="22777B"/>
              </a:solidFill>
              <a:prstDash val="soli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defRPr lang="nl-NL"/>
              </a:defPPr>
              <a:lvl1pPr marL="0" marR="0" lvl="0" indent="0" fontAlgn="auto">
                <a:spcAft>
                  <a:spcPts val="0"/>
                </a:spcAft>
                <a:buClr>
                  <a:srgbClr val="22777B"/>
                </a:buClr>
                <a:buSzTx/>
                <a:buNone/>
                <a:tabLst/>
                <a:defRPr kumimoji="0" sz="1000" b="0" i="0" u="none" strike="noStrike" cap="none" spc="0" normalizeH="0" baseline="0">
                  <a:ln>
                    <a:noFill/>
                  </a:ln>
                  <a:effectLst/>
                  <a:uLnTx/>
                  <a:uFillTx/>
                </a:defRPr>
              </a:lvl1pPr>
            </a:lstStyle>
            <a:p>
              <a:r>
                <a:rPr lang="nl-NL" b="1" dirty="0"/>
                <a:t>24 gemeenten Groningen-Drenthe </a:t>
              </a:r>
              <a:br>
                <a:rPr lang="nl-NL" b="1" dirty="0"/>
              </a:br>
              <a:endParaRPr lang="nl-NL" b="1" dirty="0"/>
            </a:p>
          </p:txBody>
        </p:sp>
        <p:sp>
          <p:nvSpPr>
            <p:cNvPr id="166" name="Rectangle: Rounded Corners 165">
              <a:extLst>
                <a:ext uri="{FF2B5EF4-FFF2-40B4-BE49-F238E27FC236}">
                  <a16:creationId xmlns:a16="http://schemas.microsoft.com/office/drawing/2014/main" id="{7E247A1F-9A5B-405D-8F68-16FEA79F19DA}"/>
                </a:ext>
              </a:extLst>
            </p:cNvPr>
            <p:cNvSpPr/>
            <p:nvPr/>
          </p:nvSpPr>
          <p:spPr>
            <a:xfrm>
              <a:off x="8402586" y="1652749"/>
              <a:ext cx="204053" cy="176387"/>
            </a:xfrm>
            <a:prstGeom prst="roundRect">
              <a:avLst/>
            </a:prstGeom>
            <a:solidFill>
              <a:srgbClr val="22777B"/>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4</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69" name="Rectangle: Rounded Corners 168">
              <a:extLst>
                <a:ext uri="{FF2B5EF4-FFF2-40B4-BE49-F238E27FC236}">
                  <a16:creationId xmlns:a16="http://schemas.microsoft.com/office/drawing/2014/main" id="{71802D3E-55D3-4166-B3D2-72A71BA14A11}"/>
                </a:ext>
              </a:extLst>
            </p:cNvPr>
            <p:cNvSpPr/>
            <p:nvPr/>
          </p:nvSpPr>
          <p:spPr>
            <a:xfrm>
              <a:off x="8659425" y="1652749"/>
              <a:ext cx="204053" cy="176387"/>
            </a:xfrm>
            <a:prstGeom prst="roundRect">
              <a:avLst/>
            </a:prstGeom>
            <a:solidFill>
              <a:srgbClr val="22777B"/>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5</a:t>
              </a:r>
            </a:p>
          </p:txBody>
        </p:sp>
      </p:grpSp>
      <p:grpSp>
        <p:nvGrpSpPr>
          <p:cNvPr id="172" name="Group 171">
            <a:extLst>
              <a:ext uri="{FF2B5EF4-FFF2-40B4-BE49-F238E27FC236}">
                <a16:creationId xmlns:a16="http://schemas.microsoft.com/office/drawing/2014/main" id="{D2576D45-BB95-4125-AF4A-C3673F38EB38}"/>
              </a:ext>
            </a:extLst>
          </p:cNvPr>
          <p:cNvGrpSpPr/>
          <p:nvPr/>
        </p:nvGrpSpPr>
        <p:grpSpPr>
          <a:xfrm>
            <a:off x="6321501" y="2931194"/>
            <a:ext cx="4956507" cy="688411"/>
            <a:chOff x="5848053" y="1656373"/>
            <a:chExt cx="4956507" cy="688411"/>
          </a:xfrm>
        </p:grpSpPr>
        <p:sp>
          <p:nvSpPr>
            <p:cNvPr id="173" name="Content Placeholder 2">
              <a:hlinkClick r:id="rId10"/>
              <a:extLst>
                <a:ext uri="{FF2B5EF4-FFF2-40B4-BE49-F238E27FC236}">
                  <a16:creationId xmlns:a16="http://schemas.microsoft.com/office/drawing/2014/main" id="{63EE0333-CB79-4A8D-AF93-C49CAF91219D}"/>
                </a:ext>
              </a:extLst>
            </p:cNvPr>
            <p:cNvSpPr txBox="1">
              <a:spLocks/>
            </p:cNvSpPr>
            <p:nvPr/>
          </p:nvSpPr>
          <p:spPr>
            <a:xfrm>
              <a:off x="5848053" y="1656373"/>
              <a:ext cx="4956507" cy="688411"/>
            </a:xfrm>
            <a:prstGeom prst="rect">
              <a:avLst/>
            </a:prstGeom>
            <a:solidFill>
              <a:schemeClr val="accent4">
                <a:lumMod val="20000"/>
                <a:lumOff val="80000"/>
              </a:schemeClr>
            </a:solidFill>
            <a:ln w="6350">
              <a:solidFill>
                <a:srgbClr val="22777B"/>
              </a:solidFill>
              <a:prstDash val="soli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defRPr lang="nl-NL"/>
              </a:defPPr>
              <a:lvl1pPr marL="0" marR="0" lvl="0" indent="0" fontAlgn="auto">
                <a:spcAft>
                  <a:spcPts val="0"/>
                </a:spcAft>
                <a:buClr>
                  <a:srgbClr val="22777B"/>
                </a:buClr>
                <a:buSzTx/>
                <a:buNone/>
                <a:tabLst/>
                <a:defRPr kumimoji="0" sz="1000" b="0" i="0" u="none" strike="noStrike" cap="none" spc="0" normalizeH="0" baseline="0">
                  <a:ln>
                    <a:noFill/>
                  </a:ln>
                  <a:effectLst/>
                  <a:uLnTx/>
                  <a:uFillTx/>
                </a:defRPr>
              </a:lvl1pPr>
            </a:lstStyle>
            <a:p>
              <a:r>
                <a:rPr lang="nl-NL" b="1" dirty="0"/>
                <a:t>16 gemeenten in Utrecht </a:t>
              </a:r>
              <a:br>
                <a:rPr lang="nl-NL" b="1" dirty="0"/>
              </a:br>
              <a:endParaRPr lang="nl-NL" b="1" dirty="0"/>
            </a:p>
          </p:txBody>
        </p:sp>
        <p:sp>
          <p:nvSpPr>
            <p:cNvPr id="174" name="Rectangle: Rounded Corners 173">
              <a:extLst>
                <a:ext uri="{FF2B5EF4-FFF2-40B4-BE49-F238E27FC236}">
                  <a16:creationId xmlns:a16="http://schemas.microsoft.com/office/drawing/2014/main" id="{A45B4737-B468-44B2-B310-5841626E99D2}"/>
                </a:ext>
              </a:extLst>
            </p:cNvPr>
            <p:cNvSpPr/>
            <p:nvPr/>
          </p:nvSpPr>
          <p:spPr>
            <a:xfrm>
              <a:off x="10253209" y="1674422"/>
              <a:ext cx="204053" cy="176387"/>
            </a:xfrm>
            <a:prstGeom prst="roundRect">
              <a:avLst/>
            </a:prstGeom>
            <a:solidFill>
              <a:srgbClr val="FFBD42"/>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2</a:t>
              </a:r>
            </a:p>
          </p:txBody>
        </p:sp>
        <p:sp>
          <p:nvSpPr>
            <p:cNvPr id="178" name="Rectangle: Rounded Corners 177">
              <a:extLst>
                <a:ext uri="{FF2B5EF4-FFF2-40B4-BE49-F238E27FC236}">
                  <a16:creationId xmlns:a16="http://schemas.microsoft.com/office/drawing/2014/main" id="{F702FEB5-6C26-4297-8F42-0EC17E7C8C1A}"/>
                </a:ext>
              </a:extLst>
            </p:cNvPr>
            <p:cNvSpPr/>
            <p:nvPr/>
          </p:nvSpPr>
          <p:spPr>
            <a:xfrm>
              <a:off x="10510048" y="1674422"/>
              <a:ext cx="204053" cy="176387"/>
            </a:xfrm>
            <a:prstGeom prst="roundRect">
              <a:avLst/>
            </a:prstGeom>
            <a:solidFill>
              <a:srgbClr val="FFBD42"/>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3</a:t>
              </a:r>
            </a:p>
          </p:txBody>
        </p:sp>
      </p:grpSp>
      <p:grpSp>
        <p:nvGrpSpPr>
          <p:cNvPr id="47" name="Group 46">
            <a:extLst>
              <a:ext uri="{FF2B5EF4-FFF2-40B4-BE49-F238E27FC236}">
                <a16:creationId xmlns:a16="http://schemas.microsoft.com/office/drawing/2014/main" id="{35A042ED-CD1E-485D-9402-D868CF3B23B2}"/>
              </a:ext>
            </a:extLst>
          </p:cNvPr>
          <p:cNvGrpSpPr/>
          <p:nvPr/>
        </p:nvGrpSpPr>
        <p:grpSpPr>
          <a:xfrm>
            <a:off x="9313604" y="1585586"/>
            <a:ext cx="2216596" cy="1112738"/>
            <a:chOff x="9313604" y="1585586"/>
            <a:chExt cx="2216596" cy="1112738"/>
          </a:xfrm>
        </p:grpSpPr>
        <p:sp>
          <p:nvSpPr>
            <p:cNvPr id="27" name="Rectangle 26">
              <a:extLst>
                <a:ext uri="{FF2B5EF4-FFF2-40B4-BE49-F238E27FC236}">
                  <a16:creationId xmlns:a16="http://schemas.microsoft.com/office/drawing/2014/main" id="{B4F3EF50-A963-4B30-8438-4AFF6E064BC3}"/>
                </a:ext>
              </a:extLst>
            </p:cNvPr>
            <p:cNvSpPr/>
            <p:nvPr/>
          </p:nvSpPr>
          <p:spPr>
            <a:xfrm>
              <a:off x="9313604" y="1585586"/>
              <a:ext cx="2216596" cy="1112738"/>
            </a:xfrm>
            <a:prstGeom prst="rect">
              <a:avLst/>
            </a:prstGeom>
            <a:solidFill>
              <a:schemeClr val="accent6">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kumimoji="0" lang="nl-NL" sz="1000" b="1" i="0" u="none" strike="noStrike" kern="1200" cap="none" spc="0" normalizeH="0" baseline="0" noProof="0" dirty="0">
                  <a:ln>
                    <a:noFill/>
                  </a:ln>
                  <a:effectLst/>
                  <a:uLnTx/>
                  <a:uFillTx/>
                  <a:latin typeface="Corbel" panose="020B0503020204020204" pitchFamily="34" charset="0"/>
                  <a:ea typeface="+mn-ea"/>
                  <a:cs typeface="+mn-cs"/>
                </a:rPr>
                <a:t>Legenda</a:t>
              </a:r>
            </a:p>
          </p:txBody>
        </p:sp>
        <p:sp>
          <p:nvSpPr>
            <p:cNvPr id="188" name="TextBox 187">
              <a:extLst>
                <a:ext uri="{FF2B5EF4-FFF2-40B4-BE49-F238E27FC236}">
                  <a16:creationId xmlns:a16="http://schemas.microsoft.com/office/drawing/2014/main" id="{41CD3DDB-BC94-4764-9A12-0D24A2BF494C}"/>
                </a:ext>
              </a:extLst>
            </p:cNvPr>
            <p:cNvSpPr txBox="1"/>
            <p:nvPr/>
          </p:nvSpPr>
          <p:spPr>
            <a:xfrm>
              <a:off x="9650059" y="2085501"/>
              <a:ext cx="1725775" cy="260925"/>
            </a:xfrm>
            <a:prstGeom prst="rect">
              <a:avLst/>
            </a:prstGeom>
          </p:spPr>
          <p:txBody>
            <a:bodyPr vert="horz" wrap="square" lIns="0" tIns="0" rIns="0" bIns="0" rtlCol="0" anchor="ctr">
              <a:noAutofit/>
            </a:bodyPr>
            <a:lstStyle/>
            <a:p>
              <a:pPr marL="0" indent="0" algn="l">
                <a:buNone/>
              </a:pPr>
              <a:r>
                <a:rPr lang="nl-NL" sz="1000" noProof="0" dirty="0">
                  <a:latin typeface="+mn-lt"/>
                </a:rPr>
                <a:t>Innovatie is nog in ontwikkeling</a:t>
              </a:r>
            </a:p>
          </p:txBody>
        </p:sp>
        <p:sp>
          <p:nvSpPr>
            <p:cNvPr id="190" name="TextBox 189">
              <a:extLst>
                <a:ext uri="{FF2B5EF4-FFF2-40B4-BE49-F238E27FC236}">
                  <a16:creationId xmlns:a16="http://schemas.microsoft.com/office/drawing/2014/main" id="{B5620E27-CB38-45AD-BB7E-132878DED53A}"/>
                </a:ext>
              </a:extLst>
            </p:cNvPr>
            <p:cNvSpPr txBox="1"/>
            <p:nvPr/>
          </p:nvSpPr>
          <p:spPr>
            <a:xfrm>
              <a:off x="9656885" y="1800237"/>
              <a:ext cx="1826875" cy="269984"/>
            </a:xfrm>
            <a:prstGeom prst="rect">
              <a:avLst/>
            </a:prstGeom>
          </p:spPr>
          <p:txBody>
            <a:bodyPr vert="horz" wrap="square" lIns="0" tIns="0" rIns="0" bIns="0" rtlCol="0" anchor="ctr">
              <a:noAutofit/>
            </a:bodyPr>
            <a:lstStyle/>
            <a:p>
              <a:pPr marL="0" indent="0" algn="l">
                <a:buNone/>
              </a:pPr>
              <a:r>
                <a:rPr lang="nl-NL" sz="1000" dirty="0">
                  <a:latin typeface="+mj-lt"/>
                </a:rPr>
                <a:t>Innovatie is al doorgevoerd</a:t>
              </a:r>
            </a:p>
          </p:txBody>
        </p:sp>
        <p:sp>
          <p:nvSpPr>
            <p:cNvPr id="197" name="Rectangle: Rounded Corners 196">
              <a:extLst>
                <a:ext uri="{FF2B5EF4-FFF2-40B4-BE49-F238E27FC236}">
                  <a16:creationId xmlns:a16="http://schemas.microsoft.com/office/drawing/2014/main" id="{EEBCB1E4-EFB5-4A23-80EB-7F4381AEF672}"/>
                </a:ext>
              </a:extLst>
            </p:cNvPr>
            <p:cNvSpPr/>
            <p:nvPr/>
          </p:nvSpPr>
          <p:spPr>
            <a:xfrm>
              <a:off x="9395887" y="1847036"/>
              <a:ext cx="204053" cy="176387"/>
            </a:xfrm>
            <a:prstGeom prst="roundRect">
              <a:avLst/>
            </a:prstGeom>
            <a:solidFill>
              <a:srgbClr val="22777B"/>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x</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98" name="Rectangle: Rounded Corners 197">
              <a:extLst>
                <a:ext uri="{FF2B5EF4-FFF2-40B4-BE49-F238E27FC236}">
                  <a16:creationId xmlns:a16="http://schemas.microsoft.com/office/drawing/2014/main" id="{EB6AE503-811A-4918-ADFF-05FC3AB4EB86}"/>
                </a:ext>
              </a:extLst>
            </p:cNvPr>
            <p:cNvSpPr/>
            <p:nvPr/>
          </p:nvSpPr>
          <p:spPr>
            <a:xfrm>
              <a:off x="9395887" y="2127770"/>
              <a:ext cx="204053" cy="176387"/>
            </a:xfrm>
            <a:prstGeom prst="roundRect">
              <a:avLst/>
            </a:prstGeom>
            <a:solidFill>
              <a:srgbClr val="FFBD42"/>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y</a:t>
              </a:r>
            </a:p>
          </p:txBody>
        </p:sp>
        <p:sp>
          <p:nvSpPr>
            <p:cNvPr id="199" name="TextBox 198">
              <a:extLst>
                <a:ext uri="{FF2B5EF4-FFF2-40B4-BE49-F238E27FC236}">
                  <a16:creationId xmlns:a16="http://schemas.microsoft.com/office/drawing/2014/main" id="{838E71D3-9D69-4E39-978C-953FF1CA709A}"/>
                </a:ext>
              </a:extLst>
            </p:cNvPr>
            <p:cNvSpPr txBox="1"/>
            <p:nvPr/>
          </p:nvSpPr>
          <p:spPr>
            <a:xfrm>
              <a:off x="9395887" y="2361706"/>
              <a:ext cx="2087873" cy="260925"/>
            </a:xfrm>
            <a:prstGeom prst="rect">
              <a:avLst/>
            </a:prstGeom>
          </p:spPr>
          <p:txBody>
            <a:bodyPr vert="horz" wrap="square" lIns="0" tIns="0" rIns="0" bIns="0" rtlCol="0" anchor="ctr">
              <a:noAutofit/>
            </a:bodyPr>
            <a:lstStyle/>
            <a:p>
              <a:pPr marL="0" indent="0" algn="l">
                <a:buNone/>
              </a:pPr>
              <a:r>
                <a:rPr lang="nl-NL" sz="1000" i="1" dirty="0">
                  <a:latin typeface="+mn-lt"/>
                </a:rPr>
                <a:t>Klik op het tekstvak om naar een link met meer informatie te gaan</a:t>
              </a:r>
              <a:endParaRPr lang="nl-NL" sz="1000" i="1" noProof="0" dirty="0">
                <a:latin typeface="+mn-lt"/>
              </a:endParaRPr>
            </a:p>
          </p:txBody>
        </p:sp>
      </p:grpSp>
      <p:grpSp>
        <p:nvGrpSpPr>
          <p:cNvPr id="200" name="Group 199">
            <a:extLst>
              <a:ext uri="{FF2B5EF4-FFF2-40B4-BE49-F238E27FC236}">
                <a16:creationId xmlns:a16="http://schemas.microsoft.com/office/drawing/2014/main" id="{CB42F556-489B-48D7-ACDC-0C465F1FDC80}"/>
              </a:ext>
            </a:extLst>
          </p:cNvPr>
          <p:cNvGrpSpPr/>
          <p:nvPr/>
        </p:nvGrpSpPr>
        <p:grpSpPr>
          <a:xfrm>
            <a:off x="760066" y="2876541"/>
            <a:ext cx="4960424" cy="702526"/>
            <a:chOff x="5844136" y="1656373"/>
            <a:chExt cx="4960424" cy="702526"/>
          </a:xfrm>
        </p:grpSpPr>
        <p:sp>
          <p:nvSpPr>
            <p:cNvPr id="201" name="Content Placeholder 2">
              <a:hlinkClick r:id="rId11"/>
              <a:extLst>
                <a:ext uri="{FF2B5EF4-FFF2-40B4-BE49-F238E27FC236}">
                  <a16:creationId xmlns:a16="http://schemas.microsoft.com/office/drawing/2014/main" id="{2489DEAE-CB34-4726-9781-297AA932B822}"/>
                </a:ext>
              </a:extLst>
            </p:cNvPr>
            <p:cNvSpPr txBox="1">
              <a:spLocks/>
            </p:cNvSpPr>
            <p:nvPr/>
          </p:nvSpPr>
          <p:spPr>
            <a:xfrm>
              <a:off x="5848053" y="1656373"/>
              <a:ext cx="4956507" cy="688411"/>
            </a:xfrm>
            <a:prstGeom prst="rect">
              <a:avLst/>
            </a:prstGeom>
            <a:solidFill>
              <a:schemeClr val="accent4">
                <a:lumMod val="20000"/>
                <a:lumOff val="80000"/>
              </a:schemeClr>
            </a:solidFill>
            <a:ln w="6350">
              <a:solidFill>
                <a:srgbClr val="22777B"/>
              </a:solidFill>
              <a:prstDash val="soli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defRPr lang="nl-NL"/>
              </a:defPPr>
              <a:lvl1pPr marL="0" marR="0" lvl="0" indent="0" fontAlgn="auto">
                <a:spcAft>
                  <a:spcPts val="0"/>
                </a:spcAft>
                <a:buClr>
                  <a:srgbClr val="22777B"/>
                </a:buClr>
                <a:buSzTx/>
                <a:buNone/>
                <a:tabLst/>
                <a:defRPr kumimoji="0" sz="1000" b="0" i="0" u="none" strike="noStrike" cap="none" spc="0" normalizeH="0" baseline="0">
                  <a:ln>
                    <a:noFill/>
                  </a:ln>
                  <a:effectLst/>
                  <a:uLnTx/>
                  <a:uFillTx/>
                </a:defRPr>
              </a:lvl1pPr>
            </a:lstStyle>
            <a:p>
              <a:r>
                <a:rPr lang="nl-NL" b="1" dirty="0"/>
                <a:t>Vervoerregio Amsterdam </a:t>
              </a:r>
              <a:br>
                <a:rPr lang="nl-NL" b="1" dirty="0"/>
              </a:br>
              <a:endParaRPr lang="nl-NL" b="1" dirty="0"/>
            </a:p>
          </p:txBody>
        </p:sp>
        <p:sp>
          <p:nvSpPr>
            <p:cNvPr id="202" name="Rectangle: Rounded Corners 201">
              <a:extLst>
                <a:ext uri="{FF2B5EF4-FFF2-40B4-BE49-F238E27FC236}">
                  <a16:creationId xmlns:a16="http://schemas.microsoft.com/office/drawing/2014/main" id="{14EE1967-31A9-444B-8379-6561C4710BBE}"/>
                </a:ext>
              </a:extLst>
            </p:cNvPr>
            <p:cNvSpPr/>
            <p:nvPr/>
          </p:nvSpPr>
          <p:spPr>
            <a:xfrm>
              <a:off x="10253209" y="1674422"/>
              <a:ext cx="204053" cy="176387"/>
            </a:xfrm>
            <a:prstGeom prst="roundRect">
              <a:avLst/>
            </a:prstGeom>
            <a:solidFill>
              <a:srgbClr val="FFBD42"/>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2</a:t>
              </a:r>
            </a:p>
          </p:txBody>
        </p:sp>
        <p:sp>
          <p:nvSpPr>
            <p:cNvPr id="203" name="Rectangle: Rounded Corners 202">
              <a:extLst>
                <a:ext uri="{FF2B5EF4-FFF2-40B4-BE49-F238E27FC236}">
                  <a16:creationId xmlns:a16="http://schemas.microsoft.com/office/drawing/2014/main" id="{DAA89DCD-AE04-487A-9110-C8B1D69C1133}"/>
                </a:ext>
              </a:extLst>
            </p:cNvPr>
            <p:cNvSpPr/>
            <p:nvPr/>
          </p:nvSpPr>
          <p:spPr>
            <a:xfrm>
              <a:off x="10510048" y="1674422"/>
              <a:ext cx="204053" cy="176387"/>
            </a:xfrm>
            <a:prstGeom prst="roundRect">
              <a:avLst/>
            </a:prstGeom>
            <a:solidFill>
              <a:srgbClr val="FFBD42"/>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3</a:t>
              </a:r>
            </a:p>
          </p:txBody>
        </p:sp>
        <p:sp>
          <p:nvSpPr>
            <p:cNvPr id="204" name="TextBox 203">
              <a:extLst>
                <a:ext uri="{FF2B5EF4-FFF2-40B4-BE49-F238E27FC236}">
                  <a16:creationId xmlns:a16="http://schemas.microsoft.com/office/drawing/2014/main" id="{49390074-1817-41E2-BAC1-8B21306588A7}"/>
                </a:ext>
              </a:extLst>
            </p:cNvPr>
            <p:cNvSpPr txBox="1"/>
            <p:nvPr/>
          </p:nvSpPr>
          <p:spPr>
            <a:xfrm>
              <a:off x="5844136" y="1851068"/>
              <a:ext cx="4960424" cy="507831"/>
            </a:xfrm>
            <a:prstGeom prst="rect">
              <a:avLst/>
            </a:prstGeom>
            <a:noFill/>
          </p:spPr>
          <p:txBody>
            <a:bodyPr wrap="square">
              <a:spAutoFit/>
            </a:bodyPr>
            <a:lstStyle/>
            <a:p>
              <a:pPr marL="0" indent="0">
                <a:buNone/>
              </a:pPr>
              <a:r>
                <a:rPr lang="nl-NL" sz="1000" dirty="0"/>
                <a:t>De VRA neemt de komende vijf jaar maatregelen om het doelgroepenvervoer beter te laten aansluiten op het OV, onder meer door het OV mentaal en fysiek toegankelijker te maken en flexibele vervoersoplossingen te onderzoeken.</a:t>
              </a:r>
            </a:p>
          </p:txBody>
        </p:sp>
      </p:grpSp>
      <p:grpSp>
        <p:nvGrpSpPr>
          <p:cNvPr id="53" name="Group 52">
            <a:extLst>
              <a:ext uri="{FF2B5EF4-FFF2-40B4-BE49-F238E27FC236}">
                <a16:creationId xmlns:a16="http://schemas.microsoft.com/office/drawing/2014/main" id="{384A4E29-6FD9-4ABB-9478-01896FCFB5F7}"/>
              </a:ext>
            </a:extLst>
          </p:cNvPr>
          <p:cNvGrpSpPr/>
          <p:nvPr/>
        </p:nvGrpSpPr>
        <p:grpSpPr>
          <a:xfrm>
            <a:off x="6500543" y="3701838"/>
            <a:ext cx="4956507" cy="688411"/>
            <a:chOff x="6296872" y="4232891"/>
            <a:chExt cx="4956507" cy="688411"/>
          </a:xfrm>
        </p:grpSpPr>
        <p:sp>
          <p:nvSpPr>
            <p:cNvPr id="214" name="Content Placeholder 2">
              <a:hlinkClick r:id="rId12"/>
              <a:extLst>
                <a:ext uri="{FF2B5EF4-FFF2-40B4-BE49-F238E27FC236}">
                  <a16:creationId xmlns:a16="http://schemas.microsoft.com/office/drawing/2014/main" id="{F4239669-4613-47FC-8AF8-45AE305744D4}"/>
                </a:ext>
              </a:extLst>
            </p:cNvPr>
            <p:cNvSpPr txBox="1">
              <a:spLocks/>
            </p:cNvSpPr>
            <p:nvPr/>
          </p:nvSpPr>
          <p:spPr>
            <a:xfrm>
              <a:off x="6296872" y="4232891"/>
              <a:ext cx="4956507" cy="688411"/>
            </a:xfrm>
            <a:prstGeom prst="rect">
              <a:avLst/>
            </a:prstGeom>
            <a:solidFill>
              <a:schemeClr val="accent4">
                <a:lumMod val="20000"/>
                <a:lumOff val="80000"/>
              </a:schemeClr>
            </a:solidFill>
            <a:ln w="6350">
              <a:solidFill>
                <a:srgbClr val="22777B"/>
              </a:solidFill>
              <a:prstDash val="soli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defRPr lang="nl-NL"/>
              </a:defPPr>
              <a:lvl1pPr marL="0" marR="0" lvl="0" indent="0" fontAlgn="auto">
                <a:spcAft>
                  <a:spcPts val="0"/>
                </a:spcAft>
                <a:buClr>
                  <a:srgbClr val="22777B"/>
                </a:buClr>
                <a:buSzTx/>
                <a:buNone/>
                <a:tabLst/>
                <a:defRPr kumimoji="0" sz="1000" b="0" i="0" u="none" strike="noStrike" cap="none" spc="0" normalizeH="0" baseline="0">
                  <a:ln>
                    <a:noFill/>
                  </a:ln>
                  <a:effectLst/>
                  <a:uLnTx/>
                  <a:uFillTx/>
                </a:defRPr>
              </a:lvl1pPr>
            </a:lstStyle>
            <a:p>
              <a:r>
                <a:rPr lang="nl-NL" b="1" dirty="0"/>
                <a:t>Provincie Brabant</a:t>
              </a:r>
              <a:br>
                <a:rPr lang="nl-NL" b="1" dirty="0"/>
              </a:br>
              <a:endParaRPr lang="nl-NL" b="1" dirty="0"/>
            </a:p>
          </p:txBody>
        </p:sp>
        <p:sp>
          <p:nvSpPr>
            <p:cNvPr id="216" name="Rectangle: Rounded Corners 215">
              <a:extLst>
                <a:ext uri="{FF2B5EF4-FFF2-40B4-BE49-F238E27FC236}">
                  <a16:creationId xmlns:a16="http://schemas.microsoft.com/office/drawing/2014/main" id="{9BE9FA6A-077C-4FAE-9CFD-BF4E6E8DC893}"/>
                </a:ext>
              </a:extLst>
            </p:cNvPr>
            <p:cNvSpPr/>
            <p:nvPr/>
          </p:nvSpPr>
          <p:spPr>
            <a:xfrm>
              <a:off x="10958867" y="4256165"/>
              <a:ext cx="204053" cy="176387"/>
            </a:xfrm>
            <a:prstGeom prst="roundRect">
              <a:avLst/>
            </a:prstGeom>
            <a:solidFill>
              <a:srgbClr val="FFBD42"/>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7</a:t>
              </a:r>
            </a:p>
          </p:txBody>
        </p:sp>
        <p:sp>
          <p:nvSpPr>
            <p:cNvPr id="218" name="Rectangle: Rounded Corners 217">
              <a:extLst>
                <a:ext uri="{FF2B5EF4-FFF2-40B4-BE49-F238E27FC236}">
                  <a16:creationId xmlns:a16="http://schemas.microsoft.com/office/drawing/2014/main" id="{EB89A7CA-1FF9-429C-9D2F-7D25FB00DD32}"/>
                </a:ext>
              </a:extLst>
            </p:cNvPr>
            <p:cNvSpPr/>
            <p:nvPr/>
          </p:nvSpPr>
          <p:spPr>
            <a:xfrm>
              <a:off x="10702028" y="4256165"/>
              <a:ext cx="204053" cy="176387"/>
            </a:xfrm>
            <a:prstGeom prst="roundRect">
              <a:avLst/>
            </a:prstGeom>
            <a:solidFill>
              <a:srgbClr val="FFC000"/>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5</a:t>
              </a:r>
            </a:p>
          </p:txBody>
        </p:sp>
        <p:sp>
          <p:nvSpPr>
            <p:cNvPr id="220" name="Rectangle: Rounded Corners 219">
              <a:extLst>
                <a:ext uri="{FF2B5EF4-FFF2-40B4-BE49-F238E27FC236}">
                  <a16:creationId xmlns:a16="http://schemas.microsoft.com/office/drawing/2014/main" id="{44000911-DC05-4F81-9459-961FE29D6CF4}"/>
                </a:ext>
              </a:extLst>
            </p:cNvPr>
            <p:cNvSpPr/>
            <p:nvPr/>
          </p:nvSpPr>
          <p:spPr>
            <a:xfrm>
              <a:off x="10407516" y="4256165"/>
              <a:ext cx="204053" cy="176387"/>
            </a:xfrm>
            <a:prstGeom prst="roundRect">
              <a:avLst/>
            </a:prstGeom>
            <a:solidFill>
              <a:srgbClr val="FFC000"/>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4</a:t>
              </a:r>
            </a:p>
          </p:txBody>
        </p:sp>
        <p:sp>
          <p:nvSpPr>
            <p:cNvPr id="221" name="Rectangle: Rounded Corners 220">
              <a:extLst>
                <a:ext uri="{FF2B5EF4-FFF2-40B4-BE49-F238E27FC236}">
                  <a16:creationId xmlns:a16="http://schemas.microsoft.com/office/drawing/2014/main" id="{EC9652B2-C325-46DB-95DC-B620FFD37924}"/>
                </a:ext>
              </a:extLst>
            </p:cNvPr>
            <p:cNvSpPr/>
            <p:nvPr/>
          </p:nvSpPr>
          <p:spPr>
            <a:xfrm>
              <a:off x="10113914" y="4256165"/>
              <a:ext cx="204053" cy="176387"/>
            </a:xfrm>
            <a:prstGeom prst="roundRect">
              <a:avLst/>
            </a:prstGeom>
            <a:solidFill>
              <a:srgbClr val="FFC000"/>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3</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222" name="Rectangle: Rounded Corners 221">
              <a:extLst>
                <a:ext uri="{FF2B5EF4-FFF2-40B4-BE49-F238E27FC236}">
                  <a16:creationId xmlns:a16="http://schemas.microsoft.com/office/drawing/2014/main" id="{22BB098A-12CA-482F-BEAD-3C89BE671151}"/>
                </a:ext>
              </a:extLst>
            </p:cNvPr>
            <p:cNvSpPr/>
            <p:nvPr/>
          </p:nvSpPr>
          <p:spPr>
            <a:xfrm>
              <a:off x="9819402" y="4256165"/>
              <a:ext cx="204053" cy="176387"/>
            </a:xfrm>
            <a:prstGeom prst="roundRect">
              <a:avLst/>
            </a:prstGeom>
            <a:solidFill>
              <a:srgbClr val="FFC000"/>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2</a:t>
              </a:r>
            </a:p>
          </p:txBody>
        </p:sp>
      </p:grpSp>
      <p:grpSp>
        <p:nvGrpSpPr>
          <p:cNvPr id="224" name="Group 223">
            <a:extLst>
              <a:ext uri="{FF2B5EF4-FFF2-40B4-BE49-F238E27FC236}">
                <a16:creationId xmlns:a16="http://schemas.microsoft.com/office/drawing/2014/main" id="{028BEAF5-46E0-446F-918A-DB9B731245CA}"/>
              </a:ext>
            </a:extLst>
          </p:cNvPr>
          <p:cNvGrpSpPr/>
          <p:nvPr/>
        </p:nvGrpSpPr>
        <p:grpSpPr>
          <a:xfrm>
            <a:off x="6524322" y="4588605"/>
            <a:ext cx="4956507" cy="688411"/>
            <a:chOff x="6296872" y="4232891"/>
            <a:chExt cx="4956507" cy="688411"/>
          </a:xfrm>
        </p:grpSpPr>
        <p:sp>
          <p:nvSpPr>
            <p:cNvPr id="225" name="Content Placeholder 2">
              <a:hlinkClick r:id="rId13"/>
              <a:extLst>
                <a:ext uri="{FF2B5EF4-FFF2-40B4-BE49-F238E27FC236}">
                  <a16:creationId xmlns:a16="http://schemas.microsoft.com/office/drawing/2014/main" id="{3A7FCAAF-0ABD-463C-A7DD-A9A858A9D85D}"/>
                </a:ext>
              </a:extLst>
            </p:cNvPr>
            <p:cNvSpPr txBox="1">
              <a:spLocks/>
            </p:cNvSpPr>
            <p:nvPr/>
          </p:nvSpPr>
          <p:spPr>
            <a:xfrm>
              <a:off x="6296872" y="4232891"/>
              <a:ext cx="4956507" cy="688411"/>
            </a:xfrm>
            <a:prstGeom prst="rect">
              <a:avLst/>
            </a:prstGeom>
            <a:solidFill>
              <a:schemeClr val="accent4">
                <a:lumMod val="20000"/>
                <a:lumOff val="80000"/>
              </a:schemeClr>
            </a:solidFill>
            <a:ln w="6350">
              <a:solidFill>
                <a:srgbClr val="22777B"/>
              </a:solidFill>
              <a:prstDash val="soli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defRPr lang="nl-NL"/>
              </a:defPPr>
              <a:lvl1pPr marL="0" marR="0" lvl="0" indent="0" fontAlgn="auto">
                <a:spcAft>
                  <a:spcPts val="0"/>
                </a:spcAft>
                <a:buClr>
                  <a:srgbClr val="22777B"/>
                </a:buClr>
                <a:buSzTx/>
                <a:buNone/>
                <a:tabLst/>
                <a:defRPr kumimoji="0" sz="1000" b="0" i="0" u="none" strike="noStrike" cap="none" spc="0" normalizeH="0" baseline="0">
                  <a:ln>
                    <a:noFill/>
                  </a:ln>
                  <a:effectLst/>
                  <a:uLnTx/>
                  <a:uFillTx/>
                </a:defRPr>
              </a:lvl1pPr>
            </a:lstStyle>
            <a:p>
              <a:r>
                <a:rPr lang="nl-NL" b="1" dirty="0"/>
                <a:t>Regio Midden-Brabant </a:t>
              </a:r>
              <a:br>
                <a:rPr lang="nl-NL" b="1" dirty="0"/>
              </a:br>
              <a:endParaRPr lang="nl-NL" b="1" dirty="0"/>
            </a:p>
          </p:txBody>
        </p:sp>
        <p:sp>
          <p:nvSpPr>
            <p:cNvPr id="226" name="Rectangle: Rounded Corners 225">
              <a:extLst>
                <a:ext uri="{FF2B5EF4-FFF2-40B4-BE49-F238E27FC236}">
                  <a16:creationId xmlns:a16="http://schemas.microsoft.com/office/drawing/2014/main" id="{99392D21-29AC-4823-A275-87C2FFE97B8E}"/>
                </a:ext>
              </a:extLst>
            </p:cNvPr>
            <p:cNvSpPr/>
            <p:nvPr/>
          </p:nvSpPr>
          <p:spPr>
            <a:xfrm>
              <a:off x="10958867" y="4256165"/>
              <a:ext cx="204053" cy="176387"/>
            </a:xfrm>
            <a:prstGeom prst="roundRect">
              <a:avLst/>
            </a:prstGeom>
            <a:solidFill>
              <a:srgbClr val="22777B"/>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4</a:t>
              </a:r>
            </a:p>
          </p:txBody>
        </p:sp>
      </p:grpSp>
      <p:grpSp>
        <p:nvGrpSpPr>
          <p:cNvPr id="65" name="Group 64">
            <a:extLst>
              <a:ext uri="{FF2B5EF4-FFF2-40B4-BE49-F238E27FC236}">
                <a16:creationId xmlns:a16="http://schemas.microsoft.com/office/drawing/2014/main" id="{B6D555D3-79E9-439E-860E-2533CC68AE33}"/>
              </a:ext>
            </a:extLst>
          </p:cNvPr>
          <p:cNvGrpSpPr/>
          <p:nvPr/>
        </p:nvGrpSpPr>
        <p:grpSpPr>
          <a:xfrm>
            <a:off x="6321501" y="5402032"/>
            <a:ext cx="4956507" cy="688411"/>
            <a:chOff x="658813" y="5457590"/>
            <a:chExt cx="4956507" cy="688411"/>
          </a:xfrm>
        </p:grpSpPr>
        <p:sp>
          <p:nvSpPr>
            <p:cNvPr id="232" name="Content Placeholder 2">
              <a:hlinkClick r:id="rId14"/>
              <a:extLst>
                <a:ext uri="{FF2B5EF4-FFF2-40B4-BE49-F238E27FC236}">
                  <a16:creationId xmlns:a16="http://schemas.microsoft.com/office/drawing/2014/main" id="{FE25F18A-736A-454F-87F0-67F50939062F}"/>
                </a:ext>
              </a:extLst>
            </p:cNvPr>
            <p:cNvSpPr txBox="1">
              <a:spLocks/>
            </p:cNvSpPr>
            <p:nvPr/>
          </p:nvSpPr>
          <p:spPr>
            <a:xfrm>
              <a:off x="658813" y="5457590"/>
              <a:ext cx="4956507" cy="688411"/>
            </a:xfrm>
            <a:prstGeom prst="rect">
              <a:avLst/>
            </a:prstGeom>
            <a:solidFill>
              <a:schemeClr val="accent4">
                <a:lumMod val="20000"/>
                <a:lumOff val="80000"/>
              </a:schemeClr>
            </a:solidFill>
            <a:ln w="6350">
              <a:solidFill>
                <a:srgbClr val="22777B"/>
              </a:solidFill>
              <a:prstDash val="soli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defRPr lang="nl-NL"/>
              </a:defPPr>
              <a:lvl1pPr marL="0" marR="0" lvl="0" indent="0" fontAlgn="auto">
                <a:spcAft>
                  <a:spcPts val="0"/>
                </a:spcAft>
                <a:buClr>
                  <a:srgbClr val="22777B"/>
                </a:buClr>
                <a:buSzTx/>
                <a:buNone/>
                <a:tabLst/>
                <a:defRPr kumimoji="0" sz="1000" b="0" i="0" u="none" strike="noStrike" cap="none" spc="0" normalizeH="0" baseline="0">
                  <a:ln>
                    <a:noFill/>
                  </a:ln>
                  <a:effectLst/>
                  <a:uLnTx/>
                  <a:uFillTx/>
                </a:defRPr>
              </a:lvl1pPr>
            </a:lstStyle>
            <a:p>
              <a:r>
                <a:rPr lang="nl-NL" b="1" dirty="0"/>
                <a:t>Regio West-Brabant</a:t>
              </a:r>
            </a:p>
          </p:txBody>
        </p:sp>
        <p:sp>
          <p:nvSpPr>
            <p:cNvPr id="234" name="Rectangle: Rounded Corners 233">
              <a:extLst>
                <a:ext uri="{FF2B5EF4-FFF2-40B4-BE49-F238E27FC236}">
                  <a16:creationId xmlns:a16="http://schemas.microsoft.com/office/drawing/2014/main" id="{2778AABB-FF87-48FE-86C0-689CEB5631DC}"/>
                </a:ext>
              </a:extLst>
            </p:cNvPr>
            <p:cNvSpPr/>
            <p:nvPr/>
          </p:nvSpPr>
          <p:spPr>
            <a:xfrm>
              <a:off x="5320808" y="5475639"/>
              <a:ext cx="204053" cy="176387"/>
            </a:xfrm>
            <a:prstGeom prst="roundRect">
              <a:avLst/>
            </a:prstGeom>
            <a:solidFill>
              <a:srgbClr val="FFC000"/>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4</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235" name="TextBox 234">
              <a:hlinkClick r:id="rId15"/>
              <a:extLst>
                <a:ext uri="{FF2B5EF4-FFF2-40B4-BE49-F238E27FC236}">
                  <a16:creationId xmlns:a16="http://schemas.microsoft.com/office/drawing/2014/main" id="{6A95A6CE-BE38-4BB5-9ED0-93E1CAF04F95}"/>
                </a:ext>
              </a:extLst>
            </p:cNvPr>
            <p:cNvSpPr txBox="1"/>
            <p:nvPr/>
          </p:nvSpPr>
          <p:spPr>
            <a:xfrm>
              <a:off x="658813" y="5652285"/>
              <a:ext cx="4956507" cy="369332"/>
            </a:xfrm>
            <a:prstGeom prst="rect">
              <a:avLst/>
            </a:prstGeom>
            <a:noFill/>
          </p:spPr>
          <p:txBody>
            <a:bodyPr wrap="square">
              <a:spAutoFit/>
            </a:bodyPr>
            <a:lstStyle/>
            <a:p>
              <a:pPr marL="0" indent="0">
                <a:buNone/>
              </a:pPr>
              <a:r>
                <a:rPr lang="nl-NL" sz="1000" dirty="0"/>
                <a:t>West-Brabant (o.a. Breda)  brengt in 2023 in het kader van het project ‘Gedeelde Mobiliteit’  contracten voor Wmo- en flex-vervoer samen. </a:t>
              </a:r>
            </a:p>
          </p:txBody>
        </p:sp>
      </p:grpSp>
      <p:grpSp>
        <p:nvGrpSpPr>
          <p:cNvPr id="70" name="Group 69">
            <a:extLst>
              <a:ext uri="{FF2B5EF4-FFF2-40B4-BE49-F238E27FC236}">
                <a16:creationId xmlns:a16="http://schemas.microsoft.com/office/drawing/2014/main" id="{087820CE-44C1-4D03-8EE8-AA941C3A5EEC}"/>
              </a:ext>
            </a:extLst>
          </p:cNvPr>
          <p:cNvGrpSpPr/>
          <p:nvPr/>
        </p:nvGrpSpPr>
        <p:grpSpPr>
          <a:xfrm>
            <a:off x="748578" y="5272077"/>
            <a:ext cx="4956507" cy="841026"/>
            <a:chOff x="131353" y="3761109"/>
            <a:chExt cx="4956507" cy="841026"/>
          </a:xfrm>
        </p:grpSpPr>
        <p:sp>
          <p:nvSpPr>
            <p:cNvPr id="237" name="Content Placeholder 2">
              <a:hlinkClick r:id="rId16"/>
              <a:extLst>
                <a:ext uri="{FF2B5EF4-FFF2-40B4-BE49-F238E27FC236}">
                  <a16:creationId xmlns:a16="http://schemas.microsoft.com/office/drawing/2014/main" id="{3F85DC73-D33F-43CD-8145-7D3E1FF2AD29}"/>
                </a:ext>
              </a:extLst>
            </p:cNvPr>
            <p:cNvSpPr txBox="1">
              <a:spLocks/>
            </p:cNvSpPr>
            <p:nvPr/>
          </p:nvSpPr>
          <p:spPr>
            <a:xfrm>
              <a:off x="131353" y="3761109"/>
              <a:ext cx="4956507" cy="824917"/>
            </a:xfrm>
            <a:prstGeom prst="rect">
              <a:avLst/>
            </a:prstGeom>
            <a:solidFill>
              <a:schemeClr val="accent4">
                <a:lumMod val="20000"/>
                <a:lumOff val="80000"/>
              </a:schemeClr>
            </a:solidFill>
            <a:ln w="6350">
              <a:solidFill>
                <a:srgbClr val="22777B"/>
              </a:solidFill>
              <a:prstDash val="soli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defRPr lang="nl-NL"/>
              </a:defPPr>
              <a:lvl1pPr marL="0" marR="0" lvl="0" indent="0" fontAlgn="auto">
                <a:spcAft>
                  <a:spcPts val="0"/>
                </a:spcAft>
                <a:buClr>
                  <a:srgbClr val="22777B"/>
                </a:buClr>
                <a:buSzTx/>
                <a:buNone/>
                <a:tabLst/>
                <a:defRPr kumimoji="0" sz="1000" b="0" i="0" u="none" strike="noStrike" cap="none" spc="0" normalizeH="0" baseline="0">
                  <a:ln>
                    <a:noFill/>
                  </a:ln>
                  <a:effectLst/>
                  <a:uLnTx/>
                  <a:uFillTx/>
                </a:defRPr>
              </a:lvl1pPr>
            </a:lstStyle>
            <a:p>
              <a:r>
                <a:rPr lang="nl-NL" b="1" dirty="0"/>
                <a:t>Metropoolregio Rotterdam Den Haag</a:t>
              </a:r>
            </a:p>
          </p:txBody>
        </p:sp>
        <p:sp>
          <p:nvSpPr>
            <p:cNvPr id="239" name="TextBox 238">
              <a:hlinkClick r:id="rId15"/>
              <a:extLst>
                <a:ext uri="{FF2B5EF4-FFF2-40B4-BE49-F238E27FC236}">
                  <a16:creationId xmlns:a16="http://schemas.microsoft.com/office/drawing/2014/main" id="{10E063A8-666C-4EB8-B33E-99701EE0C75D}"/>
                </a:ext>
              </a:extLst>
            </p:cNvPr>
            <p:cNvSpPr txBox="1"/>
            <p:nvPr/>
          </p:nvSpPr>
          <p:spPr>
            <a:xfrm>
              <a:off x="131353" y="3955804"/>
              <a:ext cx="4956507" cy="646331"/>
            </a:xfrm>
            <a:prstGeom prst="rect">
              <a:avLst/>
            </a:prstGeom>
            <a:noFill/>
          </p:spPr>
          <p:txBody>
            <a:bodyPr wrap="square">
              <a:spAutoFit/>
            </a:bodyPr>
            <a:lstStyle/>
            <a:p>
              <a:pPr marL="0" indent="0">
                <a:buNone/>
              </a:pPr>
              <a:r>
                <a:rPr lang="nl-NL" sz="1000" dirty="0"/>
                <a:t>In de uitvoeringsagenda Bereikbaarheid 2016-2025 van MRDH is de ambitie vastgelegd  om doelgroepenvervoer en OV beter te laten aansluiten, deels m.b.v. alternatieve vervoers-oplossingen. Daarnaast zijn in Rotterdam alle voorzieningen in doelgroepenvervoer ondergebracht onder één contract, Den Haag is voornemens dat te doen in 2022.</a:t>
              </a:r>
            </a:p>
          </p:txBody>
        </p:sp>
        <p:grpSp>
          <p:nvGrpSpPr>
            <p:cNvPr id="68" name="Group 67">
              <a:extLst>
                <a:ext uri="{FF2B5EF4-FFF2-40B4-BE49-F238E27FC236}">
                  <a16:creationId xmlns:a16="http://schemas.microsoft.com/office/drawing/2014/main" id="{819BF78B-21AE-4051-B1A8-493C600A6F61}"/>
                </a:ext>
              </a:extLst>
            </p:cNvPr>
            <p:cNvGrpSpPr/>
            <p:nvPr/>
          </p:nvGrpSpPr>
          <p:grpSpPr>
            <a:xfrm>
              <a:off x="4205234" y="3779158"/>
              <a:ext cx="792167" cy="176387"/>
              <a:chOff x="4378926" y="4582697"/>
              <a:chExt cx="792167" cy="176387"/>
            </a:xfrm>
          </p:grpSpPr>
          <p:sp>
            <p:nvSpPr>
              <p:cNvPr id="244" name="Rectangle: Rounded Corners 243">
                <a:extLst>
                  <a:ext uri="{FF2B5EF4-FFF2-40B4-BE49-F238E27FC236}">
                    <a16:creationId xmlns:a16="http://schemas.microsoft.com/office/drawing/2014/main" id="{509FBA07-E37B-4DC8-A6A4-24C91EA6887F}"/>
                  </a:ext>
                </a:extLst>
              </p:cNvPr>
              <p:cNvSpPr/>
              <p:nvPr/>
            </p:nvSpPr>
            <p:spPr>
              <a:xfrm>
                <a:off x="4967040" y="4582697"/>
                <a:ext cx="204053" cy="176387"/>
              </a:xfrm>
              <a:prstGeom prst="roundRect">
                <a:avLst/>
              </a:prstGeom>
              <a:solidFill>
                <a:srgbClr val="22777B"/>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4</a:t>
                </a:r>
              </a:p>
            </p:txBody>
          </p:sp>
          <p:sp>
            <p:nvSpPr>
              <p:cNvPr id="245" name="Rectangle: Rounded Corners 244">
                <a:extLst>
                  <a:ext uri="{FF2B5EF4-FFF2-40B4-BE49-F238E27FC236}">
                    <a16:creationId xmlns:a16="http://schemas.microsoft.com/office/drawing/2014/main" id="{A539FD8F-DF2B-414D-A69F-DB54775ADA13}"/>
                  </a:ext>
                </a:extLst>
              </p:cNvPr>
              <p:cNvSpPr/>
              <p:nvPr/>
            </p:nvSpPr>
            <p:spPr>
              <a:xfrm>
                <a:off x="4673438" y="4582697"/>
                <a:ext cx="204053" cy="176387"/>
              </a:xfrm>
              <a:prstGeom prst="roundRect">
                <a:avLst/>
              </a:prstGeom>
              <a:solidFill>
                <a:srgbClr val="FFC000"/>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olidFill>
                      <a:srgbClr val="FFFFFF"/>
                    </a:solidFill>
                  </a:rPr>
                  <a:t>3</a:t>
                </a:r>
                <a:endPar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246" name="Rectangle: Rounded Corners 245">
                <a:extLst>
                  <a:ext uri="{FF2B5EF4-FFF2-40B4-BE49-F238E27FC236}">
                    <a16:creationId xmlns:a16="http://schemas.microsoft.com/office/drawing/2014/main" id="{79024578-B961-41B1-A7D4-B320533C3606}"/>
                  </a:ext>
                </a:extLst>
              </p:cNvPr>
              <p:cNvSpPr/>
              <p:nvPr/>
            </p:nvSpPr>
            <p:spPr>
              <a:xfrm>
                <a:off x="4378926" y="4582697"/>
                <a:ext cx="204053" cy="176387"/>
              </a:xfrm>
              <a:prstGeom prst="roundRect">
                <a:avLst/>
              </a:prstGeom>
              <a:solidFill>
                <a:srgbClr val="FFC000"/>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2</a:t>
                </a:r>
              </a:p>
            </p:txBody>
          </p:sp>
        </p:grpSp>
      </p:grpSp>
      <p:cxnSp>
        <p:nvCxnSpPr>
          <p:cNvPr id="247" name="Straight Arrow Connector 246">
            <a:extLst>
              <a:ext uri="{FF2B5EF4-FFF2-40B4-BE49-F238E27FC236}">
                <a16:creationId xmlns:a16="http://schemas.microsoft.com/office/drawing/2014/main" id="{17CB9F56-500B-4456-B920-E07E95BFE753}"/>
              </a:ext>
            </a:extLst>
          </p:cNvPr>
          <p:cNvCxnSpPr>
            <a:cxnSpLocks/>
            <a:stCxn id="237" idx="0"/>
          </p:cNvCxnSpPr>
          <p:nvPr/>
        </p:nvCxnSpPr>
        <p:spPr>
          <a:xfrm flipV="1">
            <a:off x="3226832" y="4340267"/>
            <a:ext cx="1607386" cy="931810"/>
          </a:xfrm>
          <a:prstGeom prst="straightConnector1">
            <a:avLst/>
          </a:prstGeom>
          <a:ln w="6350">
            <a:solidFill>
              <a:srgbClr val="22777B"/>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53" name="TextBox 252">
            <a:extLst>
              <a:ext uri="{FF2B5EF4-FFF2-40B4-BE49-F238E27FC236}">
                <a16:creationId xmlns:a16="http://schemas.microsoft.com/office/drawing/2014/main" id="{0CC826C7-DBB6-4F19-B706-94A126DC808E}"/>
              </a:ext>
            </a:extLst>
          </p:cNvPr>
          <p:cNvSpPr txBox="1"/>
          <p:nvPr/>
        </p:nvSpPr>
        <p:spPr>
          <a:xfrm>
            <a:off x="6317584" y="3125889"/>
            <a:ext cx="4960424" cy="507831"/>
          </a:xfrm>
          <a:prstGeom prst="rect">
            <a:avLst/>
          </a:prstGeom>
          <a:noFill/>
        </p:spPr>
        <p:txBody>
          <a:bodyPr wrap="square">
            <a:spAutoFit/>
          </a:bodyPr>
          <a:lstStyle/>
          <a:p>
            <a:pPr marL="0" indent="0">
              <a:buNone/>
            </a:pPr>
            <a:r>
              <a:rPr lang="nl-NL" sz="1000" dirty="0"/>
              <a:t>Samenwerkingsverband ‘U16’  heeft een programmateam ingesteld om voorzieningen doelgroepenvervoer beter af te stemmen en gebruikers te stimuleren om met OV of alternatief vervoer te reizen. In 2024 worden OV en Wmo-vervoer gelijktijdig aanbesteed. </a:t>
            </a:r>
          </a:p>
        </p:txBody>
      </p:sp>
      <p:sp>
        <p:nvSpPr>
          <p:cNvPr id="255" name="TextBox 254">
            <a:extLst>
              <a:ext uri="{FF2B5EF4-FFF2-40B4-BE49-F238E27FC236}">
                <a16:creationId xmlns:a16="http://schemas.microsoft.com/office/drawing/2014/main" id="{78255AD8-52F5-49BA-A1B9-4288510B7203}"/>
              </a:ext>
            </a:extLst>
          </p:cNvPr>
          <p:cNvSpPr txBox="1"/>
          <p:nvPr/>
        </p:nvSpPr>
        <p:spPr>
          <a:xfrm>
            <a:off x="6496626" y="3896533"/>
            <a:ext cx="4960424" cy="507831"/>
          </a:xfrm>
          <a:prstGeom prst="rect">
            <a:avLst/>
          </a:prstGeom>
          <a:noFill/>
        </p:spPr>
        <p:txBody>
          <a:bodyPr wrap="square">
            <a:spAutoFit/>
          </a:bodyPr>
          <a:lstStyle/>
          <a:p>
            <a:pPr marL="0" indent="0">
              <a:buNone/>
            </a:pPr>
            <a:r>
              <a:rPr lang="nl-NL" sz="1000" dirty="0"/>
              <a:t>In Brabant werken gemeenten al nauw samen op het gebied van vervoer in drie regio’s. Momenteel onderzoeken provincie en regio’s in het project ‘Gedeelde Mobiliteit’ hoe het OV en doelgroepenvervoer verder geïntegreerd kunnen worden.</a:t>
            </a:r>
          </a:p>
        </p:txBody>
      </p:sp>
      <p:sp>
        <p:nvSpPr>
          <p:cNvPr id="257" name="TextBox 256">
            <a:extLst>
              <a:ext uri="{FF2B5EF4-FFF2-40B4-BE49-F238E27FC236}">
                <a16:creationId xmlns:a16="http://schemas.microsoft.com/office/drawing/2014/main" id="{9D1814B6-5E71-49BD-AF9A-77C09F87200B}"/>
              </a:ext>
            </a:extLst>
          </p:cNvPr>
          <p:cNvSpPr txBox="1"/>
          <p:nvPr/>
        </p:nvSpPr>
        <p:spPr>
          <a:xfrm>
            <a:off x="6520405" y="4783300"/>
            <a:ext cx="4960424" cy="507831"/>
          </a:xfrm>
          <a:prstGeom prst="rect">
            <a:avLst/>
          </a:prstGeom>
          <a:noFill/>
        </p:spPr>
        <p:txBody>
          <a:bodyPr wrap="square">
            <a:spAutoFit/>
          </a:bodyPr>
          <a:lstStyle/>
          <a:p>
            <a:pPr marL="0" indent="0">
              <a:buNone/>
            </a:pPr>
            <a:r>
              <a:rPr lang="nl-NL" sz="1000" dirty="0"/>
              <a:t>In de regio Midden-Brabant (o.a. Tilburg) zijn naast het project ‘Gedeelde Mobiliteit’ i.s.m. de provincie en andere regio’s al stappen gezet in regionale samenwerking. De regio heeft Wmo- en leerlingenvervoer in één contract aanbesteed.</a:t>
            </a:r>
          </a:p>
        </p:txBody>
      </p:sp>
      <p:sp>
        <p:nvSpPr>
          <p:cNvPr id="259" name="TextBox 258">
            <a:hlinkClick r:id="rId15"/>
            <a:extLst>
              <a:ext uri="{FF2B5EF4-FFF2-40B4-BE49-F238E27FC236}">
                <a16:creationId xmlns:a16="http://schemas.microsoft.com/office/drawing/2014/main" id="{875D8C2F-7400-49F1-A14E-77BB6089991F}"/>
              </a:ext>
            </a:extLst>
          </p:cNvPr>
          <p:cNvSpPr txBox="1"/>
          <p:nvPr/>
        </p:nvSpPr>
        <p:spPr>
          <a:xfrm>
            <a:off x="1245515" y="1994860"/>
            <a:ext cx="4956507" cy="507831"/>
          </a:xfrm>
          <a:prstGeom prst="rect">
            <a:avLst/>
          </a:prstGeom>
          <a:noFill/>
        </p:spPr>
        <p:txBody>
          <a:bodyPr wrap="square">
            <a:spAutoFit/>
          </a:bodyPr>
          <a:lstStyle/>
          <a:p>
            <a:pPr marL="0" indent="0">
              <a:buNone/>
            </a:pPr>
            <a:r>
              <a:rPr lang="nl-NL" sz="1000" dirty="0"/>
              <a:t>In dit samenwerkingsverband van 24 gemeenten zijn de contracten voor Wmo-vervoer opgedeeld in 7 percelen en zijn alle aanbestedingen ondergebracht in één overkoepelend orgaan (‘Publiek Vervoer’) om zo gezamenlijk expertise op te bouwen.</a:t>
            </a:r>
          </a:p>
        </p:txBody>
      </p:sp>
    </p:spTree>
    <p:extLst>
      <p:ext uri="{BB962C8B-B14F-4D97-AF65-F5344CB8AC3E}">
        <p14:creationId xmlns:p14="http://schemas.microsoft.com/office/powerpoint/2010/main" val="27169950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DCC7DFB7-1BEC-44A5-B122-97AF1CB1DE00}"/>
              </a:ext>
            </a:extLst>
          </p:cNvPr>
          <p:cNvGraphicFramePr>
            <a:graphicFrameLocks noChangeAspect="1"/>
          </p:cNvGraphicFramePr>
          <p:nvPr>
            <p:custDataLst>
              <p:tags r:id="rId2"/>
            </p:custDataLst>
            <p:extLst>
              <p:ext uri="{D42A27DB-BD31-4B8C-83A1-F6EECF244321}">
                <p14:modId xmlns:p14="http://schemas.microsoft.com/office/powerpoint/2010/main" val="309671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8" name="think-cell Slide" r:id="rId5" imgW="425" imgH="424" progId="TCLayout.ActiveDocument.1">
                  <p:embed/>
                </p:oleObj>
              </mc:Choice>
              <mc:Fallback>
                <p:oleObj name="think-cell Slide" r:id="rId5" imgW="425" imgH="424" progId="TCLayout.ActiveDocument.1">
                  <p:embed/>
                  <p:pic>
                    <p:nvPicPr>
                      <p:cNvPr id="13" name="Object 12" hidden="1">
                        <a:extLst>
                          <a:ext uri="{FF2B5EF4-FFF2-40B4-BE49-F238E27FC236}">
                            <a16:creationId xmlns:a16="http://schemas.microsoft.com/office/drawing/2014/main" id="{DCC7DFB7-1BEC-44A5-B122-97AF1CB1DE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13B450C7-5161-42A3-96D4-1393ED2D6932}"/>
              </a:ext>
            </a:extLst>
          </p:cNvPr>
          <p:cNvSpPr>
            <a:spLocks noGrp="1"/>
          </p:cNvSpPr>
          <p:nvPr>
            <p:ph type="sldNum" sz="quarter" idx="12"/>
          </p:nvPr>
        </p:nvSpPr>
        <p:spPr/>
        <p:txBody>
          <a:bodyPr/>
          <a:lstStyle/>
          <a:p>
            <a:fld id="{992CD0B2-8AB2-4C6C-8876-E15753662C9B}" type="slidenum">
              <a:rPr lang="nl-NL" smtClean="0"/>
              <a:pPr/>
              <a:t>28</a:t>
            </a:fld>
            <a:endParaRPr lang="nl-NL" dirty="0"/>
          </a:p>
        </p:txBody>
      </p:sp>
      <p:sp>
        <p:nvSpPr>
          <p:cNvPr id="10" name="Text Placeholder 9">
            <a:extLst>
              <a:ext uri="{FF2B5EF4-FFF2-40B4-BE49-F238E27FC236}">
                <a16:creationId xmlns:a16="http://schemas.microsoft.com/office/drawing/2014/main" id="{1C9FD76E-A646-4BBC-8707-75F4DE393CAD}"/>
              </a:ext>
            </a:extLst>
          </p:cNvPr>
          <p:cNvSpPr>
            <a:spLocks noGrp="1"/>
          </p:cNvSpPr>
          <p:nvPr>
            <p:ph type="body" sz="quarter" idx="14"/>
          </p:nvPr>
        </p:nvSpPr>
        <p:spPr/>
        <p:txBody>
          <a:bodyPr/>
          <a:lstStyle/>
          <a:p>
            <a:r>
              <a:rPr lang="nl-NL" dirty="0"/>
              <a:t>Strategisch denkkader voor het uitwerken van de belangrijkste vragen rondom doelgroepenvervoer</a:t>
            </a:r>
          </a:p>
        </p:txBody>
      </p:sp>
      <p:sp>
        <p:nvSpPr>
          <p:cNvPr id="9" name="Title 8">
            <a:extLst>
              <a:ext uri="{FF2B5EF4-FFF2-40B4-BE49-F238E27FC236}">
                <a16:creationId xmlns:a16="http://schemas.microsoft.com/office/drawing/2014/main" id="{B4763000-2087-4E44-8BE9-8499DA3AC44F}"/>
              </a:ext>
            </a:extLst>
          </p:cNvPr>
          <p:cNvSpPr>
            <a:spLocks noGrp="1"/>
          </p:cNvSpPr>
          <p:nvPr>
            <p:ph type="title"/>
          </p:nvPr>
        </p:nvSpPr>
        <p:spPr/>
        <p:txBody>
          <a:bodyPr vert="horz"/>
          <a:lstStyle/>
          <a:p>
            <a:r>
              <a:rPr lang="en-NL"/>
              <a:t>E</a:t>
            </a:r>
            <a:r>
              <a:rPr lang="nl-NL"/>
              <a:t>en </a:t>
            </a:r>
            <a:r>
              <a:rPr lang="nl-NL" dirty="0"/>
              <a:t>strategisch </a:t>
            </a:r>
            <a:r>
              <a:rPr lang="nl-NL"/>
              <a:t>denkkader k</a:t>
            </a:r>
            <a:r>
              <a:rPr lang="en-NL"/>
              <a:t>an</a:t>
            </a:r>
            <a:r>
              <a:rPr lang="nl-NL"/>
              <a:t> </a:t>
            </a:r>
            <a:r>
              <a:rPr lang="en-NL"/>
              <a:t>een </a:t>
            </a:r>
            <a:r>
              <a:rPr lang="nl-NL"/>
              <a:t>gemeente</a:t>
            </a:r>
            <a:r>
              <a:rPr lang="en-NL"/>
              <a:t> helpen om de specifieke situatie in kaart te brengen en concrete stappen te gaan zetten</a:t>
            </a:r>
            <a:endParaRPr lang="nl-NL" dirty="0"/>
          </a:p>
        </p:txBody>
      </p:sp>
      <p:cxnSp>
        <p:nvCxnSpPr>
          <p:cNvPr id="18" name="Straight Arrow Connector 17">
            <a:extLst>
              <a:ext uri="{FF2B5EF4-FFF2-40B4-BE49-F238E27FC236}">
                <a16:creationId xmlns:a16="http://schemas.microsoft.com/office/drawing/2014/main" id="{661A75AE-35AE-40FF-BF1C-4124CB4FE9B3}"/>
              </a:ext>
            </a:extLst>
          </p:cNvPr>
          <p:cNvCxnSpPr>
            <a:cxnSpLocks/>
          </p:cNvCxnSpPr>
          <p:nvPr/>
        </p:nvCxnSpPr>
        <p:spPr>
          <a:xfrm>
            <a:off x="654845" y="1914525"/>
            <a:ext cx="10874375" cy="0"/>
          </a:xfrm>
          <a:prstGeom prst="straightConnector1">
            <a:avLst/>
          </a:prstGeom>
          <a:ln w="38100">
            <a:solidFill>
              <a:schemeClr val="tx1">
                <a:lumMod val="75000"/>
                <a:lumOff val="2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287422C6-C038-4DCE-87F6-AA8403FF515F}"/>
              </a:ext>
            </a:extLst>
          </p:cNvPr>
          <p:cNvCxnSpPr>
            <a:cxnSpLocks/>
          </p:cNvCxnSpPr>
          <p:nvPr/>
        </p:nvCxnSpPr>
        <p:spPr>
          <a:xfrm flipV="1">
            <a:off x="2379980" y="1914667"/>
            <a:ext cx="0" cy="274746"/>
          </a:xfrm>
          <a:prstGeom prst="line">
            <a:avLst/>
          </a:prstGeom>
          <a:ln w="28575" cap="rnd">
            <a:solidFill>
              <a:schemeClr val="tx1">
                <a:lumMod val="75000"/>
                <a:lumOff val="2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pic>
        <p:nvPicPr>
          <p:cNvPr id="141" name="Graphic 140" descr="Car with solid fill">
            <a:extLst>
              <a:ext uri="{FF2B5EF4-FFF2-40B4-BE49-F238E27FC236}">
                <a16:creationId xmlns:a16="http://schemas.microsoft.com/office/drawing/2014/main" id="{CC5ECFEF-E13D-4D25-A0CE-03D5AD55342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87863" y="1449231"/>
            <a:ext cx="557673" cy="557673"/>
          </a:xfrm>
          <a:prstGeom prst="rect">
            <a:avLst/>
          </a:prstGeom>
        </p:spPr>
      </p:pic>
      <p:pic>
        <p:nvPicPr>
          <p:cNvPr id="143" name="Graphic 142" descr="Scooter with solid fill">
            <a:extLst>
              <a:ext uri="{FF2B5EF4-FFF2-40B4-BE49-F238E27FC236}">
                <a16:creationId xmlns:a16="http://schemas.microsoft.com/office/drawing/2014/main" id="{23C6EF53-5AD4-41C2-B19A-16A02618E4A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651892" y="1449231"/>
            <a:ext cx="557673" cy="557673"/>
          </a:xfrm>
          <a:prstGeom prst="rect">
            <a:avLst/>
          </a:prstGeom>
        </p:spPr>
      </p:pic>
      <p:pic>
        <p:nvPicPr>
          <p:cNvPr id="145" name="Graphic 144" descr="Bus with solid fill">
            <a:extLst>
              <a:ext uri="{FF2B5EF4-FFF2-40B4-BE49-F238E27FC236}">
                <a16:creationId xmlns:a16="http://schemas.microsoft.com/office/drawing/2014/main" id="{220C8F91-6841-4ECE-B5E7-7E904F607C2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686552" y="1480730"/>
            <a:ext cx="494674" cy="494674"/>
          </a:xfrm>
          <a:prstGeom prst="rect">
            <a:avLst/>
          </a:prstGeom>
        </p:spPr>
      </p:pic>
      <p:grpSp>
        <p:nvGrpSpPr>
          <p:cNvPr id="4" name="Group 3">
            <a:extLst>
              <a:ext uri="{FF2B5EF4-FFF2-40B4-BE49-F238E27FC236}">
                <a16:creationId xmlns:a16="http://schemas.microsoft.com/office/drawing/2014/main" id="{2F4EDB26-C00F-4DF8-B87C-8684552286F6}"/>
              </a:ext>
            </a:extLst>
          </p:cNvPr>
          <p:cNvGrpSpPr/>
          <p:nvPr/>
        </p:nvGrpSpPr>
        <p:grpSpPr>
          <a:xfrm>
            <a:off x="674255" y="2198938"/>
            <a:ext cx="3420000" cy="4103179"/>
            <a:chOff x="759980" y="2198938"/>
            <a:chExt cx="3420000" cy="4103179"/>
          </a:xfrm>
        </p:grpSpPr>
        <p:sp>
          <p:nvSpPr>
            <p:cNvPr id="122" name="Rectangle 121">
              <a:extLst>
                <a:ext uri="{FF2B5EF4-FFF2-40B4-BE49-F238E27FC236}">
                  <a16:creationId xmlns:a16="http://schemas.microsoft.com/office/drawing/2014/main" id="{033AF8FF-594C-40E9-B62B-9C1F8847914A}"/>
                </a:ext>
              </a:extLst>
            </p:cNvPr>
            <p:cNvSpPr/>
            <p:nvPr/>
          </p:nvSpPr>
          <p:spPr>
            <a:xfrm>
              <a:off x="759980" y="2198938"/>
              <a:ext cx="3420000" cy="4103179"/>
            </a:xfrm>
            <a:prstGeom prst="rect">
              <a:avLst/>
            </a:prstGeom>
            <a:solidFill>
              <a:schemeClr val="accent4">
                <a:lumMod val="20000"/>
                <a:lumOff val="80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b="1" i="0" u="none" strike="noStrike" kern="1200" cap="none" spc="0" normalizeH="0" baseline="0" noProof="0" dirty="0">
                  <a:ln>
                    <a:noFill/>
                  </a:ln>
                  <a:effectLst/>
                  <a:uLnTx/>
                  <a:uFillTx/>
                  <a:latin typeface="Corbel" panose="020B0503020204020204" pitchFamily="34" charset="0"/>
                  <a:ea typeface="+mn-ea"/>
                  <a:cs typeface="+mn-cs"/>
                </a:rPr>
                <a:t>Wat is de situatie nu?</a:t>
              </a:r>
            </a:p>
          </p:txBody>
        </p:sp>
        <p:sp>
          <p:nvSpPr>
            <p:cNvPr id="177" name="Content Placeholder 11">
              <a:extLst>
                <a:ext uri="{FF2B5EF4-FFF2-40B4-BE49-F238E27FC236}">
                  <a16:creationId xmlns:a16="http://schemas.microsoft.com/office/drawing/2014/main" id="{537C064E-94A7-4236-84B4-1C6D3EA74D8C}"/>
                </a:ext>
              </a:extLst>
            </p:cNvPr>
            <p:cNvSpPr txBox="1">
              <a:spLocks/>
            </p:cNvSpPr>
            <p:nvPr/>
          </p:nvSpPr>
          <p:spPr>
            <a:xfrm>
              <a:off x="759980" y="2473825"/>
              <a:ext cx="3420000" cy="3606295"/>
            </a:xfrm>
            <a:prstGeom prst="rect">
              <a:avLst/>
            </a:prstGeom>
            <a:noFill/>
            <a:ln w="19050">
              <a:noFill/>
            </a:ln>
            <a:extLst>
              <a:ext uri="{909E8E84-426E-40DD-AFC4-6F175D3DCCD1}">
                <a14:hiddenFill xmlns:a14="http://schemas.microsoft.com/office/drawing/2010/main">
                  <a:solidFill>
                    <a:schemeClr val="accent6">
                      <a:lumMod val="95000"/>
                    </a:scheme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dirty="0"/>
                <a:t>Wie hebben er recht op doelgroepenvervoer?</a:t>
              </a:r>
            </a:p>
            <a:p>
              <a:r>
                <a:rPr lang="nl-NL" sz="1000" dirty="0"/>
                <a:t>Waarom maakt men gebruik van doelgroepenvervoer? </a:t>
              </a:r>
            </a:p>
            <a:p>
              <a:r>
                <a:rPr lang="nl-NL" sz="1000" dirty="0"/>
                <a:t>Hoeveel maken reizigers gebruik van het doelgroepenvervoer? En hoe is dat gebruik verdeeld?</a:t>
              </a:r>
            </a:p>
            <a:p>
              <a:r>
                <a:rPr lang="nl-NL" sz="1000" dirty="0"/>
                <a:t>Hoe is doelgroepenvervoer georganiseerd? </a:t>
              </a:r>
            </a:p>
            <a:p>
              <a:pPr marL="0" indent="0">
                <a:buFont typeface="Wingdings" panose="05000000000000000000" pitchFamily="2" charset="2"/>
                <a:buNone/>
              </a:pPr>
              <a:endParaRPr lang="nl-NL" sz="1000" b="1" dirty="0"/>
            </a:p>
          </p:txBody>
        </p:sp>
      </p:grpSp>
      <p:cxnSp>
        <p:nvCxnSpPr>
          <p:cNvPr id="256" name="Straight Connector 255">
            <a:extLst>
              <a:ext uri="{FF2B5EF4-FFF2-40B4-BE49-F238E27FC236}">
                <a16:creationId xmlns:a16="http://schemas.microsoft.com/office/drawing/2014/main" id="{482EBB2E-6C32-4784-A817-3EC470991671}"/>
              </a:ext>
            </a:extLst>
          </p:cNvPr>
          <p:cNvCxnSpPr>
            <a:cxnSpLocks/>
          </p:cNvCxnSpPr>
          <p:nvPr/>
        </p:nvCxnSpPr>
        <p:spPr>
          <a:xfrm flipV="1">
            <a:off x="6096000" y="1914666"/>
            <a:ext cx="0" cy="274748"/>
          </a:xfrm>
          <a:prstGeom prst="line">
            <a:avLst/>
          </a:prstGeom>
          <a:ln w="28575" cap="rnd">
            <a:solidFill>
              <a:schemeClr val="tx1">
                <a:lumMod val="75000"/>
                <a:lumOff val="2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66484FDF-30C6-4889-B9EF-E45857E4692C}"/>
              </a:ext>
            </a:extLst>
          </p:cNvPr>
          <p:cNvCxnSpPr>
            <a:cxnSpLocks/>
          </p:cNvCxnSpPr>
          <p:nvPr/>
        </p:nvCxnSpPr>
        <p:spPr>
          <a:xfrm flipV="1">
            <a:off x="9812020" y="1914666"/>
            <a:ext cx="0" cy="274748"/>
          </a:xfrm>
          <a:prstGeom prst="line">
            <a:avLst/>
          </a:prstGeom>
          <a:ln w="28575" cap="rnd">
            <a:solidFill>
              <a:schemeClr val="tx1">
                <a:lumMod val="75000"/>
                <a:lumOff val="2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53" name="Rectangle 252">
            <a:extLst>
              <a:ext uri="{FF2B5EF4-FFF2-40B4-BE49-F238E27FC236}">
                <a16:creationId xmlns:a16="http://schemas.microsoft.com/office/drawing/2014/main" id="{B0C1838A-236B-48DB-8125-F7DC5FCB72B2}"/>
              </a:ext>
            </a:extLst>
          </p:cNvPr>
          <p:cNvSpPr/>
          <p:nvPr/>
        </p:nvSpPr>
        <p:spPr>
          <a:xfrm>
            <a:off x="4395037" y="2198938"/>
            <a:ext cx="3420000" cy="4109787"/>
          </a:xfrm>
          <a:prstGeom prst="rect">
            <a:avLst/>
          </a:prstGeom>
          <a:solidFill>
            <a:schemeClr val="accent4">
              <a:lumMod val="20000"/>
              <a:lumOff val="80000"/>
            </a:schemeClr>
          </a:solidFill>
          <a:ln>
            <a:solidFill>
              <a:schemeClr val="accent1">
                <a:shade val="65000"/>
              </a:schemeClr>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b="1" i="0" u="none" strike="noStrike" kern="1200" cap="none" spc="0" normalizeH="0" baseline="0" noProof="0" dirty="0">
                <a:ln>
                  <a:noFill/>
                </a:ln>
                <a:effectLst/>
                <a:uLnTx/>
                <a:uFillTx/>
                <a:latin typeface="Corbel" panose="020B0503020204020204" pitchFamily="34" charset="0"/>
                <a:ea typeface="+mn-ea"/>
                <a:cs typeface="+mn-cs"/>
              </a:rPr>
              <a:t>Wat zijn de ambities en verwachtingen?</a:t>
            </a:r>
          </a:p>
        </p:txBody>
      </p:sp>
      <p:sp>
        <p:nvSpPr>
          <p:cNvPr id="254" name="Content Placeholder 11">
            <a:extLst>
              <a:ext uri="{FF2B5EF4-FFF2-40B4-BE49-F238E27FC236}">
                <a16:creationId xmlns:a16="http://schemas.microsoft.com/office/drawing/2014/main" id="{5F97C673-D623-4C8F-ABDE-046D5395D5B8}"/>
              </a:ext>
            </a:extLst>
          </p:cNvPr>
          <p:cNvSpPr txBox="1">
            <a:spLocks/>
          </p:cNvSpPr>
          <p:nvPr/>
        </p:nvSpPr>
        <p:spPr>
          <a:xfrm>
            <a:off x="4395037" y="2473826"/>
            <a:ext cx="3420000" cy="1738177"/>
          </a:xfrm>
          <a:prstGeom prst="rect">
            <a:avLst/>
          </a:prstGeom>
          <a:noFill/>
          <a:ln w="19050">
            <a:noFill/>
          </a:ln>
          <a:extLst>
            <a:ext uri="{909E8E84-426E-40DD-AFC4-6F175D3DCCD1}">
              <a14:hiddenFill xmlns:a14="http://schemas.microsoft.com/office/drawing/2010/main">
                <a:solidFill>
                  <a:schemeClr val="accent6">
                    <a:lumMod val="95000"/>
                  </a:scheme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dirty="0"/>
              <a:t>Wat betekent vergrijzing voor het aantal gebruikers van doelgroepenvervoer?</a:t>
            </a:r>
          </a:p>
          <a:p>
            <a:r>
              <a:rPr lang="nl-NL" sz="1000" dirty="0"/>
              <a:t>Is het gebruik de afgelopen jaren toe- of afgenomen en zet deze trend zich voort?</a:t>
            </a:r>
          </a:p>
          <a:p>
            <a:r>
              <a:rPr lang="nl-NL" sz="1000" dirty="0"/>
              <a:t>Welke kansen zijn er op het gebied van innovatie en mobiliteit?</a:t>
            </a:r>
          </a:p>
          <a:p>
            <a:r>
              <a:rPr lang="nl-NL" sz="1000" dirty="0"/>
              <a:t>Welke maatschappelijke trends spelen een rol in het mobiliteitsvraagstuk?</a:t>
            </a:r>
          </a:p>
          <a:p>
            <a:pPr marL="0" indent="0">
              <a:buFont typeface="Wingdings" panose="05000000000000000000" pitchFamily="2" charset="2"/>
              <a:buNone/>
            </a:pPr>
            <a:endParaRPr lang="nl-NL" sz="1000" b="1" dirty="0"/>
          </a:p>
        </p:txBody>
      </p:sp>
      <p:pic>
        <p:nvPicPr>
          <p:cNvPr id="3" name="Picture 2">
            <a:extLst>
              <a:ext uri="{FF2B5EF4-FFF2-40B4-BE49-F238E27FC236}">
                <a16:creationId xmlns:a16="http://schemas.microsoft.com/office/drawing/2014/main" id="{8088634E-9F6F-41BA-A0FA-2BC5011FFAC2}"/>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rot="397163">
            <a:off x="4778031" y="4454579"/>
            <a:ext cx="2628000" cy="1473990"/>
          </a:xfrm>
          <a:prstGeom prst="rect">
            <a:avLst/>
          </a:prstGeom>
          <a:solidFill>
            <a:srgbClr val="22777B"/>
          </a:solidFill>
          <a:ln w="9525">
            <a:solidFill>
              <a:srgbClr val="22777B"/>
            </a:solidFill>
          </a:ln>
        </p:spPr>
      </p:pic>
      <p:grpSp>
        <p:nvGrpSpPr>
          <p:cNvPr id="11" name="Group 10">
            <a:extLst>
              <a:ext uri="{FF2B5EF4-FFF2-40B4-BE49-F238E27FC236}">
                <a16:creationId xmlns:a16="http://schemas.microsoft.com/office/drawing/2014/main" id="{432A0CC3-2592-45E8-93DB-D00D3223B916}"/>
              </a:ext>
            </a:extLst>
          </p:cNvPr>
          <p:cNvGrpSpPr/>
          <p:nvPr/>
        </p:nvGrpSpPr>
        <p:grpSpPr>
          <a:xfrm>
            <a:off x="8115820" y="2198939"/>
            <a:ext cx="3420000" cy="4109786"/>
            <a:chOff x="8192020" y="2198939"/>
            <a:chExt cx="3420000" cy="4109786"/>
          </a:xfrm>
        </p:grpSpPr>
        <p:sp>
          <p:nvSpPr>
            <p:cNvPr id="259" name="Rectangle 258">
              <a:extLst>
                <a:ext uri="{FF2B5EF4-FFF2-40B4-BE49-F238E27FC236}">
                  <a16:creationId xmlns:a16="http://schemas.microsoft.com/office/drawing/2014/main" id="{C4937DF9-38D8-40F8-B28A-2972A5711D56}"/>
                </a:ext>
              </a:extLst>
            </p:cNvPr>
            <p:cNvSpPr/>
            <p:nvPr/>
          </p:nvSpPr>
          <p:spPr>
            <a:xfrm>
              <a:off x="8192020" y="2198939"/>
              <a:ext cx="3420000" cy="4109786"/>
            </a:xfrm>
            <a:prstGeom prst="rect">
              <a:avLst/>
            </a:prstGeom>
            <a:solidFill>
              <a:schemeClr val="accent4">
                <a:lumMod val="20000"/>
                <a:lumOff val="80000"/>
              </a:schemeClr>
            </a:solidFill>
            <a:ln>
              <a:solidFill>
                <a:schemeClr val="accent1">
                  <a:shade val="65000"/>
                </a:schemeClr>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b="1" i="0" u="none" strike="noStrike" kern="1200" cap="none" spc="0" normalizeH="0" baseline="0" noProof="0" dirty="0">
                  <a:ln>
                    <a:noFill/>
                  </a:ln>
                  <a:effectLst/>
                  <a:uLnTx/>
                  <a:uFillTx/>
                  <a:latin typeface="Corbel" panose="020B0503020204020204" pitchFamily="34" charset="0"/>
                  <a:ea typeface="+mn-ea"/>
                  <a:cs typeface="+mn-cs"/>
                </a:rPr>
                <a:t>Welke stappen gaan we zetten?</a:t>
              </a:r>
            </a:p>
          </p:txBody>
        </p:sp>
        <p:sp>
          <p:nvSpPr>
            <p:cNvPr id="260" name="Content Placeholder 11">
              <a:extLst>
                <a:ext uri="{FF2B5EF4-FFF2-40B4-BE49-F238E27FC236}">
                  <a16:creationId xmlns:a16="http://schemas.microsoft.com/office/drawing/2014/main" id="{D5B2EC4B-D00C-4A3C-9991-E2C20E910678}"/>
                </a:ext>
              </a:extLst>
            </p:cNvPr>
            <p:cNvSpPr txBox="1">
              <a:spLocks/>
            </p:cNvSpPr>
            <p:nvPr/>
          </p:nvSpPr>
          <p:spPr>
            <a:xfrm>
              <a:off x="8192020" y="2473827"/>
              <a:ext cx="3420000" cy="3834898"/>
            </a:xfrm>
            <a:prstGeom prst="rect">
              <a:avLst/>
            </a:prstGeom>
            <a:noFill/>
            <a:ln w="19050">
              <a:noFill/>
            </a:ln>
            <a:extLst>
              <a:ext uri="{909E8E84-426E-40DD-AFC4-6F175D3DCCD1}">
                <a14:hiddenFill xmlns:a14="http://schemas.microsoft.com/office/drawing/2010/main">
                  <a:solidFill>
                    <a:schemeClr val="accent6">
                      <a:lumMod val="95000"/>
                    </a:schemeClr>
                  </a:solidFill>
                </a14:hiddenFill>
              </a:ext>
            </a:extLst>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sz="1000" dirty="0"/>
                <a:t>Met een quickscan brengen gemeenten de stappen in kaart die zij vandaag kunnen nemen om besparingen op de korte termijn en innovaties op de langere termijn in gang te zetten.</a:t>
              </a:r>
            </a:p>
            <a:p>
              <a:pPr marL="0" indent="0">
                <a:buNone/>
              </a:pPr>
              <a:r>
                <a:rPr lang="nl-NL" sz="1000" b="1" dirty="0"/>
                <a:t>Besparingen op de korte termijn </a:t>
              </a:r>
              <a:br>
                <a:rPr lang="nl-NL" sz="1000" b="1" dirty="0"/>
              </a:br>
              <a:r>
                <a:rPr lang="nl-NL" sz="1000" dirty="0"/>
                <a:t>Welke besparingen levert het limiteren van het aantal gebruikers en gebruik op? Belangrijkste vragen hierbij zijn:</a:t>
              </a:r>
            </a:p>
            <a:p>
              <a:r>
                <a:rPr lang="nl-NL" sz="1000" dirty="0"/>
                <a:t>Is er sprake van onrechtmatig gebruik waarop we kunnen handhaven?</a:t>
              </a:r>
            </a:p>
            <a:p>
              <a:r>
                <a:rPr lang="nl-NL" sz="1000" dirty="0"/>
                <a:t>Welke doelgroepen kunnen </a:t>
              </a:r>
              <a:r>
                <a:rPr lang="nl-NL" sz="1000" i="1" dirty="0"/>
                <a:t>op dit moment</a:t>
              </a:r>
              <a:r>
                <a:rPr lang="nl-NL" sz="1000" dirty="0"/>
                <a:t> gebruikmaken van OV en/of alternatief vervoer i.p.v. Wmo-vervoer?</a:t>
              </a:r>
            </a:p>
            <a:p>
              <a:r>
                <a:rPr lang="nl-NL" sz="1000" dirty="0"/>
                <a:t>Wat is een redelijk aantal kms dat gebruikers rijden? </a:t>
              </a:r>
            </a:p>
            <a:p>
              <a:pPr marL="0" indent="0">
                <a:buNone/>
              </a:pPr>
              <a:r>
                <a:rPr lang="nl-NL" sz="1000" b="1" dirty="0"/>
                <a:t>Innovaties op de lange termijn </a:t>
              </a:r>
              <a:br>
                <a:rPr lang="nl-NL" sz="1000" b="1" dirty="0"/>
              </a:br>
              <a:r>
                <a:rPr lang="nl-NL" sz="1000" dirty="0"/>
                <a:t>De vragen van vandaag m.b.t. veranderingen op de lange termijn zijn:</a:t>
              </a:r>
            </a:p>
            <a:p>
              <a:r>
                <a:rPr lang="nl-NL" sz="1000" dirty="0"/>
                <a:t>Welke ontwikkelingen zijn er gaande om vervoer toegankelijker te maken? Hoe maken we daarvan gebruik?</a:t>
              </a:r>
            </a:p>
            <a:p>
              <a:r>
                <a:rPr lang="nl-NL" sz="1000" dirty="0"/>
                <a:t>Wanneer lopen de vervoerscontracten af en levert het integreren van (een aantal) contracten voordelen? </a:t>
              </a:r>
            </a:p>
            <a:p>
              <a:r>
                <a:rPr lang="nl-NL" sz="1000" dirty="0"/>
                <a:t>Hoe krijgen we beter inzicht in vervoersvraag- en aanbod?</a:t>
              </a:r>
            </a:p>
            <a:p>
              <a:r>
                <a:rPr lang="nl-NL" sz="1000" dirty="0"/>
                <a:t>Kunnen we bepaalde taken van de organisatie integreren in een regiecentrale (i.c.m. MaaS-app)?</a:t>
              </a:r>
            </a:p>
            <a:p>
              <a:r>
                <a:rPr lang="nl-NL" sz="1000" dirty="0"/>
                <a:t>Met wie kunnen we regionaal samenwerken om de bovenstaande stappen te realiseren?</a:t>
              </a:r>
            </a:p>
            <a:p>
              <a:pPr marL="0" indent="0">
                <a:buFont typeface="Wingdings" panose="05000000000000000000" pitchFamily="2" charset="2"/>
                <a:buNone/>
              </a:pPr>
              <a:endParaRPr lang="nl-NL" sz="1000" b="1" dirty="0"/>
            </a:p>
          </p:txBody>
        </p:sp>
      </p:grpSp>
      <p:pic>
        <p:nvPicPr>
          <p:cNvPr id="5" name="Picture 4">
            <a:extLst>
              <a:ext uri="{FF2B5EF4-FFF2-40B4-BE49-F238E27FC236}">
                <a16:creationId xmlns:a16="http://schemas.microsoft.com/office/drawing/2014/main" id="{3BFF1CA8-75B1-499F-8464-F7FFB75937CA}"/>
              </a:ext>
            </a:extLst>
          </p:cNvPr>
          <p:cNvPicPr>
            <a:picLocks/>
          </p:cNvPicPr>
          <p:nvPr/>
        </p:nvPicPr>
        <p:blipFill>
          <a:blip r:embed="rId14" cstate="print">
            <a:extLst>
              <a:ext uri="{28A0092B-C50C-407E-A947-70E740481C1C}">
                <a14:useLocalDpi xmlns:a14="http://schemas.microsoft.com/office/drawing/2010/main"/>
              </a:ext>
            </a:extLst>
          </a:blip>
          <a:stretch>
            <a:fillRect/>
          </a:stretch>
        </p:blipFill>
        <p:spPr>
          <a:xfrm rot="21281645">
            <a:off x="1092597" y="4502420"/>
            <a:ext cx="2635200" cy="1472400"/>
          </a:xfrm>
          <a:prstGeom prst="rect">
            <a:avLst/>
          </a:prstGeom>
          <a:ln w="9525">
            <a:solidFill>
              <a:srgbClr val="22777B"/>
            </a:solidFill>
          </a:ln>
        </p:spPr>
      </p:pic>
    </p:spTree>
    <p:extLst>
      <p:ext uri="{BB962C8B-B14F-4D97-AF65-F5344CB8AC3E}">
        <p14:creationId xmlns:p14="http://schemas.microsoft.com/office/powerpoint/2010/main" val="9024421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4E49B02-16D4-43D2-A319-002C21016B2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2"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id="{C4E49B02-16D4-43D2-A319-002C21016B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BAC66A1A-36C1-4911-A303-2702E065688F}"/>
              </a:ext>
            </a:extLst>
          </p:cNvPr>
          <p:cNvSpPr>
            <a:spLocks noGrp="1"/>
          </p:cNvSpPr>
          <p:nvPr>
            <p:ph type="sldNum" sz="quarter" idx="12"/>
          </p:nvPr>
        </p:nvSpPr>
        <p:spPr/>
        <p:txBody>
          <a:bodyPr/>
          <a:lstStyle/>
          <a:p>
            <a:fld id="{992CD0B2-8AB2-4C6C-8876-E15753662C9B}" type="slidenum">
              <a:rPr lang="nl-NL" smtClean="0"/>
              <a:pPr/>
              <a:t>29</a:t>
            </a:fld>
            <a:endParaRPr lang="nl-NL" dirty="0"/>
          </a:p>
        </p:txBody>
      </p:sp>
      <p:sp>
        <p:nvSpPr>
          <p:cNvPr id="16" name="Rectangle 15">
            <a:extLst>
              <a:ext uri="{FF2B5EF4-FFF2-40B4-BE49-F238E27FC236}">
                <a16:creationId xmlns:a16="http://schemas.microsoft.com/office/drawing/2014/main" id="{80845256-E74C-46AE-86B2-20E6C2DA37D7}"/>
              </a:ext>
            </a:extLst>
          </p:cNvPr>
          <p:cNvSpPr/>
          <p:nvPr/>
        </p:nvSpPr>
        <p:spPr>
          <a:xfrm>
            <a:off x="1654343" y="2296023"/>
            <a:ext cx="9841832" cy="576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buClr>
                <a:schemeClr val="tx2"/>
              </a:buClr>
              <a:buNone/>
            </a:pPr>
            <a:r>
              <a:rPr kumimoji="0" lang="nl-NL" sz="1600" i="0" u="none" strike="noStrike" kern="1200" cap="none" spc="0" normalizeH="0" baseline="0" noProof="0" dirty="0">
                <a:ln>
                  <a:noFill/>
                </a:ln>
                <a:effectLst/>
                <a:uLnTx/>
                <a:uFillTx/>
                <a:latin typeface="Corbel" panose="020B0503020204020204" pitchFamily="34" charset="0"/>
                <a:ea typeface="+mn-ea"/>
                <a:cs typeface="+mn-cs"/>
              </a:rPr>
              <a:t>Introductie</a:t>
            </a:r>
            <a:r>
              <a:rPr kumimoji="0" lang="en-NL" sz="1600" i="0" u="none" strike="noStrike" kern="1200" cap="none" spc="0" normalizeH="0" baseline="0" noProof="0" dirty="0">
                <a:ln>
                  <a:noFill/>
                </a:ln>
                <a:effectLst/>
                <a:uLnTx/>
                <a:uFillTx/>
                <a:latin typeface="Corbel" panose="020B0503020204020204" pitchFamily="34" charset="0"/>
                <a:ea typeface="+mn-ea"/>
                <a:cs typeface="+mn-cs"/>
              </a:rPr>
              <a:t> doelgroepenvervoer</a:t>
            </a:r>
            <a:endParaRPr kumimoji="0" lang="nl-NL" sz="16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7" name="Rectangle 16">
            <a:extLst>
              <a:ext uri="{FF2B5EF4-FFF2-40B4-BE49-F238E27FC236}">
                <a16:creationId xmlns:a16="http://schemas.microsoft.com/office/drawing/2014/main" id="{FFBCEC73-0181-4DD1-9107-D9E1E0A9EF66}"/>
              </a:ext>
            </a:extLst>
          </p:cNvPr>
          <p:cNvSpPr/>
          <p:nvPr/>
        </p:nvSpPr>
        <p:spPr>
          <a:xfrm>
            <a:off x="1654343" y="3862485"/>
            <a:ext cx="9841832" cy="576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buClr>
                <a:schemeClr val="tx2"/>
              </a:buClr>
              <a:buNone/>
            </a:pPr>
            <a:r>
              <a:rPr lang="nl-NL" sz="1600" dirty="0"/>
              <a:t>Strategische opties</a:t>
            </a:r>
          </a:p>
        </p:txBody>
      </p:sp>
      <p:sp>
        <p:nvSpPr>
          <p:cNvPr id="18" name="Rectangle 17">
            <a:extLst>
              <a:ext uri="{FF2B5EF4-FFF2-40B4-BE49-F238E27FC236}">
                <a16:creationId xmlns:a16="http://schemas.microsoft.com/office/drawing/2014/main" id="{6386956A-7E39-4833-895D-30F91F21F488}"/>
              </a:ext>
            </a:extLst>
          </p:cNvPr>
          <p:cNvSpPr/>
          <p:nvPr/>
        </p:nvSpPr>
        <p:spPr>
          <a:xfrm>
            <a:off x="1654343" y="4645716"/>
            <a:ext cx="9841832" cy="576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buClr>
                <a:schemeClr val="tx2"/>
              </a:buClr>
              <a:buNone/>
            </a:pPr>
            <a:r>
              <a:rPr lang="nl-NL" sz="1600" b="1" dirty="0"/>
              <a:t>Bijlage</a:t>
            </a:r>
          </a:p>
        </p:txBody>
      </p:sp>
      <p:sp>
        <p:nvSpPr>
          <p:cNvPr id="12" name="Rectangle 11">
            <a:extLst>
              <a:ext uri="{FF2B5EF4-FFF2-40B4-BE49-F238E27FC236}">
                <a16:creationId xmlns:a16="http://schemas.microsoft.com/office/drawing/2014/main" id="{EF7409A6-BCA8-4532-8F91-B7B2D69D46F7}"/>
              </a:ext>
            </a:extLst>
          </p:cNvPr>
          <p:cNvSpPr/>
          <p:nvPr/>
        </p:nvSpPr>
        <p:spPr>
          <a:xfrm>
            <a:off x="1654343" y="3079254"/>
            <a:ext cx="9841832" cy="576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buClr>
                <a:schemeClr val="tx2"/>
              </a:buClr>
              <a:buNone/>
            </a:pPr>
            <a:r>
              <a:rPr lang="nl-NL" sz="1600" dirty="0"/>
              <a:t>Kansen en uitdagingen</a:t>
            </a:r>
          </a:p>
        </p:txBody>
      </p:sp>
      <p:grpSp>
        <p:nvGrpSpPr>
          <p:cNvPr id="11" name="Group 10">
            <a:extLst>
              <a:ext uri="{FF2B5EF4-FFF2-40B4-BE49-F238E27FC236}">
                <a16:creationId xmlns:a16="http://schemas.microsoft.com/office/drawing/2014/main" id="{23D28E50-BBB8-43A9-9951-7E567A9A09C8}"/>
              </a:ext>
            </a:extLst>
          </p:cNvPr>
          <p:cNvGrpSpPr/>
          <p:nvPr/>
        </p:nvGrpSpPr>
        <p:grpSpPr>
          <a:xfrm>
            <a:off x="938712" y="2301769"/>
            <a:ext cx="577516" cy="576000"/>
            <a:chOff x="938712" y="2301769"/>
            <a:chExt cx="577516" cy="576000"/>
          </a:xfrm>
        </p:grpSpPr>
        <p:sp>
          <p:nvSpPr>
            <p:cNvPr id="2" name="Oval 1">
              <a:extLst>
                <a:ext uri="{FF2B5EF4-FFF2-40B4-BE49-F238E27FC236}">
                  <a16:creationId xmlns:a16="http://schemas.microsoft.com/office/drawing/2014/main" id="{EC9DBB83-8623-4953-96FA-FA0B4D2FD1EE}"/>
                </a:ext>
              </a:extLst>
            </p:cNvPr>
            <p:cNvSpPr/>
            <p:nvPr/>
          </p:nvSpPr>
          <p:spPr>
            <a:xfrm>
              <a:off x="938712" y="2301769"/>
              <a:ext cx="577516" cy="576000"/>
            </a:xfrm>
            <a:prstGeom prst="ellipse">
              <a:avLst/>
            </a:prstGeom>
            <a:solidFill>
              <a:srgbClr val="BFBFB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8" name="Graphic 7" descr="Bus with solid fill">
              <a:extLst>
                <a:ext uri="{FF2B5EF4-FFF2-40B4-BE49-F238E27FC236}">
                  <a16:creationId xmlns:a16="http://schemas.microsoft.com/office/drawing/2014/main" id="{F709A052-FCB9-4992-8BD4-F54410ED9210}"/>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40062" y="2402361"/>
              <a:ext cx="374816" cy="374816"/>
            </a:xfrm>
            <a:prstGeom prst="rect">
              <a:avLst/>
            </a:prstGeom>
          </p:spPr>
        </p:pic>
      </p:grpSp>
      <p:grpSp>
        <p:nvGrpSpPr>
          <p:cNvPr id="13" name="Group 12">
            <a:extLst>
              <a:ext uri="{FF2B5EF4-FFF2-40B4-BE49-F238E27FC236}">
                <a16:creationId xmlns:a16="http://schemas.microsoft.com/office/drawing/2014/main" id="{CF0529D6-D80A-468F-848C-8BC0B6902A6B}"/>
              </a:ext>
            </a:extLst>
          </p:cNvPr>
          <p:cNvGrpSpPr/>
          <p:nvPr/>
        </p:nvGrpSpPr>
        <p:grpSpPr>
          <a:xfrm>
            <a:off x="980823" y="3079254"/>
            <a:ext cx="577516" cy="576000"/>
            <a:chOff x="980823" y="3079254"/>
            <a:chExt cx="577516" cy="576000"/>
          </a:xfrm>
        </p:grpSpPr>
        <p:sp>
          <p:nvSpPr>
            <p:cNvPr id="20" name="Oval 19">
              <a:extLst>
                <a:ext uri="{FF2B5EF4-FFF2-40B4-BE49-F238E27FC236}">
                  <a16:creationId xmlns:a16="http://schemas.microsoft.com/office/drawing/2014/main" id="{03D3D8EC-26E4-4565-BC50-93C7805E9528}"/>
                </a:ext>
              </a:extLst>
            </p:cNvPr>
            <p:cNvSpPr/>
            <p:nvPr/>
          </p:nvSpPr>
          <p:spPr>
            <a:xfrm>
              <a:off x="980823" y="3079254"/>
              <a:ext cx="577516" cy="576000"/>
            </a:xfrm>
            <a:prstGeom prst="ellipse">
              <a:avLst/>
            </a:prstGeom>
            <a:solidFill>
              <a:srgbClr val="BFBFB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pSp>
          <p:nvGrpSpPr>
            <p:cNvPr id="22" name="Group 21">
              <a:extLst>
                <a:ext uri="{FF2B5EF4-FFF2-40B4-BE49-F238E27FC236}">
                  <a16:creationId xmlns:a16="http://schemas.microsoft.com/office/drawing/2014/main" id="{3EE74D55-8A57-4421-B291-13492AB1DAE6}"/>
                </a:ext>
              </a:extLst>
            </p:cNvPr>
            <p:cNvGrpSpPr/>
            <p:nvPr/>
          </p:nvGrpSpPr>
          <p:grpSpPr>
            <a:xfrm>
              <a:off x="1082381" y="3180054"/>
              <a:ext cx="374400" cy="374400"/>
              <a:chOff x="1089449" y="2966143"/>
              <a:chExt cx="683474" cy="683474"/>
            </a:xfrm>
          </p:grpSpPr>
          <p:pic>
            <p:nvPicPr>
              <p:cNvPr id="23" name="Graphic 22" descr="Mountains with solid fill">
                <a:extLst>
                  <a:ext uri="{FF2B5EF4-FFF2-40B4-BE49-F238E27FC236}">
                    <a16:creationId xmlns:a16="http://schemas.microsoft.com/office/drawing/2014/main" id="{B1D65A95-FDA0-43BA-97A3-9DA0032749A3}"/>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89449" y="2966143"/>
                <a:ext cx="683474" cy="683474"/>
              </a:xfrm>
              <a:prstGeom prst="rect">
                <a:avLst/>
              </a:prstGeom>
            </p:spPr>
          </p:pic>
          <p:pic>
            <p:nvPicPr>
              <p:cNvPr id="24" name="Graphic 23" descr="Flag with solid fill">
                <a:extLst>
                  <a:ext uri="{FF2B5EF4-FFF2-40B4-BE49-F238E27FC236}">
                    <a16:creationId xmlns:a16="http://schemas.microsoft.com/office/drawing/2014/main" id="{B435A9EF-9F40-4B21-AA90-E26D1A57E3F3}"/>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25322" y="2977223"/>
                <a:ext cx="139535" cy="139535"/>
              </a:xfrm>
              <a:prstGeom prst="rect">
                <a:avLst/>
              </a:prstGeom>
            </p:spPr>
          </p:pic>
        </p:grpSp>
      </p:grpSp>
      <p:grpSp>
        <p:nvGrpSpPr>
          <p:cNvPr id="30" name="Group 29">
            <a:extLst>
              <a:ext uri="{FF2B5EF4-FFF2-40B4-BE49-F238E27FC236}">
                <a16:creationId xmlns:a16="http://schemas.microsoft.com/office/drawing/2014/main" id="{7137459B-9C4A-4AC9-ADCF-DB309E59F04C}"/>
              </a:ext>
            </a:extLst>
          </p:cNvPr>
          <p:cNvGrpSpPr/>
          <p:nvPr/>
        </p:nvGrpSpPr>
        <p:grpSpPr>
          <a:xfrm>
            <a:off x="992855" y="3862485"/>
            <a:ext cx="577516" cy="576000"/>
            <a:chOff x="992855" y="3862485"/>
            <a:chExt cx="577516" cy="576000"/>
          </a:xfrm>
        </p:grpSpPr>
        <p:sp>
          <p:nvSpPr>
            <p:cNvPr id="26" name="Oval 25">
              <a:extLst>
                <a:ext uri="{FF2B5EF4-FFF2-40B4-BE49-F238E27FC236}">
                  <a16:creationId xmlns:a16="http://schemas.microsoft.com/office/drawing/2014/main" id="{0CF6E8BA-F26B-422E-BED9-F996AD386D31}"/>
                </a:ext>
              </a:extLst>
            </p:cNvPr>
            <p:cNvSpPr/>
            <p:nvPr/>
          </p:nvSpPr>
          <p:spPr>
            <a:xfrm>
              <a:off x="992855" y="3862485"/>
              <a:ext cx="577516" cy="576000"/>
            </a:xfrm>
            <a:prstGeom prst="ellipse">
              <a:avLst/>
            </a:prstGeom>
            <a:solidFill>
              <a:srgbClr val="BFBFB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15" name="Graphic 14" descr="Lights On with solid fill">
              <a:extLst>
                <a:ext uri="{FF2B5EF4-FFF2-40B4-BE49-F238E27FC236}">
                  <a16:creationId xmlns:a16="http://schemas.microsoft.com/office/drawing/2014/main" id="{2791B82B-14B4-4B46-BF93-B5A9FF1876C5}"/>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094413" y="3963285"/>
              <a:ext cx="374400" cy="374400"/>
            </a:xfrm>
            <a:prstGeom prst="rect">
              <a:avLst/>
            </a:prstGeom>
          </p:spPr>
        </p:pic>
      </p:grpSp>
      <p:sp>
        <p:nvSpPr>
          <p:cNvPr id="32" name="Oval 31">
            <a:extLst>
              <a:ext uri="{FF2B5EF4-FFF2-40B4-BE49-F238E27FC236}">
                <a16:creationId xmlns:a16="http://schemas.microsoft.com/office/drawing/2014/main" id="{5118EC7D-2CB9-433D-B59D-4EA6F1051FE4}"/>
              </a:ext>
            </a:extLst>
          </p:cNvPr>
          <p:cNvSpPr/>
          <p:nvPr/>
        </p:nvSpPr>
        <p:spPr>
          <a:xfrm>
            <a:off x="999268" y="4627259"/>
            <a:ext cx="577516" cy="576000"/>
          </a:xfrm>
          <a:prstGeom prst="ellipse">
            <a:avLst/>
          </a:prstGeom>
          <a:solidFill>
            <a:srgbClr val="22777B"/>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35" name="Graphic 34" descr="Document with solid fill">
            <a:extLst>
              <a:ext uri="{FF2B5EF4-FFF2-40B4-BE49-F238E27FC236}">
                <a16:creationId xmlns:a16="http://schemas.microsoft.com/office/drawing/2014/main" id="{71DE590E-342F-4B77-B21A-E0F25F9EEAFA}"/>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100826" y="4728059"/>
            <a:ext cx="374400" cy="374400"/>
          </a:xfrm>
          <a:prstGeom prst="rect">
            <a:avLst/>
          </a:prstGeom>
        </p:spPr>
      </p:pic>
      <p:sp>
        <p:nvSpPr>
          <p:cNvPr id="34" name="TextBox 33">
            <a:extLst>
              <a:ext uri="{FF2B5EF4-FFF2-40B4-BE49-F238E27FC236}">
                <a16:creationId xmlns:a16="http://schemas.microsoft.com/office/drawing/2014/main" id="{2B8DC76E-390B-4A31-92EE-CB5774C953B7}"/>
              </a:ext>
            </a:extLst>
          </p:cNvPr>
          <p:cNvSpPr txBox="1"/>
          <p:nvPr/>
        </p:nvSpPr>
        <p:spPr>
          <a:xfrm>
            <a:off x="938712" y="1086185"/>
            <a:ext cx="6094602" cy="480131"/>
          </a:xfrm>
          <a:prstGeom prst="rect">
            <a:avLst/>
          </a:prstGeom>
          <a:noFill/>
        </p:spPr>
        <p:txBody>
          <a:bodyPr wrap="square" lIns="19440" rIns="19440">
            <a:spAutoFit/>
          </a:bodyPr>
          <a:lstStyle/>
          <a:p>
            <a:pPr marL="0" indent="0">
              <a:buNone/>
            </a:pPr>
            <a:r>
              <a:rPr lang="nl-NL" sz="2800" b="1" dirty="0">
                <a:solidFill>
                  <a:srgbClr val="000000"/>
                </a:solidFill>
              </a:rPr>
              <a:t>Inhoud</a:t>
            </a:r>
            <a:endParaRPr lang="nl-NL" sz="2800" b="1" dirty="0"/>
          </a:p>
        </p:txBody>
      </p:sp>
    </p:spTree>
    <p:extLst>
      <p:ext uri="{BB962C8B-B14F-4D97-AF65-F5344CB8AC3E}">
        <p14:creationId xmlns:p14="http://schemas.microsoft.com/office/powerpoint/2010/main" val="34111327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4E49B02-16D4-43D2-A319-002C21016B28}"/>
              </a:ext>
            </a:extLst>
          </p:cNvPr>
          <p:cNvGraphicFramePr>
            <a:graphicFrameLocks noChangeAspect="1"/>
          </p:cNvGraphicFramePr>
          <p:nvPr>
            <p:custDataLst>
              <p:tags r:id="rId2"/>
            </p:custDataLst>
            <p:extLst>
              <p:ext uri="{D42A27DB-BD31-4B8C-83A1-F6EECF244321}">
                <p14:modId xmlns:p14="http://schemas.microsoft.com/office/powerpoint/2010/main" val="2259920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8"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id="{C4E49B02-16D4-43D2-A319-002C21016B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BAC66A1A-36C1-4911-A303-2702E065688F}"/>
              </a:ext>
            </a:extLst>
          </p:cNvPr>
          <p:cNvSpPr>
            <a:spLocks noGrp="1"/>
          </p:cNvSpPr>
          <p:nvPr>
            <p:ph type="sldNum" sz="quarter" idx="12"/>
          </p:nvPr>
        </p:nvSpPr>
        <p:spPr/>
        <p:txBody>
          <a:bodyPr/>
          <a:lstStyle/>
          <a:p>
            <a:fld id="{992CD0B2-8AB2-4C6C-8876-E15753662C9B}" type="slidenum">
              <a:rPr lang="nl-NL" smtClean="0"/>
              <a:pPr/>
              <a:t>3</a:t>
            </a:fld>
            <a:endParaRPr lang="nl-NL" dirty="0"/>
          </a:p>
        </p:txBody>
      </p:sp>
      <p:sp>
        <p:nvSpPr>
          <p:cNvPr id="16" name="Rectangle 15">
            <a:extLst>
              <a:ext uri="{FF2B5EF4-FFF2-40B4-BE49-F238E27FC236}">
                <a16:creationId xmlns:a16="http://schemas.microsoft.com/office/drawing/2014/main" id="{80845256-E74C-46AE-86B2-20E6C2DA37D7}"/>
              </a:ext>
            </a:extLst>
          </p:cNvPr>
          <p:cNvSpPr/>
          <p:nvPr/>
        </p:nvSpPr>
        <p:spPr>
          <a:xfrm>
            <a:off x="1654343" y="2296023"/>
            <a:ext cx="9841832" cy="576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buClr>
                <a:schemeClr val="tx2"/>
              </a:buClr>
              <a:buNone/>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Introductie</a:t>
            </a:r>
            <a:r>
              <a:rPr kumimoji="0" lang="en-NL" sz="1600" b="1" i="0" u="none" strike="noStrike" kern="1200" cap="none" spc="0" normalizeH="0" baseline="0" noProof="0" dirty="0">
                <a:ln>
                  <a:noFill/>
                </a:ln>
                <a:effectLst/>
                <a:uLnTx/>
                <a:uFillTx/>
                <a:latin typeface="Corbel" panose="020B0503020204020204" pitchFamily="34" charset="0"/>
                <a:ea typeface="+mn-ea"/>
                <a:cs typeface="+mn-cs"/>
              </a:rPr>
              <a:t> doelgroepenvervoer</a:t>
            </a:r>
            <a:endParaRPr kumimoji="0" lang="nl-NL" sz="16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7" name="Rectangle 16">
            <a:extLst>
              <a:ext uri="{FF2B5EF4-FFF2-40B4-BE49-F238E27FC236}">
                <a16:creationId xmlns:a16="http://schemas.microsoft.com/office/drawing/2014/main" id="{FFBCEC73-0181-4DD1-9107-D9E1E0A9EF66}"/>
              </a:ext>
            </a:extLst>
          </p:cNvPr>
          <p:cNvSpPr/>
          <p:nvPr/>
        </p:nvSpPr>
        <p:spPr>
          <a:xfrm>
            <a:off x="1654343" y="3862485"/>
            <a:ext cx="9841832" cy="576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buClr>
                <a:schemeClr val="tx2"/>
              </a:buClr>
              <a:buNone/>
            </a:pPr>
            <a:r>
              <a:rPr lang="nl-NL" sz="1600" dirty="0"/>
              <a:t>Strategische opties</a:t>
            </a:r>
          </a:p>
        </p:txBody>
      </p:sp>
      <p:sp>
        <p:nvSpPr>
          <p:cNvPr id="18" name="Rectangle 17">
            <a:extLst>
              <a:ext uri="{FF2B5EF4-FFF2-40B4-BE49-F238E27FC236}">
                <a16:creationId xmlns:a16="http://schemas.microsoft.com/office/drawing/2014/main" id="{6386956A-7E39-4833-895D-30F91F21F488}"/>
              </a:ext>
            </a:extLst>
          </p:cNvPr>
          <p:cNvSpPr/>
          <p:nvPr/>
        </p:nvSpPr>
        <p:spPr>
          <a:xfrm>
            <a:off x="1654343" y="4645716"/>
            <a:ext cx="9841832" cy="576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buClr>
                <a:schemeClr val="tx2"/>
              </a:buClr>
              <a:buNone/>
            </a:pPr>
            <a:r>
              <a:rPr lang="nl-NL" sz="1600" dirty="0"/>
              <a:t>Bijlage</a:t>
            </a:r>
          </a:p>
        </p:txBody>
      </p:sp>
      <p:sp>
        <p:nvSpPr>
          <p:cNvPr id="12" name="Rectangle 11">
            <a:extLst>
              <a:ext uri="{FF2B5EF4-FFF2-40B4-BE49-F238E27FC236}">
                <a16:creationId xmlns:a16="http://schemas.microsoft.com/office/drawing/2014/main" id="{EF7409A6-BCA8-4532-8F91-B7B2D69D46F7}"/>
              </a:ext>
            </a:extLst>
          </p:cNvPr>
          <p:cNvSpPr/>
          <p:nvPr/>
        </p:nvSpPr>
        <p:spPr>
          <a:xfrm>
            <a:off x="1654343" y="3079254"/>
            <a:ext cx="9841832" cy="576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buClr>
                <a:schemeClr val="tx2"/>
              </a:buClr>
              <a:buNone/>
            </a:pPr>
            <a:r>
              <a:rPr lang="nl-NL" sz="1600" dirty="0"/>
              <a:t>Kansen </a:t>
            </a:r>
            <a:r>
              <a:rPr lang="nl-NL" sz="1600"/>
              <a:t>en uitdagingen</a:t>
            </a:r>
            <a:endParaRPr lang="nl-NL" sz="1600" dirty="0"/>
          </a:p>
        </p:txBody>
      </p:sp>
      <p:grpSp>
        <p:nvGrpSpPr>
          <p:cNvPr id="11" name="Group 10">
            <a:extLst>
              <a:ext uri="{FF2B5EF4-FFF2-40B4-BE49-F238E27FC236}">
                <a16:creationId xmlns:a16="http://schemas.microsoft.com/office/drawing/2014/main" id="{23D28E50-BBB8-43A9-9951-7E567A9A09C8}"/>
              </a:ext>
            </a:extLst>
          </p:cNvPr>
          <p:cNvGrpSpPr/>
          <p:nvPr/>
        </p:nvGrpSpPr>
        <p:grpSpPr>
          <a:xfrm>
            <a:off x="938712" y="2301769"/>
            <a:ext cx="577516" cy="576000"/>
            <a:chOff x="938712" y="2301769"/>
            <a:chExt cx="577516" cy="576000"/>
          </a:xfrm>
        </p:grpSpPr>
        <p:sp>
          <p:nvSpPr>
            <p:cNvPr id="2" name="Oval 1">
              <a:extLst>
                <a:ext uri="{FF2B5EF4-FFF2-40B4-BE49-F238E27FC236}">
                  <a16:creationId xmlns:a16="http://schemas.microsoft.com/office/drawing/2014/main" id="{EC9DBB83-8623-4953-96FA-FA0B4D2FD1EE}"/>
                </a:ext>
              </a:extLst>
            </p:cNvPr>
            <p:cNvSpPr/>
            <p:nvPr/>
          </p:nvSpPr>
          <p:spPr>
            <a:xfrm>
              <a:off x="938712" y="2301769"/>
              <a:ext cx="577516" cy="576000"/>
            </a:xfrm>
            <a:prstGeom prst="ellipse">
              <a:avLst/>
            </a:prstGeom>
            <a:solidFill>
              <a:srgbClr val="22777B"/>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8" name="Graphic 7" descr="Bus with solid fill">
              <a:extLst>
                <a:ext uri="{FF2B5EF4-FFF2-40B4-BE49-F238E27FC236}">
                  <a16:creationId xmlns:a16="http://schemas.microsoft.com/office/drawing/2014/main" id="{F709A052-FCB9-4992-8BD4-F54410ED9210}"/>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40062" y="2402361"/>
              <a:ext cx="374816" cy="374816"/>
            </a:xfrm>
            <a:prstGeom prst="rect">
              <a:avLst/>
            </a:prstGeom>
          </p:spPr>
        </p:pic>
      </p:grpSp>
      <p:grpSp>
        <p:nvGrpSpPr>
          <p:cNvPr id="13" name="Group 12">
            <a:extLst>
              <a:ext uri="{FF2B5EF4-FFF2-40B4-BE49-F238E27FC236}">
                <a16:creationId xmlns:a16="http://schemas.microsoft.com/office/drawing/2014/main" id="{CF0529D6-D80A-468F-848C-8BC0B6902A6B}"/>
              </a:ext>
            </a:extLst>
          </p:cNvPr>
          <p:cNvGrpSpPr/>
          <p:nvPr/>
        </p:nvGrpSpPr>
        <p:grpSpPr>
          <a:xfrm>
            <a:off x="980823" y="3079254"/>
            <a:ext cx="577516" cy="576000"/>
            <a:chOff x="980823" y="3079254"/>
            <a:chExt cx="577516" cy="576000"/>
          </a:xfrm>
        </p:grpSpPr>
        <p:sp>
          <p:nvSpPr>
            <p:cNvPr id="20" name="Oval 19">
              <a:extLst>
                <a:ext uri="{FF2B5EF4-FFF2-40B4-BE49-F238E27FC236}">
                  <a16:creationId xmlns:a16="http://schemas.microsoft.com/office/drawing/2014/main" id="{03D3D8EC-26E4-4565-BC50-93C7805E9528}"/>
                </a:ext>
              </a:extLst>
            </p:cNvPr>
            <p:cNvSpPr/>
            <p:nvPr/>
          </p:nvSpPr>
          <p:spPr>
            <a:xfrm>
              <a:off x="980823" y="3079254"/>
              <a:ext cx="577516" cy="576000"/>
            </a:xfrm>
            <a:prstGeom prst="ellipse">
              <a:avLst/>
            </a:prstGeom>
            <a:solidFill>
              <a:schemeClr val="accent6">
                <a:lumMod val="75000"/>
              </a:schemeClr>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pSp>
          <p:nvGrpSpPr>
            <p:cNvPr id="22" name="Group 21">
              <a:extLst>
                <a:ext uri="{FF2B5EF4-FFF2-40B4-BE49-F238E27FC236}">
                  <a16:creationId xmlns:a16="http://schemas.microsoft.com/office/drawing/2014/main" id="{3EE74D55-8A57-4421-B291-13492AB1DAE6}"/>
                </a:ext>
              </a:extLst>
            </p:cNvPr>
            <p:cNvGrpSpPr/>
            <p:nvPr/>
          </p:nvGrpSpPr>
          <p:grpSpPr>
            <a:xfrm>
              <a:off x="1082381" y="3180054"/>
              <a:ext cx="374400" cy="374400"/>
              <a:chOff x="1089449" y="2966143"/>
              <a:chExt cx="683474" cy="683474"/>
            </a:xfrm>
          </p:grpSpPr>
          <p:pic>
            <p:nvPicPr>
              <p:cNvPr id="23" name="Graphic 22" descr="Mountains with solid fill">
                <a:extLst>
                  <a:ext uri="{FF2B5EF4-FFF2-40B4-BE49-F238E27FC236}">
                    <a16:creationId xmlns:a16="http://schemas.microsoft.com/office/drawing/2014/main" id="{B1D65A95-FDA0-43BA-97A3-9DA0032749A3}"/>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89449" y="2966143"/>
                <a:ext cx="683474" cy="683474"/>
              </a:xfrm>
              <a:prstGeom prst="rect">
                <a:avLst/>
              </a:prstGeom>
            </p:spPr>
          </p:pic>
          <p:pic>
            <p:nvPicPr>
              <p:cNvPr id="24" name="Graphic 23" descr="Flag with solid fill">
                <a:extLst>
                  <a:ext uri="{FF2B5EF4-FFF2-40B4-BE49-F238E27FC236}">
                    <a16:creationId xmlns:a16="http://schemas.microsoft.com/office/drawing/2014/main" id="{B435A9EF-9F40-4B21-AA90-E26D1A57E3F3}"/>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25322" y="2977223"/>
                <a:ext cx="139535" cy="139535"/>
              </a:xfrm>
              <a:prstGeom prst="rect">
                <a:avLst/>
              </a:prstGeom>
            </p:spPr>
          </p:pic>
        </p:grpSp>
      </p:grpSp>
      <p:grpSp>
        <p:nvGrpSpPr>
          <p:cNvPr id="30" name="Group 29">
            <a:extLst>
              <a:ext uri="{FF2B5EF4-FFF2-40B4-BE49-F238E27FC236}">
                <a16:creationId xmlns:a16="http://schemas.microsoft.com/office/drawing/2014/main" id="{7137459B-9C4A-4AC9-ADCF-DB309E59F04C}"/>
              </a:ext>
            </a:extLst>
          </p:cNvPr>
          <p:cNvGrpSpPr/>
          <p:nvPr/>
        </p:nvGrpSpPr>
        <p:grpSpPr>
          <a:xfrm>
            <a:off x="992855" y="3862485"/>
            <a:ext cx="577516" cy="576000"/>
            <a:chOff x="992855" y="3862485"/>
            <a:chExt cx="577516" cy="576000"/>
          </a:xfrm>
        </p:grpSpPr>
        <p:sp>
          <p:nvSpPr>
            <p:cNvPr id="26" name="Oval 25">
              <a:extLst>
                <a:ext uri="{FF2B5EF4-FFF2-40B4-BE49-F238E27FC236}">
                  <a16:creationId xmlns:a16="http://schemas.microsoft.com/office/drawing/2014/main" id="{0CF6E8BA-F26B-422E-BED9-F996AD386D31}"/>
                </a:ext>
              </a:extLst>
            </p:cNvPr>
            <p:cNvSpPr/>
            <p:nvPr/>
          </p:nvSpPr>
          <p:spPr>
            <a:xfrm>
              <a:off x="992855" y="3862485"/>
              <a:ext cx="577516" cy="576000"/>
            </a:xfrm>
            <a:prstGeom prst="ellipse">
              <a:avLst/>
            </a:prstGeom>
            <a:solidFill>
              <a:schemeClr val="accent6">
                <a:lumMod val="75000"/>
              </a:schemeClr>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15" name="Graphic 14" descr="Lights On with solid fill">
              <a:extLst>
                <a:ext uri="{FF2B5EF4-FFF2-40B4-BE49-F238E27FC236}">
                  <a16:creationId xmlns:a16="http://schemas.microsoft.com/office/drawing/2014/main" id="{2791B82B-14B4-4B46-BF93-B5A9FF1876C5}"/>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094413" y="3963285"/>
              <a:ext cx="374400" cy="374400"/>
            </a:xfrm>
            <a:prstGeom prst="rect">
              <a:avLst/>
            </a:prstGeom>
          </p:spPr>
        </p:pic>
      </p:grpSp>
      <p:sp>
        <p:nvSpPr>
          <p:cNvPr id="32" name="Oval 31">
            <a:extLst>
              <a:ext uri="{FF2B5EF4-FFF2-40B4-BE49-F238E27FC236}">
                <a16:creationId xmlns:a16="http://schemas.microsoft.com/office/drawing/2014/main" id="{5118EC7D-2CB9-433D-B59D-4EA6F1051FE4}"/>
              </a:ext>
            </a:extLst>
          </p:cNvPr>
          <p:cNvSpPr/>
          <p:nvPr/>
        </p:nvSpPr>
        <p:spPr>
          <a:xfrm>
            <a:off x="999268" y="4627259"/>
            <a:ext cx="577516" cy="576000"/>
          </a:xfrm>
          <a:prstGeom prst="ellipse">
            <a:avLst/>
          </a:prstGeom>
          <a:solidFill>
            <a:schemeClr val="accent6">
              <a:lumMod val="75000"/>
            </a:schemeClr>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35" name="Graphic 34" descr="Document with solid fill">
            <a:extLst>
              <a:ext uri="{FF2B5EF4-FFF2-40B4-BE49-F238E27FC236}">
                <a16:creationId xmlns:a16="http://schemas.microsoft.com/office/drawing/2014/main" id="{71DE590E-342F-4B77-B21A-E0F25F9EEAFA}"/>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100826" y="4728059"/>
            <a:ext cx="374400" cy="374400"/>
          </a:xfrm>
          <a:prstGeom prst="rect">
            <a:avLst/>
          </a:prstGeom>
        </p:spPr>
      </p:pic>
      <p:sp>
        <p:nvSpPr>
          <p:cNvPr id="34" name="TextBox 33">
            <a:extLst>
              <a:ext uri="{FF2B5EF4-FFF2-40B4-BE49-F238E27FC236}">
                <a16:creationId xmlns:a16="http://schemas.microsoft.com/office/drawing/2014/main" id="{2B8DC76E-390B-4A31-92EE-CB5774C953B7}"/>
              </a:ext>
            </a:extLst>
          </p:cNvPr>
          <p:cNvSpPr txBox="1"/>
          <p:nvPr/>
        </p:nvSpPr>
        <p:spPr>
          <a:xfrm>
            <a:off x="938712" y="1086185"/>
            <a:ext cx="6094602" cy="480131"/>
          </a:xfrm>
          <a:prstGeom prst="rect">
            <a:avLst/>
          </a:prstGeom>
          <a:noFill/>
        </p:spPr>
        <p:txBody>
          <a:bodyPr wrap="square" lIns="19440" rIns="19440">
            <a:spAutoFit/>
          </a:bodyPr>
          <a:lstStyle/>
          <a:p>
            <a:pPr marL="0" indent="0">
              <a:buNone/>
            </a:pPr>
            <a:r>
              <a:rPr lang="nl-NL" sz="2800" b="1" dirty="0">
                <a:solidFill>
                  <a:srgbClr val="000000"/>
                </a:solidFill>
              </a:rPr>
              <a:t>Inhoud</a:t>
            </a:r>
            <a:endParaRPr lang="nl-NL" sz="2800" b="1" dirty="0"/>
          </a:p>
        </p:txBody>
      </p:sp>
    </p:spTree>
    <p:extLst>
      <p:ext uri="{BB962C8B-B14F-4D97-AF65-F5344CB8AC3E}">
        <p14:creationId xmlns:p14="http://schemas.microsoft.com/office/powerpoint/2010/main" val="782279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281365A-6DED-472A-870D-82E6D02FE218}"/>
              </a:ext>
            </a:extLst>
          </p:cNvPr>
          <p:cNvGraphicFramePr>
            <a:graphicFrameLocks noChangeAspect="1"/>
          </p:cNvGraphicFramePr>
          <p:nvPr>
            <p:custDataLst>
              <p:tags r:id="rId2"/>
            </p:custDataLst>
            <p:extLst>
              <p:ext uri="{D42A27DB-BD31-4B8C-83A1-F6EECF244321}">
                <p14:modId xmlns:p14="http://schemas.microsoft.com/office/powerpoint/2010/main" val="3207197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6" name="think-cell Slide" r:id="rId6" imgW="425" imgH="424" progId="TCLayout.ActiveDocument.1">
                  <p:embed/>
                </p:oleObj>
              </mc:Choice>
              <mc:Fallback>
                <p:oleObj name="think-cell Slide" r:id="rId6" imgW="425" imgH="424" progId="TCLayout.ActiveDocument.1">
                  <p:embed/>
                  <p:pic>
                    <p:nvPicPr>
                      <p:cNvPr id="9" name="Object 8" hidden="1">
                        <a:extLst>
                          <a:ext uri="{FF2B5EF4-FFF2-40B4-BE49-F238E27FC236}">
                            <a16:creationId xmlns:a16="http://schemas.microsoft.com/office/drawing/2014/main" id="{A281365A-6DED-472A-870D-82E6D02FE21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1C2A298-6DB0-4D5B-87AB-3105CB9A35F9}"/>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a:lnSpc>
                <a:spcPct val="90000"/>
              </a:lnSpc>
              <a:spcBef>
                <a:spcPts val="750"/>
              </a:spcBef>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96F34FFE-912F-4306-9203-455E95F5F9FB}"/>
              </a:ext>
            </a:extLst>
          </p:cNvPr>
          <p:cNvSpPr>
            <a:spLocks noGrp="1"/>
          </p:cNvSpPr>
          <p:nvPr>
            <p:ph type="title"/>
          </p:nvPr>
        </p:nvSpPr>
        <p:spPr/>
        <p:txBody>
          <a:bodyPr vert="horz"/>
          <a:lstStyle/>
          <a:p>
            <a:r>
              <a:rPr lang="en-NL"/>
              <a:t>Overzicht vervoersvoorzieningen – Onderliggende wet/regeling en verantwoordelijke partij </a:t>
            </a:r>
            <a:r>
              <a:rPr lang="nl-NL"/>
              <a:t>(</a:t>
            </a:r>
            <a:r>
              <a:rPr lang="nl-NL" dirty="0"/>
              <a:t>1/2)</a:t>
            </a:r>
          </a:p>
        </p:txBody>
      </p:sp>
      <p:sp>
        <p:nvSpPr>
          <p:cNvPr id="4" name="Slide Number Placeholder 3">
            <a:extLst>
              <a:ext uri="{FF2B5EF4-FFF2-40B4-BE49-F238E27FC236}">
                <a16:creationId xmlns:a16="http://schemas.microsoft.com/office/drawing/2014/main" id="{0022C3CF-A14A-4187-ACE9-22E9CF8A91A4}"/>
              </a:ext>
            </a:extLst>
          </p:cNvPr>
          <p:cNvSpPr>
            <a:spLocks noGrp="1"/>
          </p:cNvSpPr>
          <p:nvPr>
            <p:ph type="sldNum" sz="quarter" idx="12"/>
          </p:nvPr>
        </p:nvSpPr>
        <p:spPr/>
        <p:txBody>
          <a:bodyPr/>
          <a:lstStyle/>
          <a:p>
            <a:fld id="{992CD0B2-8AB2-4C6C-8876-E15753662C9B}" type="slidenum">
              <a:rPr lang="nl-NL" noProof="0" smtClean="0"/>
              <a:pPr/>
              <a:t>30</a:t>
            </a:fld>
            <a:endParaRPr lang="nl-NL" noProof="0" dirty="0"/>
          </a:p>
        </p:txBody>
      </p:sp>
      <p:graphicFrame>
        <p:nvGraphicFramePr>
          <p:cNvPr id="12" name="Table 10">
            <a:extLst>
              <a:ext uri="{FF2B5EF4-FFF2-40B4-BE49-F238E27FC236}">
                <a16:creationId xmlns:a16="http://schemas.microsoft.com/office/drawing/2014/main" id="{569ACA2B-DC39-4960-A4E9-B658C59CCDA9}"/>
              </a:ext>
            </a:extLst>
          </p:cNvPr>
          <p:cNvGraphicFramePr>
            <a:graphicFrameLocks/>
          </p:cNvGraphicFramePr>
          <p:nvPr>
            <p:extLst>
              <p:ext uri="{D42A27DB-BD31-4B8C-83A1-F6EECF244321}">
                <p14:modId xmlns:p14="http://schemas.microsoft.com/office/powerpoint/2010/main" val="1938364985"/>
              </p:ext>
            </p:extLst>
          </p:nvPr>
        </p:nvGraphicFramePr>
        <p:xfrm>
          <a:off x="669530" y="1591254"/>
          <a:ext cx="10876594" cy="4734000"/>
        </p:xfrm>
        <a:graphic>
          <a:graphicData uri="http://schemas.openxmlformats.org/drawingml/2006/table">
            <a:tbl>
              <a:tblPr firstRow="1" bandRow="1">
                <a:tableStyleId>{5C22544A-7EE6-4342-B048-85BDC9FD1C3A}</a:tableStyleId>
              </a:tblPr>
              <a:tblGrid>
                <a:gridCol w="1980000">
                  <a:extLst>
                    <a:ext uri="{9D8B030D-6E8A-4147-A177-3AD203B41FA5}">
                      <a16:colId xmlns:a16="http://schemas.microsoft.com/office/drawing/2014/main" val="2168218951"/>
                    </a:ext>
                  </a:extLst>
                </a:gridCol>
                <a:gridCol w="400594">
                  <a:extLst>
                    <a:ext uri="{9D8B030D-6E8A-4147-A177-3AD203B41FA5}">
                      <a16:colId xmlns:a16="http://schemas.microsoft.com/office/drawing/2014/main" val="3699839106"/>
                    </a:ext>
                  </a:extLst>
                </a:gridCol>
                <a:gridCol w="4248000">
                  <a:extLst>
                    <a:ext uri="{9D8B030D-6E8A-4147-A177-3AD203B41FA5}">
                      <a16:colId xmlns:a16="http://schemas.microsoft.com/office/drawing/2014/main" val="2823145105"/>
                    </a:ext>
                  </a:extLst>
                </a:gridCol>
                <a:gridCol w="4248000">
                  <a:extLst>
                    <a:ext uri="{9D8B030D-6E8A-4147-A177-3AD203B41FA5}">
                      <a16:colId xmlns:a16="http://schemas.microsoft.com/office/drawing/2014/main" val="2680170123"/>
                    </a:ext>
                  </a:extLst>
                </a:gridCol>
              </a:tblGrid>
              <a:tr h="324000">
                <a:tc>
                  <a:txBody>
                    <a:bodyPr/>
                    <a:lstStyle/>
                    <a:p>
                      <a:pPr algn="ctr" rtl="0"/>
                      <a:r>
                        <a:rPr lang="nl-NL" sz="1000" dirty="0"/>
                        <a:t>Voorziening</a:t>
                      </a:r>
                    </a:p>
                  </a:txBody>
                  <a:tcPr marL="36000" marR="36000" marT="36000" marB="36000" anchor="ctr">
                    <a:lnL w="9525" cap="flat" cmpd="sng" algn="ctr">
                      <a:solidFill>
                        <a:schemeClr val="tx2"/>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gridSpan="2">
                  <a:txBody>
                    <a:bodyPr/>
                    <a:lstStyle/>
                    <a:p>
                      <a:pPr algn="l" rtl="0"/>
                      <a:r>
                        <a:rPr lang="nl-NL" sz="1000" dirty="0"/>
                        <a:t>Wettelijke verplichting en regeling</a:t>
                      </a:r>
                    </a:p>
                  </a:txBody>
                  <a:tcPr marL="108000" marR="108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nl-NL"/>
                    </a:p>
                  </a:txBody>
                  <a:tcPr/>
                </a:tc>
                <a:tc>
                  <a:txBody>
                    <a:bodyPr/>
                    <a:lstStyle/>
                    <a:p>
                      <a:pPr algn="l" rtl="0"/>
                      <a:r>
                        <a:rPr lang="nl-NL" sz="1000" dirty="0"/>
                        <a:t>Verantwoordelijke partij</a:t>
                      </a:r>
                    </a:p>
                  </a:txBody>
                  <a:tcPr marL="54000" marR="54000" marT="36000" marB="36000" anchor="ctr">
                    <a:lnL w="9525" cap="flat" cmpd="sng" algn="ctr">
                      <a:solidFill>
                        <a:schemeClr val="bg1"/>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7531575"/>
                  </a:ext>
                </a:extLst>
              </a:tr>
              <a:tr h="882000">
                <a:tc>
                  <a:txBody>
                    <a:bodyPr/>
                    <a:lstStyle/>
                    <a:p>
                      <a:pPr algn="ctr" rtl="0"/>
                      <a:r>
                        <a:rPr lang="nl-NL" sz="1000" b="1" dirty="0"/>
                        <a:t>Collectief Wmo-vervoer </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000000"/>
                          </a:solidFill>
                          <a:effectLst/>
                          <a:uLnTx/>
                          <a:uFillTx/>
                          <a:latin typeface="Corbel"/>
                          <a:ea typeface="+mn-ea"/>
                          <a:cs typeface="+mn-cs"/>
                        </a:rPr>
                        <a:t>Ja</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1" i="0" u="none" strike="noStrike" kern="1200" cap="none" spc="0" normalizeH="0" baseline="0" noProof="0" dirty="0">
                          <a:ln>
                            <a:noFill/>
                          </a:ln>
                          <a:solidFill>
                            <a:srgbClr val="000000"/>
                          </a:solidFill>
                          <a:effectLst/>
                          <a:uLnTx/>
                          <a:uFillTx/>
                          <a:latin typeface="Corbel"/>
                          <a:ea typeface="+mn-ea"/>
                          <a:cs typeface="+mn-cs"/>
                        </a:rPr>
                        <a:t>Wet maatschappelijke ondersteuning (Wmo) </a:t>
                      </a:r>
                      <a:r>
                        <a:rPr kumimoji="0" lang="nl-NL" sz="1000" b="0" i="0" u="none" strike="noStrike" kern="1200" cap="none" spc="0" normalizeH="0" baseline="0" noProof="0" dirty="0">
                          <a:ln>
                            <a:noFill/>
                          </a:ln>
                          <a:solidFill>
                            <a:srgbClr val="000000"/>
                          </a:solidFill>
                          <a:effectLst/>
                          <a:uLnTx/>
                          <a:uFillTx/>
                          <a:latin typeface="Corbel"/>
                          <a:ea typeface="+mn-ea"/>
                          <a:cs typeface="+mn-cs"/>
                        </a:rPr>
                        <a:t>stelt gemeente verplicht om voor burgers die niet zelfstandig hun eigen vervoer kunnen organiseren een collectieve vervoersvoorziening aan te bieden  tegen een gereduceerd tarief</a:t>
                      </a:r>
                      <a:endParaRPr kumimoji="0" lang="nl-NL" sz="1000" b="1" i="0" u="none" strike="noStrike" kern="1200" cap="none" spc="0" normalizeH="0" baseline="0" noProof="0" dirty="0">
                        <a:ln>
                          <a:noFill/>
                        </a:ln>
                        <a:solidFill>
                          <a:srgbClr val="000000"/>
                        </a:solidFill>
                        <a:effectLst/>
                        <a:uLnTx/>
                        <a:uFillTx/>
                        <a:latin typeface="Corbel"/>
                        <a:ea typeface="+mn-ea"/>
                        <a:cs typeface="+mn-cs"/>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1" i="0" u="none" strike="noStrike" kern="1200" cap="none" spc="0" normalizeH="0" baseline="0" noProof="0" dirty="0">
                          <a:ln>
                            <a:noFill/>
                          </a:ln>
                          <a:solidFill>
                            <a:srgbClr val="000000"/>
                          </a:solidFill>
                          <a:effectLst/>
                          <a:uLnTx/>
                          <a:uFillTx/>
                          <a:latin typeface="Corbel"/>
                          <a:ea typeface="+mn-ea"/>
                          <a:cs typeface="+mn-cs"/>
                        </a:rPr>
                        <a:t>Gemeenten </a:t>
                      </a:r>
                      <a:r>
                        <a:rPr kumimoji="0" lang="nl-NL" sz="1000" b="0" i="0" u="none" strike="noStrike" kern="1200" cap="none" spc="0" normalizeH="0" baseline="0" noProof="0" dirty="0">
                          <a:ln>
                            <a:noFill/>
                          </a:ln>
                          <a:solidFill>
                            <a:srgbClr val="000000"/>
                          </a:solidFill>
                          <a:effectLst/>
                          <a:uLnTx/>
                          <a:uFillTx/>
                          <a:latin typeface="Corbel"/>
                          <a:ea typeface="+mn-ea"/>
                          <a:cs typeface="+mn-cs"/>
                        </a:rPr>
                        <a:t>zijn financier, verantwoordelijke en indicatiesteller</a:t>
                      </a:r>
                      <a:endParaRPr kumimoji="0" lang="nl-NL" sz="1000" b="1" i="0" u="none" strike="noStrike" kern="1200" cap="none" spc="0" normalizeH="0" baseline="0" noProof="0" dirty="0">
                        <a:ln>
                          <a:noFill/>
                        </a:ln>
                        <a:solidFill>
                          <a:srgbClr val="000000"/>
                        </a:solidFill>
                        <a:effectLst/>
                        <a:uLnTx/>
                        <a:uFillTx/>
                        <a:latin typeface="Corbel"/>
                        <a:ea typeface="+mn-ea"/>
                        <a:cs typeface="+mn-cs"/>
                      </a:endParaRPr>
                    </a:p>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1" i="0" u="none" strike="noStrike" kern="1200" cap="none" spc="0" normalizeH="0" baseline="0" noProof="0" dirty="0">
                          <a:ln>
                            <a:noFill/>
                          </a:ln>
                          <a:solidFill>
                            <a:srgbClr val="000000"/>
                          </a:solidFill>
                          <a:effectLst/>
                          <a:uLnTx/>
                          <a:uFillTx/>
                          <a:latin typeface="+mn-lt"/>
                          <a:ea typeface="+mn-ea"/>
                          <a:cs typeface="+mn-cs"/>
                        </a:rPr>
                        <a:t>Vervoerders </a:t>
                      </a:r>
                      <a:r>
                        <a:rPr kumimoji="0" lang="nl-NL" sz="1000" b="0" i="0" u="none" strike="noStrike" kern="1200" cap="none" spc="0" normalizeH="0" baseline="0" noProof="0" dirty="0">
                          <a:ln>
                            <a:noFill/>
                          </a:ln>
                          <a:solidFill>
                            <a:srgbClr val="000000"/>
                          </a:solidFill>
                          <a:effectLst/>
                          <a:uLnTx/>
                          <a:uFillTx/>
                          <a:latin typeface="+mn-lt"/>
                          <a:ea typeface="+mn-ea"/>
                          <a:cs typeface="+mn-cs"/>
                        </a:rPr>
                        <a:t>(bijv. RMC, Transvision, Connexxion) voeren ritten uit</a:t>
                      </a:r>
                      <a:endParaRPr kumimoji="0" lang="nl-NL" sz="1000" b="1" i="0" u="none" strike="noStrike" kern="1200" cap="none" spc="0" normalizeH="0" baseline="0" noProof="0" dirty="0">
                        <a:ln>
                          <a:noFill/>
                        </a:ln>
                        <a:solidFill>
                          <a:srgbClr val="000000"/>
                        </a:solidFill>
                        <a:effectLst/>
                        <a:uLnTx/>
                        <a:uFillTx/>
                        <a:latin typeface="+mn-lt"/>
                        <a:ea typeface="+mn-ea"/>
                        <a:cs typeface="+mn-cs"/>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1233948570"/>
                  </a:ext>
                </a:extLst>
              </a:tr>
              <a:tr h="882000">
                <a:tc>
                  <a:txBody>
                    <a:bodyPr/>
                    <a:lstStyle/>
                    <a:p>
                      <a:pPr algn="ctr" rtl="0"/>
                      <a:r>
                        <a:rPr lang="nl-NL" sz="1000" b="1" dirty="0"/>
                        <a:t>Beschermd vervoer</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000000"/>
                          </a:solidFill>
                          <a:effectLst/>
                          <a:uLnTx/>
                          <a:uFillTx/>
                          <a:latin typeface="Corbel"/>
                          <a:ea typeface="+mn-ea"/>
                          <a:cs typeface="+mn-cs"/>
                        </a:rPr>
                        <a:t>Nee</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0" i="0" u="none" strike="noStrike" kern="1200" cap="none" spc="0" normalizeH="0" baseline="0" noProof="0" dirty="0">
                          <a:ln>
                            <a:noFill/>
                          </a:ln>
                          <a:solidFill>
                            <a:srgbClr val="000000"/>
                          </a:solidFill>
                          <a:effectLst/>
                          <a:uLnTx/>
                          <a:uFillTx/>
                          <a:latin typeface="Corbel"/>
                          <a:ea typeface="+mn-ea"/>
                          <a:cs typeface="+mn-cs"/>
                        </a:rPr>
                        <a:t>Sommige gemeenten kiezen ervoor om senioren ook gebruik te laten maken van het collectief Wmo-vervoer zonder dat zij daarvoor een Wmo-indicatie hoeven te </a:t>
                      </a:r>
                      <a:r>
                        <a:rPr kumimoji="0" lang="en-NL" sz="1000" b="0" i="0" u="none" strike="noStrike" kern="1200" cap="none" spc="0" normalizeH="0" baseline="0" noProof="0" dirty="0" err="1">
                          <a:ln>
                            <a:noFill/>
                          </a:ln>
                          <a:solidFill>
                            <a:srgbClr val="000000"/>
                          </a:solidFill>
                          <a:effectLst/>
                          <a:uLnTx/>
                          <a:uFillTx/>
                          <a:latin typeface="Corbel"/>
                          <a:ea typeface="+mn-ea"/>
                          <a:cs typeface="+mn-cs"/>
                        </a:rPr>
                        <a:t>verkrijgen</a:t>
                      </a:r>
                      <a:endParaRPr kumimoji="0" lang="nl-NL" sz="1000" b="0" i="0" u="none" strike="noStrike" kern="1200" cap="none" spc="0" normalizeH="0" baseline="0" noProof="0" dirty="0">
                        <a:ln>
                          <a:noFill/>
                        </a:ln>
                        <a:solidFill>
                          <a:srgbClr val="000000"/>
                        </a:solidFill>
                        <a:effectLst/>
                        <a:uLnTx/>
                        <a:uFillTx/>
                        <a:latin typeface="Corbel"/>
                        <a:ea typeface="+mn-ea"/>
                        <a:cs typeface="+mn-cs"/>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1" i="0" u="none" strike="noStrike" kern="1200" cap="none" spc="0" normalizeH="0" baseline="0" noProof="0" dirty="0">
                          <a:ln>
                            <a:noFill/>
                          </a:ln>
                          <a:solidFill>
                            <a:srgbClr val="000000"/>
                          </a:solidFill>
                          <a:effectLst/>
                          <a:uLnTx/>
                          <a:uFillTx/>
                          <a:latin typeface="+mn-lt"/>
                          <a:ea typeface="+mn-ea"/>
                          <a:cs typeface="+mn-cs"/>
                        </a:rPr>
                        <a:t>Gemeenten </a:t>
                      </a:r>
                      <a:r>
                        <a:rPr kumimoji="0" lang="nl-NL" sz="1000" b="0" i="0" u="none" strike="noStrike" kern="1200" cap="none" spc="0" normalizeH="0" baseline="0" noProof="0" dirty="0">
                          <a:ln>
                            <a:noFill/>
                          </a:ln>
                          <a:solidFill>
                            <a:srgbClr val="000000"/>
                          </a:solidFill>
                          <a:effectLst/>
                          <a:uLnTx/>
                          <a:uFillTx/>
                          <a:latin typeface="+mn-lt"/>
                          <a:ea typeface="+mn-ea"/>
                          <a:cs typeface="+mn-cs"/>
                        </a:rPr>
                        <a:t>zijn financier, verantwoordelijke en geven pasjes af</a:t>
                      </a:r>
                      <a:endParaRPr kumimoji="0" lang="nl-NL" sz="1000" b="1" i="0" u="none" strike="noStrike" kern="1200" cap="none" spc="0" normalizeH="0" baseline="0" noProof="0" dirty="0">
                        <a:ln>
                          <a:noFill/>
                        </a:ln>
                        <a:solidFill>
                          <a:srgbClr val="000000"/>
                        </a:solidFill>
                        <a:effectLst/>
                        <a:uLnTx/>
                        <a:uFillTx/>
                        <a:latin typeface="+mn-lt"/>
                        <a:ea typeface="+mn-ea"/>
                        <a:cs typeface="+mn-cs"/>
                      </a:endParaRPr>
                    </a:p>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1" i="0" u="none" strike="noStrike" kern="1200" cap="none" spc="0" normalizeH="0" baseline="0" noProof="0" dirty="0">
                          <a:ln>
                            <a:noFill/>
                          </a:ln>
                          <a:solidFill>
                            <a:srgbClr val="000000"/>
                          </a:solidFill>
                          <a:effectLst/>
                          <a:uLnTx/>
                          <a:uFillTx/>
                          <a:latin typeface="+mn-lt"/>
                          <a:ea typeface="+mn-ea"/>
                          <a:cs typeface="+mn-cs"/>
                        </a:rPr>
                        <a:t>Vervoerders </a:t>
                      </a:r>
                      <a:r>
                        <a:rPr kumimoji="0" lang="nl-NL" sz="1000" b="0" i="0" u="none" strike="noStrike" kern="1200" cap="none" spc="0" normalizeH="0" baseline="0" noProof="0" dirty="0">
                          <a:ln>
                            <a:noFill/>
                          </a:ln>
                          <a:solidFill>
                            <a:srgbClr val="000000"/>
                          </a:solidFill>
                          <a:effectLst/>
                          <a:uLnTx/>
                          <a:uFillTx/>
                          <a:latin typeface="+mn-lt"/>
                          <a:ea typeface="+mn-ea"/>
                          <a:cs typeface="+mn-cs"/>
                        </a:rPr>
                        <a:t>(bijv. RMC, Transvision, Connexxion) voeren ritten uit</a:t>
                      </a:r>
                      <a:endParaRPr kumimoji="0" lang="nl-NL" sz="1000" b="1" i="0" u="none" strike="noStrike" kern="1200" cap="none" spc="0" normalizeH="0" baseline="0" noProof="0" dirty="0">
                        <a:ln>
                          <a:noFill/>
                        </a:ln>
                        <a:solidFill>
                          <a:srgbClr val="000000"/>
                        </a:solidFill>
                        <a:effectLst/>
                        <a:uLnTx/>
                        <a:uFillTx/>
                        <a:latin typeface="+mn-lt"/>
                        <a:ea typeface="+mn-ea"/>
                        <a:cs typeface="+mn-cs"/>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339549886"/>
                  </a:ext>
                </a:extLst>
              </a:tr>
              <a:tr h="882000">
                <a:tc>
                  <a:txBody>
                    <a:bodyPr/>
                    <a:lstStyle/>
                    <a:p>
                      <a:pPr algn="ctr" rtl="0"/>
                      <a:r>
                        <a:rPr lang="nl-NL" sz="1000" b="1" dirty="0"/>
                        <a:t>Leerlingenvervoer</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000000"/>
                          </a:solidFill>
                          <a:effectLst/>
                          <a:uLnTx/>
                          <a:uFillTx/>
                          <a:latin typeface="Corbel"/>
                          <a:ea typeface="+mn-ea"/>
                          <a:cs typeface="+mn-cs"/>
                        </a:rPr>
                        <a:t>Ja</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1" i="0" u="none" strike="noStrike" kern="1200" cap="none" spc="0" normalizeH="0" baseline="0" noProof="0" dirty="0">
                          <a:ln>
                            <a:noFill/>
                          </a:ln>
                          <a:solidFill>
                            <a:srgbClr val="000000"/>
                          </a:solidFill>
                          <a:effectLst/>
                          <a:uLnTx/>
                          <a:uFillTx/>
                          <a:latin typeface="Corbel"/>
                          <a:ea typeface="+mn-ea"/>
                          <a:cs typeface="+mn-cs"/>
                        </a:rPr>
                        <a:t>Wet op het primair onderwijs, Wet  op het voortgezet onderwijs, Wet op de expertisecentra </a:t>
                      </a:r>
                      <a:r>
                        <a:rPr kumimoji="0" lang="nl-NL" sz="1000" b="0" i="0" u="none" strike="noStrike" kern="1200" cap="none" spc="0" normalizeH="0" baseline="0" noProof="0" dirty="0">
                          <a:ln>
                            <a:noFill/>
                          </a:ln>
                          <a:solidFill>
                            <a:srgbClr val="000000"/>
                          </a:solidFill>
                          <a:effectLst/>
                          <a:uLnTx/>
                          <a:uFillTx/>
                          <a:latin typeface="Corbel"/>
                          <a:ea typeface="+mn-ea"/>
                          <a:cs typeface="+mn-cs"/>
                        </a:rPr>
                        <a:t>stellen de gemeente verplicht om vervoer te regelen voor jongeren indien zij niet zelfstandig kunnen reizen.</a:t>
                      </a:r>
                      <a:endParaRPr kumimoji="0" lang="nl-NL" sz="1000" b="1" i="0" u="none" strike="noStrike" kern="1200" cap="none" spc="0" normalizeH="0" baseline="0" noProof="0" dirty="0">
                        <a:ln>
                          <a:noFill/>
                        </a:ln>
                        <a:solidFill>
                          <a:srgbClr val="000000"/>
                        </a:solidFill>
                        <a:effectLst/>
                        <a:uLnTx/>
                        <a:uFillTx/>
                        <a:latin typeface="Corbel"/>
                        <a:ea typeface="+mn-ea"/>
                        <a:cs typeface="+mn-cs"/>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1" i="0" u="none" strike="noStrike" kern="1200" cap="none" spc="0" normalizeH="0" baseline="0" noProof="0" dirty="0">
                          <a:ln>
                            <a:noFill/>
                          </a:ln>
                          <a:solidFill>
                            <a:srgbClr val="000000"/>
                          </a:solidFill>
                          <a:effectLst/>
                          <a:uLnTx/>
                          <a:uFillTx/>
                          <a:latin typeface="+mn-lt"/>
                          <a:ea typeface="+mn-ea"/>
                          <a:cs typeface="+mn-cs"/>
                        </a:rPr>
                        <a:t>Gemeenten </a:t>
                      </a:r>
                      <a:r>
                        <a:rPr kumimoji="0" lang="nl-NL" sz="1000" b="0" i="0" u="none" strike="noStrike" kern="1200" cap="none" spc="0" normalizeH="0" baseline="0" noProof="0" dirty="0">
                          <a:ln>
                            <a:noFill/>
                          </a:ln>
                          <a:solidFill>
                            <a:srgbClr val="000000"/>
                          </a:solidFill>
                          <a:effectLst/>
                          <a:uLnTx/>
                          <a:uFillTx/>
                          <a:latin typeface="+mn-lt"/>
                          <a:ea typeface="+mn-ea"/>
                          <a:cs typeface="+mn-cs"/>
                        </a:rPr>
                        <a:t>zijn financier, verantwoordelijke en indicatiesteller.</a:t>
                      </a:r>
                      <a:endParaRPr kumimoji="0" lang="nl-NL" sz="1000" b="1" i="0" u="none" strike="noStrike" kern="1200" cap="none" spc="0" normalizeH="0" baseline="0" noProof="0" dirty="0">
                        <a:ln>
                          <a:noFill/>
                        </a:ln>
                        <a:solidFill>
                          <a:srgbClr val="000000"/>
                        </a:solidFill>
                        <a:effectLst/>
                        <a:uLnTx/>
                        <a:uFillTx/>
                        <a:latin typeface="+mn-lt"/>
                        <a:ea typeface="+mn-ea"/>
                        <a:cs typeface="+mn-cs"/>
                      </a:endParaRPr>
                    </a:p>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1" i="0" u="none" strike="noStrike" kern="1200" cap="none" spc="0" normalizeH="0" baseline="0" noProof="0" dirty="0">
                          <a:ln>
                            <a:noFill/>
                          </a:ln>
                          <a:solidFill>
                            <a:srgbClr val="000000"/>
                          </a:solidFill>
                          <a:effectLst/>
                          <a:uLnTx/>
                          <a:uFillTx/>
                          <a:latin typeface="+mn-lt"/>
                          <a:ea typeface="+mn-ea"/>
                          <a:cs typeface="+mn-cs"/>
                        </a:rPr>
                        <a:t>Vervoerders </a:t>
                      </a:r>
                      <a:r>
                        <a:rPr kumimoji="0" lang="nl-NL" sz="1000" b="0" i="0" u="none" strike="noStrike" kern="1200" cap="none" spc="0" normalizeH="0" baseline="0" noProof="0" dirty="0">
                          <a:ln>
                            <a:noFill/>
                          </a:ln>
                          <a:solidFill>
                            <a:srgbClr val="000000"/>
                          </a:solidFill>
                          <a:effectLst/>
                          <a:uLnTx/>
                          <a:uFillTx/>
                          <a:latin typeface="+mn-lt"/>
                          <a:ea typeface="+mn-ea"/>
                          <a:cs typeface="+mn-cs"/>
                        </a:rPr>
                        <a:t>voeren ritten uit</a:t>
                      </a:r>
                      <a:endParaRPr kumimoji="0" lang="nl-NL" sz="1000" b="1" i="0" u="none" strike="noStrike" kern="1200" cap="none" spc="0" normalizeH="0" baseline="0" noProof="0" dirty="0">
                        <a:ln>
                          <a:noFill/>
                        </a:ln>
                        <a:solidFill>
                          <a:srgbClr val="000000"/>
                        </a:solidFill>
                        <a:effectLst/>
                        <a:uLnTx/>
                        <a:uFillTx/>
                        <a:latin typeface="+mn-lt"/>
                        <a:ea typeface="+mn-ea"/>
                        <a:cs typeface="+mn-cs"/>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474327700"/>
                  </a:ext>
                </a:extLst>
              </a:tr>
              <a:tr h="882000">
                <a:tc>
                  <a:txBody>
                    <a:bodyPr/>
                    <a:lstStyle/>
                    <a:p>
                      <a:pPr algn="ctr" rtl="0"/>
                      <a:r>
                        <a:rPr lang="nl-NL" sz="1000" b="1"/>
                        <a:t>Vervoer dagbesteding</a:t>
                      </a:r>
                      <a:r>
                        <a:rPr lang="en-NL" sz="1000" b="1"/>
                        <a:t> en</a:t>
                      </a:r>
                      <a:r>
                        <a:rPr lang="nl-NL" sz="1000" b="1"/>
                        <a:t> </a:t>
                      </a:r>
                      <a:r>
                        <a:rPr lang="en-NL" sz="1000" b="1"/>
                        <a:t>                        -</a:t>
                      </a:r>
                      <a:r>
                        <a:rPr lang="nl-NL" sz="1000" b="1"/>
                        <a:t>behandeling</a:t>
                      </a:r>
                      <a:endParaRPr lang="nl-NL" sz="1000" b="1" dirty="0"/>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000000"/>
                          </a:solidFill>
                          <a:effectLst/>
                          <a:uLnTx/>
                          <a:uFillTx/>
                          <a:latin typeface="Corbel"/>
                          <a:ea typeface="+mn-ea"/>
                          <a:cs typeface="+mn-cs"/>
                        </a:rPr>
                        <a:t>Ja</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1" i="0" u="none" strike="noStrike" kern="1200" cap="none" spc="0" normalizeH="0" baseline="0" noProof="0" dirty="0">
                          <a:ln>
                            <a:noFill/>
                          </a:ln>
                          <a:solidFill>
                            <a:srgbClr val="000000"/>
                          </a:solidFill>
                          <a:effectLst/>
                          <a:uLnTx/>
                          <a:uFillTx/>
                          <a:latin typeface="Corbel"/>
                          <a:ea typeface="+mn-ea"/>
                          <a:cs typeface="+mn-cs"/>
                        </a:rPr>
                        <a:t>Wmo </a:t>
                      </a:r>
                      <a:r>
                        <a:rPr kumimoji="0" lang="nl-NL" sz="1000" b="0" i="0" u="none" strike="noStrike" kern="1200" cap="none" spc="0" normalizeH="0" baseline="0" noProof="0" dirty="0">
                          <a:ln>
                            <a:noFill/>
                          </a:ln>
                          <a:solidFill>
                            <a:srgbClr val="000000"/>
                          </a:solidFill>
                          <a:effectLst/>
                          <a:uLnTx/>
                          <a:uFillTx/>
                          <a:latin typeface="Corbel"/>
                          <a:ea typeface="+mn-ea"/>
                          <a:cs typeface="+mn-cs"/>
                        </a:rPr>
                        <a:t>stelt gemeente verplicht vervoer te financieren bij dagbesteding </a:t>
                      </a:r>
                    </a:p>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0" i="0" u="none" strike="noStrike" kern="1200" cap="none" spc="0" normalizeH="0" baseline="0" noProof="0" dirty="0">
                          <a:ln>
                            <a:noFill/>
                          </a:ln>
                          <a:solidFill>
                            <a:srgbClr val="000000"/>
                          </a:solidFill>
                          <a:effectLst/>
                          <a:uLnTx/>
                          <a:uFillTx/>
                          <a:latin typeface="Corbel"/>
                          <a:ea typeface="+mn-ea"/>
                          <a:cs typeface="+mn-cs"/>
                        </a:rPr>
                        <a:t>Niet alle dagbesteding (incl. vervoer) valt onder verantwoordelijkheid van de gemeente. Bij cliënten met een hoog Zorgzwaartepakket (zzp), valt de dagbesteding incl. vervoer in de </a:t>
                      </a:r>
                      <a:r>
                        <a:rPr kumimoji="0" lang="nl-NL" sz="1000" b="1" i="0" u="none" strike="noStrike" kern="1200" cap="none" spc="0" normalizeH="0" baseline="0" noProof="0" dirty="0">
                          <a:ln>
                            <a:noFill/>
                          </a:ln>
                          <a:solidFill>
                            <a:srgbClr val="000000"/>
                          </a:solidFill>
                          <a:effectLst/>
                          <a:uLnTx/>
                          <a:uFillTx/>
                          <a:latin typeface="Corbel"/>
                          <a:ea typeface="+mn-ea"/>
                          <a:cs typeface="+mn-cs"/>
                        </a:rPr>
                        <a:t>Wet langdurige zorg (WLZ)</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0" i="0" u="none" strike="noStrike" kern="1200" cap="none" spc="0" normalizeH="0" baseline="0" noProof="0" dirty="0">
                          <a:ln>
                            <a:noFill/>
                          </a:ln>
                          <a:solidFill>
                            <a:srgbClr val="000000"/>
                          </a:solidFill>
                          <a:effectLst/>
                          <a:uLnTx/>
                          <a:uFillTx/>
                          <a:latin typeface="Corbel"/>
                          <a:ea typeface="+mn-ea"/>
                          <a:cs typeface="+mn-cs"/>
                        </a:rPr>
                        <a:t>Wmo: </a:t>
                      </a:r>
                      <a:r>
                        <a:rPr kumimoji="0" lang="nl-NL" sz="1000" b="1" i="0" u="none" strike="noStrike" kern="1200" cap="none" spc="0" normalizeH="0" baseline="0" noProof="0" dirty="0">
                          <a:ln>
                            <a:noFill/>
                          </a:ln>
                          <a:solidFill>
                            <a:srgbClr val="000000"/>
                          </a:solidFill>
                          <a:effectLst/>
                          <a:uLnTx/>
                          <a:uFillTx/>
                          <a:latin typeface="Corbel"/>
                          <a:ea typeface="+mn-ea"/>
                          <a:cs typeface="+mn-cs"/>
                        </a:rPr>
                        <a:t>Gemeenten </a:t>
                      </a:r>
                      <a:r>
                        <a:rPr kumimoji="0" lang="nl-NL" sz="1000" b="0" i="0" u="none" strike="noStrike" kern="1200" cap="none" spc="0" normalizeH="0" baseline="0" noProof="0" dirty="0">
                          <a:ln>
                            <a:noFill/>
                          </a:ln>
                          <a:solidFill>
                            <a:srgbClr val="000000"/>
                          </a:solidFill>
                          <a:effectLst/>
                          <a:uLnTx/>
                          <a:uFillTx/>
                          <a:latin typeface="Corbel"/>
                          <a:ea typeface="+mn-ea"/>
                          <a:cs typeface="+mn-cs"/>
                        </a:rPr>
                        <a:t>zijn financier, verantwoordelijke en indicatiesteller voor toegang tot dagbesteding. De </a:t>
                      </a:r>
                      <a:r>
                        <a:rPr kumimoji="0" lang="nl-NL" sz="1000" b="1" i="0" u="none" strike="noStrike" kern="1200" cap="none" spc="0" normalizeH="0" baseline="0" noProof="0" dirty="0">
                          <a:ln>
                            <a:noFill/>
                          </a:ln>
                          <a:solidFill>
                            <a:srgbClr val="000000"/>
                          </a:solidFill>
                          <a:effectLst/>
                          <a:uLnTx/>
                          <a:uFillTx/>
                          <a:latin typeface="Corbel"/>
                          <a:ea typeface="+mn-ea"/>
                          <a:cs typeface="+mn-cs"/>
                        </a:rPr>
                        <a:t>zorgaanbieders </a:t>
                      </a:r>
                      <a:r>
                        <a:rPr kumimoji="0" lang="nl-NL" sz="1000" b="0" i="0" u="none" strike="noStrike" kern="1200" cap="none" spc="0" normalizeH="0" baseline="0" noProof="0" dirty="0">
                          <a:ln>
                            <a:noFill/>
                          </a:ln>
                          <a:solidFill>
                            <a:srgbClr val="000000"/>
                          </a:solidFill>
                          <a:effectLst/>
                          <a:uLnTx/>
                          <a:uFillTx/>
                          <a:latin typeface="Corbel"/>
                          <a:ea typeface="+mn-ea"/>
                          <a:cs typeface="+mn-cs"/>
                        </a:rPr>
                        <a:t>zijn echter verantwoordelijk voor de vervoersvraag van cliënten </a:t>
                      </a:r>
                      <a:r>
                        <a:rPr kumimoji="0" lang="nl-NL" sz="1000" b="0" i="0" u="none" strike="noStrike" kern="1200" cap="none" spc="0" normalizeH="0" baseline="0" noProof="0">
                          <a:ln>
                            <a:noFill/>
                          </a:ln>
                          <a:solidFill>
                            <a:srgbClr val="000000"/>
                          </a:solidFill>
                          <a:effectLst/>
                          <a:uLnTx/>
                          <a:uFillTx/>
                          <a:latin typeface="Corbel"/>
                          <a:ea typeface="+mn-ea"/>
                          <a:cs typeface="+mn-cs"/>
                        </a:rPr>
                        <a:t>en </a:t>
                      </a:r>
                      <a:r>
                        <a:rPr kumimoji="0" lang="en-NL" sz="1000" b="0" i="0" u="none" strike="noStrike" kern="1200" cap="none" spc="0" normalizeH="0" baseline="0" noProof="0">
                          <a:ln>
                            <a:noFill/>
                          </a:ln>
                          <a:solidFill>
                            <a:srgbClr val="000000"/>
                          </a:solidFill>
                          <a:effectLst/>
                          <a:uLnTx/>
                          <a:uFillTx/>
                          <a:latin typeface="Corbel"/>
                          <a:ea typeface="+mn-ea"/>
                          <a:cs typeface="+mn-cs"/>
                        </a:rPr>
                        <a:t>regelen eventueel vervoer</a:t>
                      </a:r>
                      <a:endParaRPr kumimoji="0" lang="nl-NL" sz="1000" b="0" i="0" u="none" strike="noStrike" kern="1200" cap="none" spc="0" normalizeH="0" baseline="0" noProof="0" dirty="0">
                        <a:ln>
                          <a:noFill/>
                        </a:ln>
                        <a:solidFill>
                          <a:srgbClr val="000000"/>
                        </a:solidFill>
                        <a:effectLst/>
                        <a:uLnTx/>
                        <a:uFillTx/>
                        <a:latin typeface="Corbel"/>
                        <a:ea typeface="+mn-ea"/>
                        <a:cs typeface="+mn-cs"/>
                      </a:endParaRPr>
                    </a:p>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0" i="0" u="none" strike="noStrike" kern="1200" cap="none" spc="0" normalizeH="0" baseline="0" noProof="0">
                          <a:ln>
                            <a:noFill/>
                          </a:ln>
                          <a:solidFill>
                            <a:srgbClr val="000000"/>
                          </a:solidFill>
                          <a:effectLst/>
                          <a:uLnTx/>
                          <a:uFillTx/>
                          <a:latin typeface="Corbel"/>
                          <a:ea typeface="+mn-ea"/>
                          <a:cs typeface="+mn-cs"/>
                        </a:rPr>
                        <a:t>W</a:t>
                      </a:r>
                      <a:r>
                        <a:rPr kumimoji="0" lang="en-NL" sz="1000" b="0" i="0" u="none" strike="noStrike" kern="1200" cap="none" spc="0" normalizeH="0" baseline="0" noProof="0">
                          <a:ln>
                            <a:noFill/>
                          </a:ln>
                          <a:solidFill>
                            <a:srgbClr val="000000"/>
                          </a:solidFill>
                          <a:effectLst/>
                          <a:uLnTx/>
                          <a:uFillTx/>
                          <a:latin typeface="Corbel"/>
                          <a:ea typeface="+mn-ea"/>
                          <a:cs typeface="+mn-cs"/>
                        </a:rPr>
                        <a:t>lz</a:t>
                      </a:r>
                      <a:r>
                        <a:rPr kumimoji="0" lang="nl-NL" sz="1000" b="0" i="0" u="none" strike="noStrike" kern="1200" cap="none" spc="0" normalizeH="0" baseline="0" noProof="0">
                          <a:ln>
                            <a:noFill/>
                          </a:ln>
                          <a:solidFill>
                            <a:srgbClr val="000000"/>
                          </a:solidFill>
                          <a:effectLst/>
                          <a:uLnTx/>
                          <a:uFillTx/>
                          <a:latin typeface="Corbel"/>
                          <a:ea typeface="+mn-ea"/>
                          <a:cs typeface="+mn-cs"/>
                        </a:rPr>
                        <a:t>: </a:t>
                      </a:r>
                      <a:r>
                        <a:rPr kumimoji="0" lang="nl-NL" sz="1000" b="1" i="0" u="none" strike="noStrike" kern="1200" cap="none" spc="0" normalizeH="0" baseline="0" noProof="0">
                          <a:ln>
                            <a:noFill/>
                          </a:ln>
                          <a:solidFill>
                            <a:srgbClr val="000000"/>
                          </a:solidFill>
                          <a:effectLst/>
                          <a:uLnTx/>
                          <a:uFillTx/>
                          <a:latin typeface="Corbel"/>
                          <a:ea typeface="+mn-ea"/>
                          <a:cs typeface="+mn-cs"/>
                        </a:rPr>
                        <a:t>Centrum </a:t>
                      </a:r>
                      <a:r>
                        <a:rPr kumimoji="0" lang="en-NL" sz="1000" b="1" i="0" u="none" strike="noStrike" kern="1200" cap="none" spc="0" normalizeH="0" baseline="0" noProof="0">
                          <a:ln>
                            <a:noFill/>
                          </a:ln>
                          <a:solidFill>
                            <a:srgbClr val="000000"/>
                          </a:solidFill>
                          <a:effectLst/>
                          <a:uLnTx/>
                          <a:uFillTx/>
                          <a:latin typeface="Corbel"/>
                          <a:ea typeface="+mn-ea"/>
                          <a:cs typeface="+mn-cs"/>
                        </a:rPr>
                        <a:t>I</a:t>
                      </a:r>
                      <a:r>
                        <a:rPr kumimoji="0" lang="nl-NL" sz="1000" b="1" i="0" u="none" strike="noStrike" kern="1200" cap="none" spc="0" normalizeH="0" baseline="0" noProof="0">
                          <a:ln>
                            <a:noFill/>
                          </a:ln>
                          <a:solidFill>
                            <a:srgbClr val="000000"/>
                          </a:solidFill>
                          <a:effectLst/>
                          <a:uLnTx/>
                          <a:uFillTx/>
                          <a:latin typeface="Corbel"/>
                          <a:ea typeface="+mn-ea"/>
                          <a:cs typeface="+mn-cs"/>
                        </a:rPr>
                        <a:t>ndicatiestelling </a:t>
                      </a:r>
                      <a:r>
                        <a:rPr kumimoji="0" lang="en-NL" sz="1000" b="1" i="0" u="none" strike="noStrike" kern="1200" cap="none" spc="0" normalizeH="0" baseline="0" noProof="0">
                          <a:ln>
                            <a:noFill/>
                          </a:ln>
                          <a:solidFill>
                            <a:srgbClr val="000000"/>
                          </a:solidFill>
                          <a:effectLst/>
                          <a:uLnTx/>
                          <a:uFillTx/>
                          <a:latin typeface="Corbel"/>
                          <a:ea typeface="+mn-ea"/>
                          <a:cs typeface="+mn-cs"/>
                        </a:rPr>
                        <a:t>Z</a:t>
                      </a:r>
                      <a:r>
                        <a:rPr kumimoji="0" lang="nl-NL" sz="1000" b="1" i="0" u="none" strike="noStrike" kern="1200" cap="none" spc="0" normalizeH="0" baseline="0" noProof="0">
                          <a:ln>
                            <a:noFill/>
                          </a:ln>
                          <a:solidFill>
                            <a:srgbClr val="000000"/>
                          </a:solidFill>
                          <a:effectLst/>
                          <a:uLnTx/>
                          <a:uFillTx/>
                          <a:latin typeface="Corbel"/>
                          <a:ea typeface="+mn-ea"/>
                          <a:cs typeface="+mn-cs"/>
                        </a:rPr>
                        <a:t>org </a:t>
                      </a:r>
                      <a:r>
                        <a:rPr kumimoji="0" lang="en-NL" sz="1000" b="0" i="0" u="none" strike="noStrike" kern="1200" cap="none" spc="0" normalizeH="0" baseline="0" noProof="0">
                          <a:ln>
                            <a:noFill/>
                          </a:ln>
                          <a:solidFill>
                            <a:srgbClr val="000000"/>
                          </a:solidFill>
                          <a:effectLst/>
                          <a:uLnTx/>
                          <a:uFillTx/>
                          <a:latin typeface="Corbel"/>
                          <a:ea typeface="+mn-ea"/>
                          <a:cs typeface="+mn-cs"/>
                        </a:rPr>
                        <a:t>is</a:t>
                      </a:r>
                      <a:r>
                        <a:rPr kumimoji="0" lang="nl-NL" sz="1000" b="0" i="0" u="none" strike="noStrike" kern="1200" cap="none" spc="0" normalizeH="0" baseline="0" noProof="0">
                          <a:ln>
                            <a:noFill/>
                          </a:ln>
                          <a:solidFill>
                            <a:srgbClr val="000000"/>
                          </a:solidFill>
                          <a:effectLst/>
                          <a:uLnTx/>
                          <a:uFillTx/>
                          <a:latin typeface="Corbel"/>
                          <a:ea typeface="+mn-ea"/>
                          <a:cs typeface="+mn-cs"/>
                        </a:rPr>
                        <a:t> verantwoordelijk </a:t>
                      </a:r>
                      <a:r>
                        <a:rPr kumimoji="0" lang="nl-NL" sz="1000" b="0" i="0" u="none" strike="noStrike" kern="1200" cap="none" spc="0" normalizeH="0" baseline="0" noProof="0" dirty="0">
                          <a:ln>
                            <a:noFill/>
                          </a:ln>
                          <a:solidFill>
                            <a:srgbClr val="000000"/>
                          </a:solidFill>
                          <a:effectLst/>
                          <a:uLnTx/>
                          <a:uFillTx/>
                          <a:latin typeface="Corbel"/>
                          <a:ea typeface="+mn-ea"/>
                          <a:cs typeface="+mn-cs"/>
                        </a:rPr>
                        <a:t>en indicatiesteller. </a:t>
                      </a:r>
                      <a:r>
                        <a:rPr kumimoji="0" lang="nl-NL" sz="1000" b="1" i="0" u="none" strike="noStrike" kern="1200" cap="none" spc="0" normalizeH="0" baseline="0" noProof="0" dirty="0">
                          <a:ln>
                            <a:noFill/>
                          </a:ln>
                          <a:solidFill>
                            <a:srgbClr val="000000"/>
                          </a:solidFill>
                          <a:effectLst/>
                          <a:uLnTx/>
                          <a:uFillTx/>
                          <a:latin typeface="Corbel"/>
                          <a:ea typeface="+mn-ea"/>
                          <a:cs typeface="+mn-cs"/>
                        </a:rPr>
                        <a:t>Zorgkantoren </a:t>
                      </a:r>
                      <a:r>
                        <a:rPr kumimoji="0" lang="nl-NL" sz="1000" b="0" i="0" u="none" strike="noStrike" kern="1200" cap="none" spc="0" normalizeH="0" baseline="0" noProof="0">
                          <a:ln>
                            <a:noFill/>
                          </a:ln>
                          <a:solidFill>
                            <a:srgbClr val="000000"/>
                          </a:solidFill>
                          <a:effectLst/>
                          <a:uLnTx/>
                          <a:uFillTx/>
                          <a:latin typeface="Corbel"/>
                          <a:ea typeface="+mn-ea"/>
                          <a:cs typeface="+mn-cs"/>
                        </a:rPr>
                        <a:t>contracteren</a:t>
                      </a:r>
                      <a:r>
                        <a:rPr kumimoji="0" lang="nl-NL" sz="1000" b="1" i="0" u="none" strike="noStrike" kern="1200" cap="none" spc="0" normalizeH="0" baseline="0" noProof="0">
                          <a:ln>
                            <a:noFill/>
                          </a:ln>
                          <a:solidFill>
                            <a:srgbClr val="000000"/>
                          </a:solidFill>
                          <a:effectLst/>
                          <a:uLnTx/>
                          <a:uFillTx/>
                          <a:latin typeface="Corbel"/>
                          <a:ea typeface="+mn-ea"/>
                          <a:cs typeface="+mn-cs"/>
                        </a:rPr>
                        <a:t> aanbieders</a:t>
                      </a:r>
                      <a:r>
                        <a:rPr kumimoji="0" lang="nl-NL" sz="1000" b="0" i="0" u="none" strike="noStrike" kern="1200" cap="none" spc="0" normalizeH="0" baseline="0" noProof="0" dirty="0">
                          <a:ln>
                            <a:noFill/>
                          </a:ln>
                          <a:solidFill>
                            <a:srgbClr val="000000"/>
                          </a:solidFill>
                          <a:effectLst/>
                          <a:uLnTx/>
                          <a:uFillTx/>
                          <a:latin typeface="Corbel"/>
                          <a:ea typeface="+mn-ea"/>
                          <a:cs typeface="+mn-cs"/>
                        </a:rPr>
                        <a:t>, </a:t>
                      </a:r>
                      <a:r>
                        <a:rPr kumimoji="0" lang="nl-NL" sz="1000" b="0" i="0" u="none" strike="noStrike" kern="1200" cap="none" spc="0" normalizeH="0" baseline="0" noProof="0">
                          <a:ln>
                            <a:noFill/>
                          </a:ln>
                          <a:solidFill>
                            <a:srgbClr val="000000"/>
                          </a:solidFill>
                          <a:effectLst/>
                          <a:uLnTx/>
                          <a:uFillTx/>
                          <a:latin typeface="Corbel"/>
                          <a:ea typeface="+mn-ea"/>
                          <a:cs typeface="+mn-cs"/>
                        </a:rPr>
                        <a:t>die </a:t>
                      </a:r>
                      <a:r>
                        <a:rPr kumimoji="0" lang="en-NL" sz="1000" b="0" i="0" u="none" strike="noStrike" kern="1200" cap="none" spc="0" normalizeH="0" baseline="0" noProof="0">
                          <a:ln>
                            <a:noFill/>
                          </a:ln>
                          <a:solidFill>
                            <a:srgbClr val="000000"/>
                          </a:solidFill>
                          <a:effectLst/>
                          <a:uLnTx/>
                          <a:uFillTx/>
                          <a:latin typeface="Corbel"/>
                          <a:ea typeface="+mn-ea"/>
                          <a:cs typeface="+mn-cs"/>
                        </a:rPr>
                        <a:t>evt. </a:t>
                      </a:r>
                      <a:r>
                        <a:rPr kumimoji="0" lang="nl-NL" sz="1000" b="0" i="0" u="none" strike="noStrike" kern="1200" cap="none" spc="0" normalizeH="0" baseline="0" noProof="0">
                          <a:ln>
                            <a:noFill/>
                          </a:ln>
                          <a:solidFill>
                            <a:srgbClr val="000000"/>
                          </a:solidFill>
                          <a:effectLst/>
                          <a:uLnTx/>
                          <a:uFillTx/>
                          <a:latin typeface="Corbel"/>
                          <a:ea typeface="+mn-ea"/>
                          <a:cs typeface="+mn-cs"/>
                        </a:rPr>
                        <a:t>vervoer </a:t>
                      </a:r>
                      <a:r>
                        <a:rPr kumimoji="0" lang="en-NL" sz="1000" b="0" i="0" u="none" strike="noStrike" kern="1200" cap="none" spc="0" normalizeH="0" baseline="0" noProof="0">
                          <a:ln>
                            <a:noFill/>
                          </a:ln>
                          <a:solidFill>
                            <a:srgbClr val="000000"/>
                          </a:solidFill>
                          <a:effectLst/>
                          <a:uLnTx/>
                          <a:uFillTx/>
                          <a:latin typeface="Corbel"/>
                          <a:ea typeface="+mn-ea"/>
                          <a:cs typeface="+mn-cs"/>
                        </a:rPr>
                        <a:t>regelen</a:t>
                      </a:r>
                      <a:endParaRPr kumimoji="0" lang="nl-NL" sz="1000" b="1" i="0" u="none" strike="noStrike" kern="1200" cap="none" spc="0" normalizeH="0" baseline="0" noProof="0" dirty="0">
                        <a:ln>
                          <a:noFill/>
                        </a:ln>
                        <a:solidFill>
                          <a:srgbClr val="000000"/>
                        </a:solidFill>
                        <a:effectLst/>
                        <a:uLnTx/>
                        <a:uFillTx/>
                        <a:latin typeface="Corbel"/>
                        <a:ea typeface="+mn-ea"/>
                        <a:cs typeface="+mn-cs"/>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633238672"/>
                  </a:ext>
                </a:extLst>
              </a:tr>
              <a:tr h="882000">
                <a:tc>
                  <a:txBody>
                    <a:bodyPr/>
                    <a:lstStyle/>
                    <a:p>
                      <a:pPr algn="ctr" rtl="0"/>
                      <a:r>
                        <a:rPr lang="nl-NL" sz="1000" b="1" dirty="0"/>
                        <a:t>Vervoer specialistische jeugdhulp</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algn="ctr" rtl="0"/>
                      <a:r>
                        <a:rPr lang="nl-NL" sz="1000" b="1" dirty="0"/>
                        <a:t>Ja</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algn="l" rtl="0">
                        <a:buClr>
                          <a:schemeClr val="tx2"/>
                        </a:buClr>
                        <a:buFont typeface="Wingdings" panose="05000000000000000000" pitchFamily="2" charset="2"/>
                        <a:buChar char="§"/>
                      </a:pPr>
                      <a:r>
                        <a:rPr lang="nl-NL" sz="1000" b="1" dirty="0"/>
                        <a:t>Jeugdwet</a:t>
                      </a:r>
                      <a:r>
                        <a:rPr lang="nl-NL" sz="1000" b="0" dirty="0"/>
                        <a:t>: jeugdhulpvervoer van / naar dagbesteding of kortdurend verblijf voor jongeren</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1" i="0" u="none" strike="noStrike" kern="1200" cap="none" spc="0" normalizeH="0" baseline="0" noProof="0" dirty="0">
                          <a:ln>
                            <a:noFill/>
                          </a:ln>
                          <a:solidFill>
                            <a:srgbClr val="000000"/>
                          </a:solidFill>
                          <a:effectLst/>
                          <a:uLnTx/>
                          <a:uFillTx/>
                          <a:latin typeface="+mn-lt"/>
                          <a:ea typeface="+mn-ea"/>
                          <a:cs typeface="+mn-cs"/>
                        </a:rPr>
                        <a:t>Gemeenten </a:t>
                      </a:r>
                      <a:r>
                        <a:rPr kumimoji="0" lang="nl-NL" sz="1000" b="0" i="0" u="none" strike="noStrike" kern="1200" cap="none" spc="0" normalizeH="0" baseline="0" noProof="0" dirty="0">
                          <a:ln>
                            <a:noFill/>
                          </a:ln>
                          <a:solidFill>
                            <a:srgbClr val="000000"/>
                          </a:solidFill>
                          <a:effectLst/>
                          <a:uLnTx/>
                          <a:uFillTx/>
                          <a:latin typeface="+mn-lt"/>
                          <a:ea typeface="+mn-ea"/>
                          <a:cs typeface="+mn-cs"/>
                        </a:rPr>
                        <a:t>zijn financier en verantwoordelijke</a:t>
                      </a:r>
                      <a:r>
                        <a:rPr kumimoji="0" lang="en-NL" sz="1000" b="0" i="0" u="none" strike="noStrike" kern="1200" cap="none" spc="0" normalizeH="0" baseline="0" noProof="0" dirty="0">
                          <a:ln>
                            <a:noFill/>
                          </a:ln>
                          <a:solidFill>
                            <a:srgbClr val="000000"/>
                          </a:solidFill>
                          <a:effectLst/>
                          <a:uLnTx/>
                          <a:uFillTx/>
                          <a:latin typeface="+mn-lt"/>
                          <a:ea typeface="+mn-ea"/>
                          <a:cs typeface="+mn-cs"/>
                        </a:rPr>
                        <a:t> (v</a:t>
                      </a:r>
                      <a:r>
                        <a:rPr lang="nl-NL" sz="1000" b="0" i="0" dirty="0"/>
                        <a:t>ervoer vormt onderdeel van zorgproduct en wordt dus niet apart ingekocht of aanbesteed)</a:t>
                      </a:r>
                      <a:endParaRPr kumimoji="0" lang="nl-NL" sz="1000" b="0" i="0" u="none" strike="noStrike" kern="1200" cap="none" spc="0" normalizeH="0" baseline="0" noProof="0" dirty="0">
                        <a:ln>
                          <a:noFill/>
                        </a:ln>
                        <a:solidFill>
                          <a:srgbClr val="000000"/>
                        </a:solidFill>
                        <a:effectLst/>
                        <a:uLnTx/>
                        <a:uFillTx/>
                        <a:latin typeface="+mn-lt"/>
                        <a:ea typeface="+mn-ea"/>
                        <a:cs typeface="+mn-cs"/>
                      </a:endParaRPr>
                    </a:p>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1" i="0" u="none" strike="noStrike" kern="1200" cap="none" spc="0" normalizeH="0" baseline="0" noProof="0" dirty="0">
                          <a:ln>
                            <a:noFill/>
                          </a:ln>
                          <a:solidFill>
                            <a:srgbClr val="000000"/>
                          </a:solidFill>
                          <a:effectLst/>
                          <a:uLnTx/>
                          <a:uFillTx/>
                          <a:latin typeface="+mn-lt"/>
                          <a:ea typeface="+mn-ea"/>
                          <a:cs typeface="+mn-cs"/>
                        </a:rPr>
                        <a:t>Zorgaanbieders </a:t>
                      </a:r>
                      <a:r>
                        <a:rPr kumimoji="0" lang="nl-NL" sz="1000" b="0" i="0" u="none" strike="noStrike" kern="1200" cap="none" spc="0" normalizeH="0" baseline="0" noProof="0" dirty="0">
                          <a:ln>
                            <a:noFill/>
                          </a:ln>
                          <a:solidFill>
                            <a:srgbClr val="000000"/>
                          </a:solidFill>
                          <a:effectLst/>
                          <a:uLnTx/>
                          <a:uFillTx/>
                          <a:latin typeface="+mn-lt"/>
                          <a:ea typeface="+mn-ea"/>
                          <a:cs typeface="+mn-cs"/>
                        </a:rPr>
                        <a:t>zijn indicatiesteller</a:t>
                      </a:r>
                    </a:p>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1" i="0" u="none" strike="noStrike" kern="1200" cap="none" spc="0" normalizeH="0" baseline="0" noProof="0" dirty="0">
                          <a:ln>
                            <a:noFill/>
                          </a:ln>
                          <a:solidFill>
                            <a:srgbClr val="000000"/>
                          </a:solidFill>
                          <a:effectLst/>
                          <a:uLnTx/>
                          <a:uFillTx/>
                          <a:latin typeface="+mn-lt"/>
                          <a:ea typeface="+mn-ea"/>
                          <a:cs typeface="+mn-cs"/>
                        </a:rPr>
                        <a:t>Vervoerders </a:t>
                      </a:r>
                      <a:r>
                        <a:rPr kumimoji="0" lang="nl-NL" sz="1000" b="0" i="0" u="none" strike="noStrike" kern="1200" cap="none" spc="0" normalizeH="0" baseline="0" noProof="0" dirty="0">
                          <a:ln>
                            <a:noFill/>
                          </a:ln>
                          <a:solidFill>
                            <a:srgbClr val="000000"/>
                          </a:solidFill>
                          <a:effectLst/>
                          <a:uLnTx/>
                          <a:uFillTx/>
                          <a:latin typeface="+mn-lt"/>
                          <a:ea typeface="+mn-ea"/>
                          <a:cs typeface="+mn-cs"/>
                        </a:rPr>
                        <a:t>voeren ritten uit</a:t>
                      </a:r>
                      <a:endParaRPr kumimoji="0" lang="nl-NL" sz="1000" b="1" i="0" u="none" strike="noStrike" kern="1200" cap="none" spc="0" normalizeH="0" baseline="0" noProof="0" dirty="0">
                        <a:ln>
                          <a:noFill/>
                        </a:ln>
                        <a:solidFill>
                          <a:srgbClr val="000000"/>
                        </a:solidFill>
                        <a:effectLst/>
                        <a:uLnTx/>
                        <a:uFillTx/>
                        <a:latin typeface="+mn-lt"/>
                        <a:ea typeface="+mn-ea"/>
                        <a:cs typeface="+mn-cs"/>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3363514226"/>
                  </a:ext>
                </a:extLst>
              </a:tr>
            </a:tbl>
          </a:graphicData>
        </a:graphic>
      </p:graphicFrame>
      <p:sp>
        <p:nvSpPr>
          <p:cNvPr id="10" name="Footer Placeholder 8">
            <a:extLst>
              <a:ext uri="{FF2B5EF4-FFF2-40B4-BE49-F238E27FC236}">
                <a16:creationId xmlns:a16="http://schemas.microsoft.com/office/drawing/2014/main" id="{EE266A73-64E3-43DF-B79F-118D9B0946D0}"/>
              </a:ext>
            </a:extLst>
          </p:cNvPr>
          <p:cNvSpPr txBox="1">
            <a:spLocks/>
          </p:cNvSpPr>
          <p:nvPr/>
        </p:nvSpPr>
        <p:spPr>
          <a:xfrm>
            <a:off x="661800" y="6624637"/>
            <a:ext cx="10868400" cy="122400"/>
          </a:xfrm>
          <a:prstGeom prst="rect">
            <a:avLst/>
          </a:prstGeom>
        </p:spPr>
        <p:txBody>
          <a:bodyPr vert="horz" lIns="36000" tIns="36000" rIns="36000" bIns="36000" rtlCol="0" anchor="ctr"/>
          <a:lstStyle>
            <a:defPPr>
              <a:defRPr lang="nl-NL"/>
            </a:defPPr>
            <a:lvl1pPr marL="0" indent="0" algn="l" defTabSz="685800" rtl="0" eaLnBrk="1" latinLnBrk="0" hangingPunct="1">
              <a:lnSpc>
                <a:spcPct val="90000"/>
              </a:lnSpc>
              <a:spcBef>
                <a:spcPts val="375"/>
              </a:spcBef>
              <a:buClr>
                <a:schemeClr val="dk2"/>
              </a:buClr>
              <a:buFont typeface="Wingdings" panose="05000000000000000000" pitchFamily="2" charset="2"/>
              <a:buNone/>
              <a:defRPr sz="800" kern="1200">
                <a:solidFill>
                  <a:srgbClr val="000000"/>
                </a:solidFill>
                <a:latin typeface="+mn-lt"/>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Bron: KiM, ‘Cijfers en prognoses voor het doelgroepenvervoer in Nederland’ (nov. 2016); KpVV CROW, ‘Wat is doelgroepenvervoer?’ (geraadpleegd 23 feb. 2021); Gem. Ams</a:t>
            </a:r>
            <a:r>
              <a:rPr lang="en-NL" dirty="0"/>
              <a:t>t</a:t>
            </a:r>
            <a:r>
              <a:rPr lang="nl-NL" dirty="0"/>
              <a:t>erdam, ‘Eindrapport doelgroepenvervoer’ (2016); Zorg &amp; Sociaal Web</a:t>
            </a:r>
          </a:p>
        </p:txBody>
      </p:sp>
    </p:spTree>
    <p:extLst>
      <p:ext uri="{BB962C8B-B14F-4D97-AF65-F5344CB8AC3E}">
        <p14:creationId xmlns:p14="http://schemas.microsoft.com/office/powerpoint/2010/main" val="21605570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281365A-6DED-472A-870D-82E6D02FE218}"/>
              </a:ext>
            </a:extLst>
          </p:cNvPr>
          <p:cNvGraphicFramePr>
            <a:graphicFrameLocks noChangeAspect="1"/>
          </p:cNvGraphicFramePr>
          <p:nvPr>
            <p:custDataLst>
              <p:tags r:id="rId2"/>
            </p:custDataLst>
            <p:extLst>
              <p:ext uri="{D42A27DB-BD31-4B8C-83A1-F6EECF244321}">
                <p14:modId xmlns:p14="http://schemas.microsoft.com/office/powerpoint/2010/main" val="2798674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0" name="think-cell Slide" r:id="rId6" imgW="425" imgH="424" progId="TCLayout.ActiveDocument.1">
                  <p:embed/>
                </p:oleObj>
              </mc:Choice>
              <mc:Fallback>
                <p:oleObj name="think-cell Slide" r:id="rId6" imgW="425" imgH="424" progId="TCLayout.ActiveDocument.1">
                  <p:embed/>
                  <p:pic>
                    <p:nvPicPr>
                      <p:cNvPr id="9" name="Object 8" hidden="1">
                        <a:extLst>
                          <a:ext uri="{FF2B5EF4-FFF2-40B4-BE49-F238E27FC236}">
                            <a16:creationId xmlns:a16="http://schemas.microsoft.com/office/drawing/2014/main" id="{A281365A-6DED-472A-870D-82E6D02FE21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1C2A298-6DB0-4D5B-87AB-3105CB9A35F9}"/>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a:lnSpc>
                <a:spcPct val="90000"/>
              </a:lnSpc>
              <a:spcBef>
                <a:spcPts val="750"/>
              </a:spcBef>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96F34FFE-912F-4306-9203-455E95F5F9FB}"/>
              </a:ext>
            </a:extLst>
          </p:cNvPr>
          <p:cNvSpPr>
            <a:spLocks noGrp="1"/>
          </p:cNvSpPr>
          <p:nvPr>
            <p:ph type="title"/>
          </p:nvPr>
        </p:nvSpPr>
        <p:spPr/>
        <p:txBody>
          <a:bodyPr vert="horz"/>
          <a:lstStyle/>
          <a:p>
            <a:r>
              <a:rPr lang="en-NL"/>
              <a:t>Overzicht vervoersvoorzieningen – Onderliggende wet/regeling en verantwoordelijke partij </a:t>
            </a:r>
            <a:r>
              <a:rPr lang="nl-NL"/>
              <a:t>(</a:t>
            </a:r>
            <a:r>
              <a:rPr lang="en-NL"/>
              <a:t>2</a:t>
            </a:r>
            <a:r>
              <a:rPr lang="nl-NL"/>
              <a:t>/2)</a:t>
            </a:r>
            <a:endParaRPr lang="nl-NL" dirty="0"/>
          </a:p>
        </p:txBody>
      </p:sp>
      <p:sp>
        <p:nvSpPr>
          <p:cNvPr id="4" name="Slide Number Placeholder 3">
            <a:extLst>
              <a:ext uri="{FF2B5EF4-FFF2-40B4-BE49-F238E27FC236}">
                <a16:creationId xmlns:a16="http://schemas.microsoft.com/office/drawing/2014/main" id="{0022C3CF-A14A-4187-ACE9-22E9CF8A91A4}"/>
              </a:ext>
            </a:extLst>
          </p:cNvPr>
          <p:cNvSpPr>
            <a:spLocks noGrp="1"/>
          </p:cNvSpPr>
          <p:nvPr>
            <p:ph type="sldNum" sz="quarter" idx="12"/>
          </p:nvPr>
        </p:nvSpPr>
        <p:spPr/>
        <p:txBody>
          <a:bodyPr/>
          <a:lstStyle/>
          <a:p>
            <a:fld id="{992CD0B2-8AB2-4C6C-8876-E15753662C9B}" type="slidenum">
              <a:rPr lang="nl-NL" noProof="0" smtClean="0"/>
              <a:pPr/>
              <a:t>31</a:t>
            </a:fld>
            <a:endParaRPr lang="nl-NL" noProof="0" dirty="0"/>
          </a:p>
        </p:txBody>
      </p:sp>
      <p:graphicFrame>
        <p:nvGraphicFramePr>
          <p:cNvPr id="12" name="Table 10">
            <a:extLst>
              <a:ext uri="{FF2B5EF4-FFF2-40B4-BE49-F238E27FC236}">
                <a16:creationId xmlns:a16="http://schemas.microsoft.com/office/drawing/2014/main" id="{569ACA2B-DC39-4960-A4E9-B658C59CCDA9}"/>
              </a:ext>
            </a:extLst>
          </p:cNvPr>
          <p:cNvGraphicFramePr>
            <a:graphicFrameLocks/>
          </p:cNvGraphicFramePr>
          <p:nvPr>
            <p:extLst>
              <p:ext uri="{D42A27DB-BD31-4B8C-83A1-F6EECF244321}">
                <p14:modId xmlns:p14="http://schemas.microsoft.com/office/powerpoint/2010/main" val="573947005"/>
              </p:ext>
            </p:extLst>
          </p:nvPr>
        </p:nvGraphicFramePr>
        <p:xfrm>
          <a:off x="669530" y="1591254"/>
          <a:ext cx="10876594" cy="4734000"/>
        </p:xfrm>
        <a:graphic>
          <a:graphicData uri="http://schemas.openxmlformats.org/drawingml/2006/table">
            <a:tbl>
              <a:tblPr firstRow="1" bandRow="1">
                <a:tableStyleId>{5C22544A-7EE6-4342-B048-85BDC9FD1C3A}</a:tableStyleId>
              </a:tblPr>
              <a:tblGrid>
                <a:gridCol w="1980000">
                  <a:extLst>
                    <a:ext uri="{9D8B030D-6E8A-4147-A177-3AD203B41FA5}">
                      <a16:colId xmlns:a16="http://schemas.microsoft.com/office/drawing/2014/main" val="2168218951"/>
                    </a:ext>
                  </a:extLst>
                </a:gridCol>
                <a:gridCol w="400594">
                  <a:extLst>
                    <a:ext uri="{9D8B030D-6E8A-4147-A177-3AD203B41FA5}">
                      <a16:colId xmlns:a16="http://schemas.microsoft.com/office/drawing/2014/main" val="3699839106"/>
                    </a:ext>
                  </a:extLst>
                </a:gridCol>
                <a:gridCol w="4248000">
                  <a:extLst>
                    <a:ext uri="{9D8B030D-6E8A-4147-A177-3AD203B41FA5}">
                      <a16:colId xmlns:a16="http://schemas.microsoft.com/office/drawing/2014/main" val="2823145105"/>
                    </a:ext>
                  </a:extLst>
                </a:gridCol>
                <a:gridCol w="4248000">
                  <a:extLst>
                    <a:ext uri="{9D8B030D-6E8A-4147-A177-3AD203B41FA5}">
                      <a16:colId xmlns:a16="http://schemas.microsoft.com/office/drawing/2014/main" val="2680170123"/>
                    </a:ext>
                  </a:extLst>
                </a:gridCol>
              </a:tblGrid>
              <a:tr h="324000">
                <a:tc>
                  <a:txBody>
                    <a:bodyPr/>
                    <a:lstStyle/>
                    <a:p>
                      <a:pPr algn="ctr" rtl="0"/>
                      <a:r>
                        <a:rPr lang="nl-NL" sz="1000" dirty="0"/>
                        <a:t>Voorziening</a:t>
                      </a:r>
                    </a:p>
                  </a:txBody>
                  <a:tcPr marL="36000" marR="36000" marT="0" marB="0" anchor="ctr">
                    <a:lnL w="9525" cap="flat" cmpd="sng" algn="ctr">
                      <a:solidFill>
                        <a:schemeClr val="tx2"/>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tc gridSpan="2">
                  <a:txBody>
                    <a:bodyPr/>
                    <a:lstStyle/>
                    <a:p>
                      <a:pPr algn="l" rtl="0"/>
                      <a:r>
                        <a:rPr lang="nl-NL" sz="1000" dirty="0"/>
                        <a:t>Wettelijke verplichting en regeling</a:t>
                      </a:r>
                    </a:p>
                  </a:txBody>
                  <a:tcPr marL="108000" marR="108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endParaRPr lang="nl-NL"/>
                    </a:p>
                  </a:txBody>
                  <a:tcPr/>
                </a:tc>
                <a:tc>
                  <a:txBody>
                    <a:bodyPr/>
                    <a:lstStyle/>
                    <a:p>
                      <a:pPr algn="l" rtl="0"/>
                      <a:r>
                        <a:rPr lang="nl-NL" sz="1000" dirty="0"/>
                        <a:t>Verantwoordelijke partij</a:t>
                      </a:r>
                    </a:p>
                  </a:txBody>
                  <a:tcPr marL="54000" marR="54000" marT="0" marB="0" anchor="ctr">
                    <a:lnL w="9525" cap="flat" cmpd="sng" algn="ctr">
                      <a:solidFill>
                        <a:schemeClr val="bg1"/>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7531575"/>
                  </a:ext>
                </a:extLst>
              </a:tr>
              <a:tr h="882000">
                <a:tc>
                  <a:txBody>
                    <a:bodyPr/>
                    <a:lstStyle/>
                    <a:p>
                      <a:pPr algn="ctr" rtl="0"/>
                      <a:r>
                        <a:rPr lang="nl-NL" sz="1000" b="1" dirty="0"/>
                        <a:t>Zittend ziekenvervoer</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algn="ctr" rtl="0"/>
                      <a:r>
                        <a:rPr lang="nl-NL" sz="1000" b="1" dirty="0"/>
                        <a:t>Ja</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algn="l" rtl="0">
                        <a:buClr>
                          <a:schemeClr val="tx2"/>
                        </a:buClr>
                        <a:buFont typeface="Wingdings" panose="05000000000000000000" pitchFamily="2" charset="2"/>
                        <a:buChar char="§"/>
                      </a:pPr>
                      <a:r>
                        <a:rPr lang="nl-NL" sz="1000" b="1" dirty="0"/>
                        <a:t>Regeling Zittend ziekenvervoer </a:t>
                      </a:r>
                      <a:r>
                        <a:rPr lang="nl-NL" sz="1000" b="0" dirty="0"/>
                        <a:t>regelt vervoer per auto (eigen auto of taxi) of </a:t>
                      </a:r>
                      <a:r>
                        <a:rPr lang="nl-NL" sz="1000" b="0" i="0" dirty="0"/>
                        <a:t>openbaar vervoer naar instellingen of personen bij wie patiënten zorg ontvangen. Let op: regeling voorziet dus niet in doelgroepenvervoer, maar betreft een vergoeding</a:t>
                      </a:r>
                      <a:r>
                        <a:rPr lang="en-NL" sz="1000" b="0" i="0" dirty="0"/>
                        <a:t>.</a:t>
                      </a:r>
                      <a:endParaRPr lang="nl-NL" sz="1000" b="1" i="0" dirty="0"/>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1" i="0" u="none" strike="noStrike" kern="1200" cap="none" spc="0" normalizeH="0" baseline="0" noProof="0" dirty="0">
                          <a:ln>
                            <a:noFill/>
                          </a:ln>
                          <a:solidFill>
                            <a:srgbClr val="000000"/>
                          </a:solidFill>
                          <a:effectLst/>
                          <a:uLnTx/>
                          <a:uFillTx/>
                          <a:latin typeface="+mn-lt"/>
                          <a:ea typeface="+mn-ea"/>
                          <a:cs typeface="+mn-cs"/>
                        </a:rPr>
                        <a:t>Zorgverzekeraars </a:t>
                      </a:r>
                      <a:r>
                        <a:rPr kumimoji="0" lang="nl-NL" sz="1000" b="0" i="0" u="none" strike="noStrike" kern="1200" cap="none" spc="0" normalizeH="0" baseline="0" noProof="0" dirty="0">
                          <a:ln>
                            <a:noFill/>
                          </a:ln>
                          <a:solidFill>
                            <a:srgbClr val="000000"/>
                          </a:solidFill>
                          <a:effectLst/>
                          <a:uLnTx/>
                          <a:uFillTx/>
                          <a:latin typeface="+mn-lt"/>
                          <a:ea typeface="+mn-ea"/>
                          <a:cs typeface="+mn-cs"/>
                        </a:rPr>
                        <a:t>zijn financier en indicatiesteller.</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339549886"/>
                  </a:ext>
                </a:extLst>
              </a:tr>
              <a:tr h="882000">
                <a:tc>
                  <a:txBody>
                    <a:bodyPr/>
                    <a:lstStyle/>
                    <a:p>
                      <a:pPr algn="ctr" rtl="0"/>
                      <a:r>
                        <a:rPr lang="nl-NL" sz="1000" b="1" dirty="0"/>
                        <a:t>Vervoer beschutte en beschermde werkplekken</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indent="0" algn="ctr" rtl="0">
                        <a:buFont typeface="Wingdings" panose="05000000000000000000" pitchFamily="2" charset="2"/>
                        <a:buNone/>
                      </a:pPr>
                      <a:r>
                        <a:rPr lang="nl-NL" sz="1000" b="1" dirty="0"/>
                        <a:t>Nee</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algn="l" defTabSz="685800" rtl="0" eaLnBrk="1" latinLnBrk="0" hangingPunct="1">
                        <a:buClr>
                          <a:schemeClr val="tx2"/>
                        </a:buClr>
                        <a:buFont typeface="Wingdings" panose="05000000000000000000" pitchFamily="2" charset="2"/>
                        <a:buChar char="§"/>
                      </a:pPr>
                      <a:r>
                        <a:rPr lang="nl-NL" sz="1000" b="1" kern="1200" dirty="0">
                          <a:solidFill>
                            <a:schemeClr val="dk1"/>
                          </a:solidFill>
                          <a:latin typeface="+mn-lt"/>
                          <a:ea typeface="+mn-ea"/>
                          <a:cs typeface="+mn-cs"/>
                        </a:rPr>
                        <a:t>Participatiewet </a:t>
                      </a:r>
                      <a:r>
                        <a:rPr lang="nl-NL" sz="1000" b="0" kern="1200" baseline="0" dirty="0">
                          <a:solidFill>
                            <a:schemeClr val="dk1"/>
                          </a:solidFill>
                          <a:latin typeface="+mn-lt"/>
                          <a:ea typeface="+mn-ea"/>
                          <a:cs typeface="+mn-cs"/>
                        </a:rPr>
                        <a:t>verschaft de gemeente instrumenten om werknemers bij beschutte en beschermde werkplekken (incl. ex-cliënten WSW) ondersteuning te bieden in het woon-werkverkeer. De gemeente is daartoe niet verplicht</a:t>
                      </a:r>
                      <a:r>
                        <a:rPr lang="en-NL" sz="1000" b="0" kern="1200" baseline="0" dirty="0">
                          <a:solidFill>
                            <a:schemeClr val="dk1"/>
                          </a:solidFill>
                          <a:latin typeface="+mn-lt"/>
                          <a:ea typeface="+mn-ea"/>
                          <a:cs typeface="+mn-cs"/>
                        </a:rPr>
                        <a:t>.</a:t>
                      </a:r>
                      <a:endParaRPr lang="nl-NL" sz="1000" b="0" kern="1200" dirty="0">
                        <a:solidFill>
                          <a:schemeClr val="dk1"/>
                        </a:solidFill>
                        <a:latin typeface="+mn-lt"/>
                        <a:ea typeface="+mn-ea"/>
                        <a:cs typeface="+mn-cs"/>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mn-lt"/>
                          <a:ea typeface="+mn-ea"/>
                          <a:cs typeface="+mn-cs"/>
                        </a:rPr>
                        <a:t>---</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474327700"/>
                  </a:ext>
                </a:extLst>
              </a:tr>
              <a:tr h="882000">
                <a:tc>
                  <a:txBody>
                    <a:bodyPr/>
                    <a:lstStyle/>
                    <a:p>
                      <a:pPr algn="ctr" rtl="0"/>
                      <a:r>
                        <a:rPr lang="nl-NL" sz="1000" b="1" dirty="0"/>
                        <a:t>Vervoer werkplek of  beroepsgerichte opleidingen</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indent="0" algn="ctr" rtl="0">
                        <a:buFont typeface="Wingdings" panose="05000000000000000000" pitchFamily="2" charset="2"/>
                        <a:buNone/>
                      </a:pPr>
                      <a:r>
                        <a:rPr lang="nl-NL" sz="1000" b="1" dirty="0"/>
                        <a:t>Ja</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algn="l" defTabSz="685800" rtl="0" eaLnBrk="1" latinLnBrk="0" hangingPunct="1">
                        <a:buClr>
                          <a:schemeClr val="tx2"/>
                        </a:buClr>
                        <a:buFont typeface="Wingdings" panose="05000000000000000000" pitchFamily="2" charset="2"/>
                        <a:buChar char="§"/>
                      </a:pPr>
                      <a:r>
                        <a:rPr lang="nl-NL" sz="1000" b="0" kern="1200" dirty="0">
                          <a:solidFill>
                            <a:schemeClr val="dk1"/>
                          </a:solidFill>
                          <a:latin typeface="+mn-lt"/>
                          <a:ea typeface="+mn-ea"/>
                          <a:cs typeface="+mn-cs"/>
                        </a:rPr>
                        <a:t>Vervoersvoorzieningen (betreft vergoedingen voor aanpassing auto, bruikleenauto; vergoeding taxivervoer, vergoeding gebruik eigen auto) worden verstrekt in </a:t>
                      </a:r>
                      <a:r>
                        <a:rPr lang="nl-NL" sz="1000" b="0" i="0" kern="1200" dirty="0">
                          <a:solidFill>
                            <a:schemeClr val="dk1"/>
                          </a:solidFill>
                          <a:latin typeface="+mn-lt"/>
                          <a:ea typeface="+mn-ea"/>
                          <a:cs typeface="+mn-cs"/>
                        </a:rPr>
                        <a:t>het kader van </a:t>
                      </a:r>
                      <a:r>
                        <a:rPr lang="nl-NL" sz="1000" b="1" i="0" kern="1200" dirty="0">
                          <a:solidFill>
                            <a:schemeClr val="dk1"/>
                          </a:solidFill>
                          <a:latin typeface="+mn-lt"/>
                          <a:ea typeface="+mn-ea"/>
                          <a:cs typeface="+mn-cs"/>
                        </a:rPr>
                        <a:t>Wajong</a:t>
                      </a:r>
                      <a:r>
                        <a:rPr lang="nl-NL" sz="1000" b="0" i="0" kern="1200" dirty="0">
                          <a:solidFill>
                            <a:schemeClr val="dk1"/>
                          </a:solidFill>
                          <a:latin typeface="+mn-lt"/>
                          <a:ea typeface="+mn-ea"/>
                          <a:cs typeface="+mn-cs"/>
                        </a:rPr>
                        <a:t>, </a:t>
                      </a:r>
                      <a:r>
                        <a:rPr lang="nl-NL" sz="1000" b="1" i="0" kern="1200" dirty="0">
                          <a:solidFill>
                            <a:schemeClr val="dk1"/>
                          </a:solidFill>
                          <a:latin typeface="+mn-lt"/>
                          <a:ea typeface="+mn-ea"/>
                          <a:cs typeface="+mn-cs"/>
                        </a:rPr>
                        <a:t>WIA</a:t>
                      </a:r>
                      <a:r>
                        <a:rPr lang="nl-NL" sz="1000" b="0" i="0" kern="1200" dirty="0">
                          <a:solidFill>
                            <a:schemeClr val="dk1"/>
                          </a:solidFill>
                          <a:latin typeface="+mn-lt"/>
                          <a:ea typeface="+mn-ea"/>
                          <a:cs typeface="+mn-cs"/>
                        </a:rPr>
                        <a:t>, </a:t>
                      </a:r>
                      <a:r>
                        <a:rPr lang="nl-NL" sz="1000" b="1" i="0" kern="1200" dirty="0">
                          <a:solidFill>
                            <a:schemeClr val="dk1"/>
                          </a:solidFill>
                          <a:latin typeface="+mn-lt"/>
                          <a:ea typeface="+mn-ea"/>
                          <a:cs typeface="+mn-cs"/>
                        </a:rPr>
                        <a:t>WAO</a:t>
                      </a:r>
                      <a:r>
                        <a:rPr lang="nl-NL" sz="1000" b="0" i="0" kern="1200" dirty="0">
                          <a:solidFill>
                            <a:schemeClr val="dk1"/>
                          </a:solidFill>
                          <a:latin typeface="+mn-lt"/>
                          <a:ea typeface="+mn-ea"/>
                          <a:cs typeface="+mn-cs"/>
                        </a:rPr>
                        <a:t>, </a:t>
                      </a:r>
                      <a:r>
                        <a:rPr lang="nl-NL" sz="1000" b="1" i="0" kern="1200" dirty="0">
                          <a:solidFill>
                            <a:schemeClr val="dk1"/>
                          </a:solidFill>
                          <a:latin typeface="+mn-lt"/>
                          <a:ea typeface="+mn-ea"/>
                          <a:cs typeface="+mn-cs"/>
                        </a:rPr>
                        <a:t>WAZ</a:t>
                      </a:r>
                      <a:r>
                        <a:rPr lang="nl-NL" sz="1000" b="0" i="0" kern="1200" dirty="0">
                          <a:solidFill>
                            <a:schemeClr val="dk1"/>
                          </a:solidFill>
                          <a:latin typeface="+mn-lt"/>
                          <a:ea typeface="+mn-ea"/>
                          <a:cs typeface="+mn-cs"/>
                        </a:rPr>
                        <a:t> of </a:t>
                      </a:r>
                      <a:r>
                        <a:rPr lang="nl-NL" sz="1000" b="1" i="0" kern="1200" dirty="0">
                          <a:solidFill>
                            <a:schemeClr val="dk1"/>
                          </a:solidFill>
                          <a:latin typeface="+mn-lt"/>
                          <a:ea typeface="+mn-ea"/>
                          <a:cs typeface="+mn-cs"/>
                        </a:rPr>
                        <a:t>WOOS</a:t>
                      </a:r>
                      <a:r>
                        <a:rPr lang="nl-NL" sz="1000" b="0" i="0" kern="1200" dirty="0">
                          <a:solidFill>
                            <a:schemeClr val="dk1"/>
                          </a:solidFill>
                          <a:latin typeface="+mn-lt"/>
                          <a:ea typeface="+mn-ea"/>
                          <a:cs typeface="+mn-cs"/>
                        </a:rPr>
                        <a:t>. Let op: regeling betreft vergoeding en voorziet dus niet in doelgroepenvervoer, maar betreft een vergoeding</a:t>
                      </a:r>
                      <a:endParaRPr lang="nl-NL" sz="1000" b="1" i="0" kern="1200" dirty="0">
                        <a:solidFill>
                          <a:schemeClr val="dk1"/>
                        </a:solidFill>
                        <a:latin typeface="+mn-lt"/>
                        <a:ea typeface="+mn-ea"/>
                        <a:cs typeface="+mn-cs"/>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1" i="0" u="none" strike="noStrike" kern="1200" cap="none" spc="0" normalizeH="0" baseline="0" noProof="0" dirty="0">
                          <a:ln>
                            <a:noFill/>
                          </a:ln>
                          <a:solidFill>
                            <a:srgbClr val="000000"/>
                          </a:solidFill>
                          <a:effectLst/>
                          <a:uLnTx/>
                          <a:uFillTx/>
                          <a:latin typeface="+mn-lt"/>
                          <a:ea typeface="+mn-ea"/>
                          <a:cs typeface="+mn-cs"/>
                        </a:rPr>
                        <a:t>Ministerie van VWS </a:t>
                      </a:r>
                      <a:r>
                        <a:rPr kumimoji="0" lang="nl-NL" sz="1000" b="0" i="0" u="none" strike="noStrike" kern="1200" cap="none" spc="0" normalizeH="0" baseline="0" noProof="0" dirty="0">
                          <a:ln>
                            <a:noFill/>
                          </a:ln>
                          <a:solidFill>
                            <a:srgbClr val="000000"/>
                          </a:solidFill>
                          <a:effectLst/>
                          <a:uLnTx/>
                          <a:uFillTx/>
                          <a:latin typeface="+mn-lt"/>
                          <a:ea typeface="+mn-ea"/>
                          <a:cs typeface="+mn-cs"/>
                        </a:rPr>
                        <a:t>is financier</a:t>
                      </a:r>
                    </a:p>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1" i="0" u="none" strike="noStrike" kern="1200" cap="none" spc="0" normalizeH="0" baseline="0" noProof="0" dirty="0">
                          <a:ln>
                            <a:noFill/>
                          </a:ln>
                          <a:solidFill>
                            <a:srgbClr val="000000"/>
                          </a:solidFill>
                          <a:effectLst/>
                          <a:uLnTx/>
                          <a:uFillTx/>
                          <a:latin typeface="+mn-lt"/>
                          <a:ea typeface="+mn-ea"/>
                          <a:cs typeface="+mn-cs"/>
                        </a:rPr>
                        <a:t>UWV </a:t>
                      </a:r>
                      <a:r>
                        <a:rPr kumimoji="0" lang="nl-NL" sz="1000" b="0" i="0" u="none" strike="noStrike" kern="1200" cap="none" spc="0" normalizeH="0" baseline="0" noProof="0" dirty="0">
                          <a:ln>
                            <a:noFill/>
                          </a:ln>
                          <a:solidFill>
                            <a:srgbClr val="000000"/>
                          </a:solidFill>
                          <a:effectLst/>
                          <a:uLnTx/>
                          <a:uFillTx/>
                          <a:latin typeface="+mn-lt"/>
                          <a:ea typeface="+mn-ea"/>
                          <a:cs typeface="+mn-cs"/>
                        </a:rPr>
                        <a:t>is beleidsmatig verantwoordelijk en indicatiesteller</a:t>
                      </a:r>
                      <a:endParaRPr kumimoji="0" lang="nl-NL" sz="1000" b="1" i="0" u="none" strike="noStrike" kern="1200" cap="none" spc="0" normalizeH="0" baseline="0" noProof="0" dirty="0">
                        <a:ln>
                          <a:noFill/>
                        </a:ln>
                        <a:solidFill>
                          <a:srgbClr val="000000"/>
                        </a:solidFill>
                        <a:effectLst/>
                        <a:uLnTx/>
                        <a:uFillTx/>
                        <a:latin typeface="+mn-lt"/>
                        <a:ea typeface="+mn-ea"/>
                        <a:cs typeface="+mn-cs"/>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633238672"/>
                  </a:ext>
                </a:extLst>
              </a:tr>
              <a:tr h="882000">
                <a:tc>
                  <a:txBody>
                    <a:bodyPr/>
                    <a:lstStyle/>
                    <a:p>
                      <a:pPr algn="ctr" rtl="0"/>
                      <a:r>
                        <a:rPr lang="nl-NL" sz="1000" b="1" dirty="0"/>
                        <a:t>Overige vervoer</a:t>
                      </a:r>
                      <a:br>
                        <a:rPr lang="nl-NL" sz="1000" b="1" dirty="0"/>
                      </a:br>
                      <a:endParaRPr lang="nl-NL" sz="1000" b="1" dirty="0"/>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algn="ctr" rtl="0"/>
                      <a:r>
                        <a:rPr lang="nl-NL" sz="1000" b="1" dirty="0"/>
                        <a:t>Nee</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nl-NL" sz="1000" b="0" dirty="0"/>
                        <a:t>Deze regelingen zijn </a:t>
                      </a:r>
                      <a:r>
                        <a:rPr lang="nl-NL" sz="1000" b="1" dirty="0"/>
                        <a:t>bovenwettelijke voorzieningen </a:t>
                      </a:r>
                      <a:r>
                        <a:rPr lang="nl-NL" sz="1000" b="0" dirty="0"/>
                        <a:t>waar</a:t>
                      </a:r>
                      <a:r>
                        <a:rPr lang="nl-NL" sz="1000" dirty="0"/>
                        <a:t> gemeenten ervoor kiezen om voor bepaalde groepen bij specifieke gelegenheden vervoer te regelen, bijv. vervoer van schoolklassen naar culturele instellingen, schoolzwemmen, schooltuinen</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algn="ctr" rtl="0"/>
                      <a:r>
                        <a:rPr lang="nl-NL" sz="1000" dirty="0"/>
                        <a:t>---</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3363514226"/>
                  </a:ext>
                </a:extLst>
              </a:tr>
              <a:tr h="882000">
                <a:tc>
                  <a:txBody>
                    <a:bodyPr/>
                    <a:lstStyle/>
                    <a:p>
                      <a:pPr algn="ctr" rtl="0"/>
                      <a:r>
                        <a:rPr lang="nl-NL" sz="1000" b="1" dirty="0"/>
                        <a:t>Bovenregionaal vervoer</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000000"/>
                          </a:solidFill>
                          <a:effectLst/>
                          <a:uLnTx/>
                          <a:uFillTx/>
                          <a:latin typeface="Corbel"/>
                          <a:ea typeface="+mn-ea"/>
                          <a:cs typeface="+mn-cs"/>
                        </a:rPr>
                        <a:t>?</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0" i="1" u="none" strike="noStrike" kern="1200" cap="none" spc="0" normalizeH="0" baseline="0" noProof="0" dirty="0">
                          <a:ln>
                            <a:noFill/>
                          </a:ln>
                          <a:solidFill>
                            <a:srgbClr val="000000"/>
                          </a:solidFill>
                          <a:effectLst/>
                          <a:uLnTx/>
                          <a:uFillTx/>
                          <a:latin typeface="Corbel"/>
                          <a:ea typeface="+mn-ea"/>
                          <a:cs typeface="+mn-cs"/>
                        </a:rPr>
                        <a:t>Niet bekend</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1" i="0" u="none" strike="noStrike" kern="1200" cap="none" spc="0" normalizeH="0" baseline="0" noProof="0" dirty="0">
                          <a:ln>
                            <a:noFill/>
                          </a:ln>
                          <a:solidFill>
                            <a:srgbClr val="000000"/>
                          </a:solidFill>
                          <a:effectLst/>
                          <a:uLnTx/>
                          <a:uFillTx/>
                          <a:latin typeface="Corbel"/>
                          <a:ea typeface="+mn-ea"/>
                          <a:cs typeface="+mn-cs"/>
                        </a:rPr>
                        <a:t>Ministerie van VWS </a:t>
                      </a:r>
                      <a:r>
                        <a:rPr kumimoji="0" lang="nl-NL" sz="1000" b="0" i="0" u="none" strike="noStrike" kern="1200" cap="none" spc="0" normalizeH="0" baseline="0" noProof="0" dirty="0">
                          <a:ln>
                            <a:noFill/>
                          </a:ln>
                          <a:solidFill>
                            <a:srgbClr val="000000"/>
                          </a:solidFill>
                          <a:effectLst/>
                          <a:uLnTx/>
                          <a:uFillTx/>
                          <a:latin typeface="Corbel"/>
                          <a:ea typeface="+mn-ea"/>
                          <a:cs typeface="+mn-cs"/>
                        </a:rPr>
                        <a:t>is financier en verantwoordelijke</a:t>
                      </a:r>
                    </a:p>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1" i="0" u="none" strike="noStrike" kern="1200" cap="none" spc="0" normalizeH="0" baseline="0" noProof="0" dirty="0">
                          <a:ln>
                            <a:noFill/>
                          </a:ln>
                          <a:solidFill>
                            <a:srgbClr val="000000"/>
                          </a:solidFill>
                          <a:effectLst/>
                          <a:uLnTx/>
                          <a:uFillTx/>
                          <a:latin typeface="Corbel"/>
                          <a:ea typeface="+mn-ea"/>
                          <a:cs typeface="+mn-cs"/>
                        </a:rPr>
                        <a:t>Gemeenten </a:t>
                      </a:r>
                      <a:r>
                        <a:rPr kumimoji="0" lang="nl-NL" sz="1000" b="0" i="0" u="none" strike="noStrike" kern="1200" cap="none" spc="0" normalizeH="0" baseline="0" noProof="0" dirty="0">
                          <a:ln>
                            <a:noFill/>
                          </a:ln>
                          <a:solidFill>
                            <a:srgbClr val="000000"/>
                          </a:solidFill>
                          <a:effectLst/>
                          <a:uLnTx/>
                          <a:uFillTx/>
                          <a:latin typeface="Corbel"/>
                          <a:ea typeface="+mn-ea"/>
                          <a:cs typeface="+mn-cs"/>
                        </a:rPr>
                        <a:t>zijn indicatiesteller: ieder</a:t>
                      </a:r>
                      <a:r>
                        <a:rPr kumimoji="0" lang="en-NL" sz="1000" b="0" i="0" u="none" strike="noStrike" kern="1200" cap="none" spc="0" normalizeH="0" baseline="0" noProof="0" dirty="0" err="1">
                          <a:ln>
                            <a:noFill/>
                          </a:ln>
                          <a:solidFill>
                            <a:srgbClr val="000000"/>
                          </a:solidFill>
                          <a:effectLst/>
                          <a:uLnTx/>
                          <a:uFillTx/>
                          <a:latin typeface="Corbel"/>
                          <a:ea typeface="+mn-ea"/>
                          <a:cs typeface="+mn-cs"/>
                        </a:rPr>
                        <a:t>een</a:t>
                      </a:r>
                      <a:r>
                        <a:rPr kumimoji="0" lang="nl-NL" sz="1000" b="0" i="0" u="none" strike="noStrike" kern="1200" cap="none" spc="0" normalizeH="0" baseline="0" noProof="0" dirty="0">
                          <a:ln>
                            <a:noFill/>
                          </a:ln>
                          <a:solidFill>
                            <a:srgbClr val="000000"/>
                          </a:solidFill>
                          <a:effectLst/>
                          <a:uLnTx/>
                          <a:uFillTx/>
                          <a:latin typeface="Corbel"/>
                          <a:ea typeface="+mn-ea"/>
                          <a:cs typeface="+mn-cs"/>
                        </a:rPr>
                        <a:t> met Wmo-pas kan met Valys</a:t>
                      </a:r>
                      <a:endParaRPr kumimoji="0" lang="nl-NL" sz="1000" b="1" i="0" u="none" strike="noStrike" kern="1200" cap="none" spc="0" normalizeH="0" baseline="0" noProof="0" dirty="0">
                        <a:ln>
                          <a:noFill/>
                        </a:ln>
                        <a:solidFill>
                          <a:srgbClr val="000000"/>
                        </a:solidFill>
                        <a:effectLst/>
                        <a:uLnTx/>
                        <a:uFillTx/>
                        <a:latin typeface="Corbel"/>
                        <a:ea typeface="+mn-ea"/>
                        <a:cs typeface="+mn-cs"/>
                      </a:endParaRPr>
                    </a:p>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000" b="1" i="0" u="none" strike="noStrike" kern="1200" cap="none" spc="0" normalizeH="0" baseline="0" noProof="0" dirty="0">
                          <a:ln>
                            <a:noFill/>
                          </a:ln>
                          <a:solidFill>
                            <a:srgbClr val="000000"/>
                          </a:solidFill>
                          <a:effectLst/>
                          <a:uLnTx/>
                          <a:uFillTx/>
                          <a:latin typeface="Corbel"/>
                          <a:ea typeface="+mn-ea"/>
                          <a:cs typeface="+mn-cs"/>
                        </a:rPr>
                        <a:t>Vervoerder </a:t>
                      </a:r>
                      <a:r>
                        <a:rPr kumimoji="0" lang="nl-NL" sz="1000" b="0" i="0" u="none" strike="noStrike" kern="1200" cap="none" spc="0" normalizeH="0" baseline="0" noProof="0" dirty="0">
                          <a:ln>
                            <a:noFill/>
                          </a:ln>
                          <a:solidFill>
                            <a:srgbClr val="000000"/>
                          </a:solidFill>
                          <a:effectLst/>
                          <a:uLnTx/>
                          <a:uFillTx/>
                          <a:latin typeface="Corbel"/>
                          <a:ea typeface="+mn-ea"/>
                          <a:cs typeface="+mn-cs"/>
                        </a:rPr>
                        <a:t>(momenteel Transvision) voer</a:t>
                      </a:r>
                      <a:r>
                        <a:rPr kumimoji="0" lang="en-NL" sz="1000" b="0" i="0" u="none" strike="noStrike" kern="1200" cap="none" spc="0" normalizeH="0" baseline="0" noProof="0" dirty="0">
                          <a:ln>
                            <a:noFill/>
                          </a:ln>
                          <a:solidFill>
                            <a:srgbClr val="000000"/>
                          </a:solidFill>
                          <a:effectLst/>
                          <a:uLnTx/>
                          <a:uFillTx/>
                          <a:latin typeface="Corbel"/>
                          <a:ea typeface="+mn-ea"/>
                          <a:cs typeface="+mn-cs"/>
                        </a:rPr>
                        <a:t>t</a:t>
                      </a:r>
                      <a:r>
                        <a:rPr kumimoji="0" lang="nl-NL" sz="1000" b="0" i="0" u="none" strike="noStrike" kern="1200" cap="none" spc="0" normalizeH="0" baseline="0" noProof="0" dirty="0">
                          <a:ln>
                            <a:noFill/>
                          </a:ln>
                          <a:solidFill>
                            <a:srgbClr val="000000"/>
                          </a:solidFill>
                          <a:effectLst/>
                          <a:uLnTx/>
                          <a:uFillTx/>
                          <a:latin typeface="Corbel"/>
                          <a:ea typeface="+mn-ea"/>
                          <a:cs typeface="+mn-cs"/>
                        </a:rPr>
                        <a:t> de ritten uit</a:t>
                      </a:r>
                      <a:endParaRPr kumimoji="0" lang="nl-NL" sz="1000" b="1" i="0" u="none" strike="noStrike" kern="1200" cap="none" spc="0" normalizeH="0" baseline="0" noProof="0" dirty="0">
                        <a:ln>
                          <a:noFill/>
                        </a:ln>
                        <a:solidFill>
                          <a:srgbClr val="000000"/>
                        </a:solidFill>
                        <a:effectLst/>
                        <a:uLnTx/>
                        <a:uFillTx/>
                        <a:latin typeface="Corbel"/>
                        <a:ea typeface="+mn-ea"/>
                        <a:cs typeface="+mn-cs"/>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4035541608"/>
                  </a:ext>
                </a:extLst>
              </a:tr>
            </a:tbl>
          </a:graphicData>
        </a:graphic>
      </p:graphicFrame>
      <p:sp>
        <p:nvSpPr>
          <p:cNvPr id="10" name="Footer Placeholder 8">
            <a:extLst>
              <a:ext uri="{FF2B5EF4-FFF2-40B4-BE49-F238E27FC236}">
                <a16:creationId xmlns:a16="http://schemas.microsoft.com/office/drawing/2014/main" id="{DF8412D2-500B-4700-9304-5660690328CA}"/>
              </a:ext>
            </a:extLst>
          </p:cNvPr>
          <p:cNvSpPr txBox="1">
            <a:spLocks/>
          </p:cNvSpPr>
          <p:nvPr/>
        </p:nvSpPr>
        <p:spPr>
          <a:xfrm>
            <a:off x="661800" y="6624637"/>
            <a:ext cx="10868400" cy="122400"/>
          </a:xfrm>
          <a:prstGeom prst="rect">
            <a:avLst/>
          </a:prstGeom>
        </p:spPr>
        <p:txBody>
          <a:bodyPr vert="horz" lIns="36000" tIns="36000" rIns="36000" bIns="36000" rtlCol="0" anchor="ctr"/>
          <a:lstStyle>
            <a:defPPr>
              <a:defRPr lang="nl-NL"/>
            </a:defPPr>
            <a:lvl1pPr marL="0" indent="0" algn="l" defTabSz="685800" rtl="0" eaLnBrk="1" latinLnBrk="0" hangingPunct="1">
              <a:lnSpc>
                <a:spcPct val="90000"/>
              </a:lnSpc>
              <a:spcBef>
                <a:spcPts val="375"/>
              </a:spcBef>
              <a:buClr>
                <a:schemeClr val="dk2"/>
              </a:buClr>
              <a:buFont typeface="Wingdings" panose="05000000000000000000" pitchFamily="2" charset="2"/>
              <a:buNone/>
              <a:defRPr sz="800" kern="1200">
                <a:solidFill>
                  <a:srgbClr val="000000"/>
                </a:solidFill>
                <a:latin typeface="+mn-lt"/>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Bron: KiM, ‘Cijfers en prognoses voor het doelgroepenvervoer in Nederland’ (nov. 2016); KpVV CROW, ‘Wat is doelgroepenvervoer?’ (geraadpleegd 23 feb. 2021); Gem. Ams</a:t>
            </a:r>
            <a:r>
              <a:rPr lang="en-NL" dirty="0"/>
              <a:t>t</a:t>
            </a:r>
            <a:r>
              <a:rPr lang="nl-NL" dirty="0"/>
              <a:t>erdam, ‘Eindrapport doelgroepenvervoer’ (2016); Zorg &amp; Sociaal Web</a:t>
            </a:r>
          </a:p>
        </p:txBody>
      </p:sp>
    </p:spTree>
    <p:extLst>
      <p:ext uri="{BB962C8B-B14F-4D97-AF65-F5344CB8AC3E}">
        <p14:creationId xmlns:p14="http://schemas.microsoft.com/office/powerpoint/2010/main" val="8706506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6F86209-261D-4218-998F-787C5221F6D2}"/>
              </a:ext>
            </a:extLst>
          </p:cNvPr>
          <p:cNvGraphicFramePr>
            <a:graphicFrameLocks noChangeAspect="1"/>
          </p:cNvGraphicFramePr>
          <p:nvPr>
            <p:custDataLst>
              <p:tags r:id="rId2"/>
            </p:custDataLst>
            <p:extLst>
              <p:ext uri="{D42A27DB-BD31-4B8C-83A1-F6EECF244321}">
                <p14:modId xmlns:p14="http://schemas.microsoft.com/office/powerpoint/2010/main" val="1102609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4" name="think-cell Slide" r:id="rId66" imgW="425" imgH="426" progId="TCLayout.ActiveDocument.1">
                  <p:embed/>
                </p:oleObj>
              </mc:Choice>
              <mc:Fallback>
                <p:oleObj name="think-cell Slide" r:id="rId66" imgW="425" imgH="426" progId="TCLayout.ActiveDocument.1">
                  <p:embed/>
                  <p:pic>
                    <p:nvPicPr>
                      <p:cNvPr id="6" name="Object 5" hidden="1">
                        <a:extLst>
                          <a:ext uri="{FF2B5EF4-FFF2-40B4-BE49-F238E27FC236}">
                            <a16:creationId xmlns:a16="http://schemas.microsoft.com/office/drawing/2014/main" id="{66F86209-261D-4218-998F-787C5221F6D2}"/>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F14BE78-227A-4E71-8F2A-9688DE1423C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2800" b="1" dirty="0">
              <a:latin typeface="Corbel" panose="020B0503020204020204" pitchFamily="34" charset="0"/>
              <a:ea typeface="+mj-ea"/>
              <a:cs typeface="+mj-cs"/>
              <a:sym typeface="Corbel" panose="020B0503020204020204" pitchFamily="34" charset="0"/>
            </a:endParaRPr>
          </a:p>
        </p:txBody>
      </p:sp>
      <p:sp>
        <p:nvSpPr>
          <p:cNvPr id="2" name="Slide Number Placeholder 1">
            <a:extLst>
              <a:ext uri="{FF2B5EF4-FFF2-40B4-BE49-F238E27FC236}">
                <a16:creationId xmlns:a16="http://schemas.microsoft.com/office/drawing/2014/main" id="{48285A6D-A520-4AD5-8D4A-E59816B133F9}"/>
              </a:ext>
            </a:extLst>
          </p:cNvPr>
          <p:cNvSpPr>
            <a:spLocks noGrp="1"/>
          </p:cNvSpPr>
          <p:nvPr>
            <p:ph type="sldNum" sz="quarter" idx="12"/>
          </p:nvPr>
        </p:nvSpPr>
        <p:spPr/>
        <p:txBody>
          <a:bodyPr/>
          <a:lstStyle/>
          <a:p>
            <a:pPr marL="0" lvl="0" indent="0" algn="r">
              <a:spcBef>
                <a:spcPts val="0"/>
              </a:spcBef>
              <a:spcAft>
                <a:spcPts val="0"/>
              </a:spcAft>
              <a:buNone/>
            </a:pPr>
            <a:fld id="{00000000-1234-1234-1234-123412341234}" type="slidenum">
              <a:rPr lang="nl-NL" smtClean="0"/>
              <a:pPr marL="0" lvl="0" indent="0" algn="r">
                <a:spcBef>
                  <a:spcPts val="0"/>
                </a:spcBef>
                <a:spcAft>
                  <a:spcPts val="0"/>
                </a:spcAft>
                <a:buNone/>
              </a:pPr>
              <a:t>32</a:t>
            </a:fld>
            <a:endParaRPr lang="nl-NL" dirty="0"/>
          </a:p>
        </p:txBody>
      </p:sp>
      <p:sp>
        <p:nvSpPr>
          <p:cNvPr id="46" name="Text Placeholder 45">
            <a:extLst>
              <a:ext uri="{FF2B5EF4-FFF2-40B4-BE49-F238E27FC236}">
                <a16:creationId xmlns:a16="http://schemas.microsoft.com/office/drawing/2014/main" id="{0E647247-10D4-4047-9F72-1C1241207FE3}"/>
              </a:ext>
            </a:extLst>
          </p:cNvPr>
          <p:cNvSpPr>
            <a:spLocks noGrp="1"/>
          </p:cNvSpPr>
          <p:nvPr>
            <p:ph type="body" sz="quarter" idx="14"/>
          </p:nvPr>
        </p:nvSpPr>
        <p:spPr/>
        <p:txBody>
          <a:bodyPr/>
          <a:lstStyle/>
          <a:p>
            <a:r>
              <a:rPr lang="nl-NL" dirty="0"/>
              <a:t>Prognose collectief Wmo-vervoer voor een (middel)grote gemeente in detail</a:t>
            </a:r>
          </a:p>
        </p:txBody>
      </p:sp>
      <p:sp>
        <p:nvSpPr>
          <p:cNvPr id="5" name="Title 4">
            <a:extLst>
              <a:ext uri="{FF2B5EF4-FFF2-40B4-BE49-F238E27FC236}">
                <a16:creationId xmlns:a16="http://schemas.microsoft.com/office/drawing/2014/main" id="{7BF6065E-02C3-4664-9541-799AA810ED5F}"/>
              </a:ext>
            </a:extLst>
          </p:cNvPr>
          <p:cNvSpPr>
            <a:spLocks noGrp="1"/>
          </p:cNvSpPr>
          <p:nvPr>
            <p:ph type="title"/>
          </p:nvPr>
        </p:nvSpPr>
        <p:spPr/>
        <p:txBody>
          <a:bodyPr vert="horz"/>
          <a:lstStyle/>
          <a:p>
            <a:r>
              <a:rPr lang="nl-NL" dirty="0"/>
              <a:t>Kosten voor Wmo-vervoer stijgen naar verwachting met 75% door groei van doelgroepen (vergrijzing) en gebruik (langer thuiswonen)</a:t>
            </a:r>
          </a:p>
        </p:txBody>
      </p:sp>
      <p:sp>
        <p:nvSpPr>
          <p:cNvPr id="8" name="Rectangle 7">
            <a:extLst>
              <a:ext uri="{FF2B5EF4-FFF2-40B4-BE49-F238E27FC236}">
                <a16:creationId xmlns:a16="http://schemas.microsoft.com/office/drawing/2014/main" id="{284B59FE-62F1-4FA7-82EF-9CE037DE92DE}"/>
              </a:ext>
            </a:extLst>
          </p:cNvPr>
          <p:cNvSpPr/>
          <p:nvPr/>
        </p:nvSpPr>
        <p:spPr>
          <a:xfrm>
            <a:off x="676078" y="1890713"/>
            <a:ext cx="10857109" cy="647700"/>
          </a:xfrm>
          <a:prstGeom prst="rect">
            <a:avLst/>
          </a:prstGeom>
          <a:solidFill>
            <a:schemeClr val="bg1">
              <a:lumMod val="95000"/>
            </a:schemeClr>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0" indent="0" defTabSz="685800">
              <a:lnSpc>
                <a:spcPct val="90000"/>
              </a:lnSpc>
              <a:spcBef>
                <a:spcPts val="375"/>
              </a:spcBef>
              <a:buClr>
                <a:schemeClr val="accent1"/>
              </a:buClr>
              <a:buNone/>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rPr>
              <a:t>Aantal 75+ </a:t>
            </a:r>
            <a:br>
              <a:rPr kumimoji="0" lang="nl-NL" sz="1000" b="1" i="0" u="none" strike="noStrike" kern="1200" cap="none" spc="0" normalizeH="0" baseline="0" noProof="0" dirty="0">
                <a:ln>
                  <a:noFill/>
                </a:ln>
                <a:effectLst/>
                <a:uLnTx/>
                <a:uFillTx/>
              </a:rPr>
            </a:br>
            <a:r>
              <a:rPr lang="nl-NL" sz="1000" dirty="0">
                <a:solidFill>
                  <a:srgbClr val="000000"/>
                </a:solidFill>
                <a:latin typeface="Corbel" panose="020B0503020204020204" pitchFamily="34" charset="0"/>
              </a:rPr>
              <a:t>‘000</a:t>
            </a:r>
            <a:endParaRPr kumimoji="0" lang="nl-NL" sz="1000" i="0" u="none" strike="noStrike" kern="1200" cap="none" spc="0" normalizeH="0" baseline="0" noProof="0" dirty="0">
              <a:ln>
                <a:noFill/>
              </a:ln>
              <a:solidFill>
                <a:srgbClr val="000000"/>
              </a:solidFill>
              <a:effectLst/>
              <a:uLnTx/>
              <a:uFillTx/>
            </a:endParaRPr>
          </a:p>
        </p:txBody>
      </p:sp>
      <p:graphicFrame>
        <p:nvGraphicFramePr>
          <p:cNvPr id="242" name="Chart 241">
            <a:extLst>
              <a:ext uri="{FF2B5EF4-FFF2-40B4-BE49-F238E27FC236}">
                <a16:creationId xmlns:a16="http://schemas.microsoft.com/office/drawing/2014/main" id="{5950B19B-2D43-4CDE-8457-8236843942D9}"/>
              </a:ext>
            </a:extLst>
          </p:cNvPr>
          <p:cNvGraphicFramePr/>
          <p:nvPr>
            <p:custDataLst>
              <p:tags r:id="rId4"/>
            </p:custDataLst>
            <p:extLst>
              <p:ext uri="{D42A27DB-BD31-4B8C-83A1-F6EECF244321}">
                <p14:modId xmlns:p14="http://schemas.microsoft.com/office/powerpoint/2010/main" val="771361264"/>
              </p:ext>
            </p:extLst>
          </p:nvPr>
        </p:nvGraphicFramePr>
        <p:xfrm>
          <a:off x="1493838" y="2003425"/>
          <a:ext cx="9986962" cy="581025"/>
        </p:xfrm>
        <a:graphic>
          <a:graphicData uri="http://schemas.openxmlformats.org/drawingml/2006/chart">
            <c:chart xmlns:c="http://schemas.openxmlformats.org/drawingml/2006/chart" xmlns:r="http://schemas.openxmlformats.org/officeDocument/2006/relationships" r:id="rId68"/>
          </a:graphicData>
        </a:graphic>
      </p:graphicFrame>
      <p:sp>
        <p:nvSpPr>
          <p:cNvPr id="270" name="Text Placeholder 5">
            <a:extLst>
              <a:ext uri="{FF2B5EF4-FFF2-40B4-BE49-F238E27FC236}">
                <a16:creationId xmlns:a16="http://schemas.microsoft.com/office/drawing/2014/main" id="{4B9982FA-94CE-476E-98B9-AED20350F85D}"/>
              </a:ext>
            </a:extLst>
          </p:cNvPr>
          <p:cNvSpPr>
            <a:spLocks noGrp="1"/>
          </p:cNvSpPr>
          <p:nvPr>
            <p:custDataLst>
              <p:tags r:id="rId5"/>
            </p:custDataLst>
          </p:nvPr>
        </p:nvSpPr>
        <p:spPr bwMode="gray">
          <a:xfrm>
            <a:off x="2546349" y="2076451"/>
            <a:ext cx="166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EF53EDFE-63C6-4C8A-A404-F3F4F50F0BDE}" type="datetime'''''''2''''9'''''''''''''''''''''''''''''''''''">
              <a:rPr lang="nl-NL" altLang="en-US" sz="1000" smtClean="0">
                <a:solidFill>
                  <a:schemeClr val="tx1"/>
                </a:solidFill>
              </a:rPr>
              <a:pPr/>
              <a:t>29</a:t>
            </a:fld>
            <a:endParaRPr lang="nl-NL" sz="1000" noProof="0" dirty="0">
              <a:solidFill>
                <a:schemeClr val="tx1"/>
              </a:solidFill>
              <a:sym typeface="Corbel" panose="020B0503020204020204" pitchFamily="34" charset="0"/>
            </a:endParaRPr>
          </a:p>
        </p:txBody>
      </p:sp>
      <p:sp>
        <p:nvSpPr>
          <p:cNvPr id="269" name="Text Placeholder 5">
            <a:extLst>
              <a:ext uri="{FF2B5EF4-FFF2-40B4-BE49-F238E27FC236}">
                <a16:creationId xmlns:a16="http://schemas.microsoft.com/office/drawing/2014/main" id="{4B9982FA-94CE-476E-98B9-AED20350F85D}"/>
              </a:ext>
            </a:extLst>
          </p:cNvPr>
          <p:cNvSpPr>
            <a:spLocks noGrp="1"/>
          </p:cNvSpPr>
          <p:nvPr>
            <p:custDataLst>
              <p:tags r:id="rId6"/>
            </p:custDataLst>
          </p:nvPr>
        </p:nvSpPr>
        <p:spPr bwMode="gray">
          <a:xfrm>
            <a:off x="1844675" y="2081214"/>
            <a:ext cx="165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48C97E57-9F36-49C8-B8C8-9B2A57323FAB}" type="datetime'''''2''''8'''''''''''''''''''''''''''''''''''">
              <a:rPr lang="nl-NL" altLang="en-US" sz="1000" smtClean="0">
                <a:solidFill>
                  <a:schemeClr val="tx1"/>
                </a:solidFill>
              </a:rPr>
              <a:pPr/>
              <a:t>28</a:t>
            </a:fld>
            <a:endParaRPr lang="nl-NL" sz="1000" noProof="0" dirty="0">
              <a:solidFill>
                <a:schemeClr val="tx1"/>
              </a:solidFill>
              <a:sym typeface="Corbel" panose="020B0503020204020204" pitchFamily="34" charset="0"/>
            </a:endParaRPr>
          </a:p>
        </p:txBody>
      </p:sp>
      <p:sp>
        <p:nvSpPr>
          <p:cNvPr id="271" name="Text Placeholder 5">
            <a:extLst>
              <a:ext uri="{FF2B5EF4-FFF2-40B4-BE49-F238E27FC236}">
                <a16:creationId xmlns:a16="http://schemas.microsoft.com/office/drawing/2014/main" id="{4B9982FA-94CE-476E-98B9-AED20350F85D}"/>
              </a:ext>
            </a:extLst>
          </p:cNvPr>
          <p:cNvSpPr>
            <a:spLocks noGrp="1"/>
          </p:cNvSpPr>
          <p:nvPr>
            <p:custDataLst>
              <p:tags r:id="rId7"/>
            </p:custDataLst>
          </p:nvPr>
        </p:nvSpPr>
        <p:spPr bwMode="gray">
          <a:xfrm>
            <a:off x="3248025" y="2070101"/>
            <a:ext cx="166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D51DB59B-1918-4D2E-B8CD-76A13DE2D4BD}" type="datetime'''2''''''''''''''9'''''''''''''''''''''''''">
              <a:rPr lang="nl-NL" altLang="en-US" sz="1000" smtClean="0">
                <a:solidFill>
                  <a:schemeClr val="tx1"/>
                </a:solidFill>
              </a:rPr>
              <a:pPr/>
              <a:t>29</a:t>
            </a:fld>
            <a:endParaRPr lang="nl-NL" sz="1000" noProof="0" dirty="0">
              <a:solidFill>
                <a:schemeClr val="tx1"/>
              </a:solidFill>
              <a:sym typeface="Corbel" panose="020B0503020204020204" pitchFamily="34" charset="0"/>
            </a:endParaRPr>
          </a:p>
        </p:txBody>
      </p:sp>
      <p:sp>
        <p:nvSpPr>
          <p:cNvPr id="272" name="Text Placeholder 5">
            <a:extLst>
              <a:ext uri="{FF2B5EF4-FFF2-40B4-BE49-F238E27FC236}">
                <a16:creationId xmlns:a16="http://schemas.microsoft.com/office/drawing/2014/main" id="{4B9982FA-94CE-476E-98B9-AED20350F85D}"/>
              </a:ext>
            </a:extLst>
          </p:cNvPr>
          <p:cNvSpPr>
            <a:spLocks noGrp="1"/>
          </p:cNvSpPr>
          <p:nvPr>
            <p:custDataLst>
              <p:tags r:id="rId8"/>
            </p:custDataLst>
          </p:nvPr>
        </p:nvSpPr>
        <p:spPr bwMode="gray">
          <a:xfrm>
            <a:off x="3954463" y="2063751"/>
            <a:ext cx="1571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3F788081-D346-435F-9A4C-88704C8DC531}" type="datetime'''''''''''''''''''''''3''''''''''0'''''''''">
              <a:rPr lang="nl-NL" altLang="en-US" sz="1000" smtClean="0">
                <a:solidFill>
                  <a:schemeClr val="tx1"/>
                </a:solidFill>
              </a:rPr>
              <a:pPr/>
              <a:t>30</a:t>
            </a:fld>
            <a:endParaRPr lang="nl-NL" sz="1000" noProof="0" dirty="0">
              <a:solidFill>
                <a:schemeClr val="tx1"/>
              </a:solidFill>
              <a:sym typeface="Corbel" panose="020B0503020204020204" pitchFamily="34" charset="0"/>
            </a:endParaRPr>
          </a:p>
        </p:txBody>
      </p:sp>
      <p:sp>
        <p:nvSpPr>
          <p:cNvPr id="273" name="Text Placeholder 5">
            <a:extLst>
              <a:ext uri="{FF2B5EF4-FFF2-40B4-BE49-F238E27FC236}">
                <a16:creationId xmlns:a16="http://schemas.microsoft.com/office/drawing/2014/main" id="{4B9982FA-94CE-476E-98B9-AED20350F85D}"/>
              </a:ext>
            </a:extLst>
          </p:cNvPr>
          <p:cNvSpPr>
            <a:spLocks noGrp="1"/>
          </p:cNvSpPr>
          <p:nvPr>
            <p:custDataLst>
              <p:tags r:id="rId9"/>
            </p:custDataLst>
          </p:nvPr>
        </p:nvSpPr>
        <p:spPr bwMode="gray">
          <a:xfrm>
            <a:off x="4656139" y="2049464"/>
            <a:ext cx="1571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035E9545-C25E-4B41-89DF-B9613A7A6401}" type="datetime'''3''''''''''''''''''2'''''''''''''''''''''''''''">
              <a:rPr lang="nl-NL" altLang="en-US" sz="1000" smtClean="0">
                <a:solidFill>
                  <a:schemeClr val="tx1"/>
                </a:solidFill>
              </a:rPr>
              <a:pPr/>
              <a:t>32</a:t>
            </a:fld>
            <a:endParaRPr lang="nl-NL" sz="1000" noProof="0" dirty="0">
              <a:solidFill>
                <a:schemeClr val="tx1"/>
              </a:solidFill>
              <a:sym typeface="Corbel" panose="020B0503020204020204" pitchFamily="34" charset="0"/>
            </a:endParaRPr>
          </a:p>
        </p:txBody>
      </p:sp>
      <p:sp>
        <p:nvSpPr>
          <p:cNvPr id="279" name="Text Placeholder 5">
            <a:extLst>
              <a:ext uri="{FF2B5EF4-FFF2-40B4-BE49-F238E27FC236}">
                <a16:creationId xmlns:a16="http://schemas.microsoft.com/office/drawing/2014/main" id="{4B9982FA-94CE-476E-98B9-AED20350F85D}"/>
              </a:ext>
            </a:extLst>
          </p:cNvPr>
          <p:cNvSpPr>
            <a:spLocks noGrp="1"/>
          </p:cNvSpPr>
          <p:nvPr>
            <p:custDataLst>
              <p:tags r:id="rId10"/>
            </p:custDataLst>
          </p:nvPr>
        </p:nvSpPr>
        <p:spPr bwMode="gray">
          <a:xfrm>
            <a:off x="6757988" y="2006601"/>
            <a:ext cx="1587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6132E78F-5B1D-4A30-9BD3-5AB741A2384E}" type="datetime'''''''''''''''''''3''''''''''''''''''6'''''''">
              <a:rPr lang="nl-NL" altLang="en-US" sz="1000" smtClean="0">
                <a:solidFill>
                  <a:schemeClr val="tx1"/>
                </a:solidFill>
              </a:rPr>
              <a:pPr/>
              <a:t>36</a:t>
            </a:fld>
            <a:endParaRPr lang="nl-NL" sz="1000" noProof="0" dirty="0">
              <a:solidFill>
                <a:schemeClr val="tx1"/>
              </a:solidFill>
              <a:sym typeface="Corbel" panose="020B0503020204020204" pitchFamily="34" charset="0"/>
            </a:endParaRPr>
          </a:p>
        </p:txBody>
      </p:sp>
      <p:sp>
        <p:nvSpPr>
          <p:cNvPr id="275" name="Text Placeholder 5">
            <a:extLst>
              <a:ext uri="{FF2B5EF4-FFF2-40B4-BE49-F238E27FC236}">
                <a16:creationId xmlns:a16="http://schemas.microsoft.com/office/drawing/2014/main" id="{4B9982FA-94CE-476E-98B9-AED20350F85D}"/>
              </a:ext>
            </a:extLst>
          </p:cNvPr>
          <p:cNvSpPr>
            <a:spLocks noGrp="1"/>
          </p:cNvSpPr>
          <p:nvPr>
            <p:custDataLst>
              <p:tags r:id="rId11"/>
            </p:custDataLst>
          </p:nvPr>
        </p:nvSpPr>
        <p:spPr bwMode="gray">
          <a:xfrm>
            <a:off x="6061075" y="2020889"/>
            <a:ext cx="1524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B830FDAA-69B1-48FE-931A-9E07D3B39BCE}" type="datetime'''''''''''''''''''''''''''''''''''3''''5'''''''''''''''">
              <a:rPr lang="nl-NL" altLang="en-US" sz="1000" smtClean="0">
                <a:solidFill>
                  <a:schemeClr val="tx1"/>
                </a:solidFill>
              </a:rPr>
              <a:pPr/>
              <a:t>35</a:t>
            </a:fld>
            <a:endParaRPr lang="nl-NL" sz="1000" noProof="0" dirty="0">
              <a:solidFill>
                <a:schemeClr val="tx1"/>
              </a:solidFill>
              <a:sym typeface="Corbel" panose="020B0503020204020204" pitchFamily="34" charset="0"/>
            </a:endParaRPr>
          </a:p>
        </p:txBody>
      </p:sp>
      <p:sp>
        <p:nvSpPr>
          <p:cNvPr id="274" name="Text Placeholder 5">
            <a:extLst>
              <a:ext uri="{FF2B5EF4-FFF2-40B4-BE49-F238E27FC236}">
                <a16:creationId xmlns:a16="http://schemas.microsoft.com/office/drawing/2014/main" id="{4B9982FA-94CE-476E-98B9-AED20350F85D}"/>
              </a:ext>
            </a:extLst>
          </p:cNvPr>
          <p:cNvSpPr>
            <a:spLocks noGrp="1"/>
          </p:cNvSpPr>
          <p:nvPr>
            <p:custDataLst>
              <p:tags r:id="rId12"/>
            </p:custDataLst>
          </p:nvPr>
        </p:nvSpPr>
        <p:spPr bwMode="gray">
          <a:xfrm>
            <a:off x="5360989" y="2035176"/>
            <a:ext cx="1492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F1B5E4FA-59B8-4987-B67D-0CDA3D065872}" type="datetime'''''''''''''''3''''''''''''''''''3'''">
              <a:rPr lang="nl-NL" altLang="en-US" sz="1000" smtClean="0">
                <a:solidFill>
                  <a:schemeClr val="tx1"/>
                </a:solidFill>
              </a:rPr>
              <a:pPr/>
              <a:t>33</a:t>
            </a:fld>
            <a:endParaRPr lang="nl-NL" sz="1000" noProof="0" dirty="0">
              <a:solidFill>
                <a:schemeClr val="tx1"/>
              </a:solidFill>
              <a:sym typeface="Corbel" panose="020B0503020204020204" pitchFamily="34" charset="0"/>
            </a:endParaRPr>
          </a:p>
        </p:txBody>
      </p:sp>
      <p:sp>
        <p:nvSpPr>
          <p:cNvPr id="285" name="Text Placeholder 5">
            <a:extLst>
              <a:ext uri="{FF2B5EF4-FFF2-40B4-BE49-F238E27FC236}">
                <a16:creationId xmlns:a16="http://schemas.microsoft.com/office/drawing/2014/main" id="{4B9982FA-94CE-476E-98B9-AED20350F85D}"/>
              </a:ext>
            </a:extLst>
          </p:cNvPr>
          <p:cNvSpPr>
            <a:spLocks noGrp="1"/>
          </p:cNvSpPr>
          <p:nvPr>
            <p:custDataLst>
              <p:tags r:id="rId13"/>
            </p:custDataLst>
          </p:nvPr>
        </p:nvSpPr>
        <p:spPr bwMode="gray">
          <a:xfrm>
            <a:off x="10964862" y="1924051"/>
            <a:ext cx="166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50E92A9C-733C-4FA6-A123-F129E2EF795E}" type="datetime'''''''''''''''''''''''''''''''''''''''''4''''''''''6'''''''''">
              <a:rPr lang="nl-NL" altLang="en-US" sz="1000" smtClean="0">
                <a:solidFill>
                  <a:schemeClr val="tx1"/>
                </a:solidFill>
              </a:rPr>
              <a:pPr/>
              <a:t>46</a:t>
            </a:fld>
            <a:endParaRPr lang="nl-NL" sz="1000" noProof="0" dirty="0">
              <a:solidFill>
                <a:schemeClr val="tx1"/>
              </a:solidFill>
              <a:sym typeface="Corbel" panose="020B0503020204020204" pitchFamily="34" charset="0"/>
            </a:endParaRPr>
          </a:p>
        </p:txBody>
      </p:sp>
      <p:sp>
        <p:nvSpPr>
          <p:cNvPr id="280" name="Text Placeholder 5">
            <a:extLst>
              <a:ext uri="{FF2B5EF4-FFF2-40B4-BE49-F238E27FC236}">
                <a16:creationId xmlns:a16="http://schemas.microsoft.com/office/drawing/2014/main" id="{4B9982FA-94CE-476E-98B9-AED20350F85D}"/>
              </a:ext>
            </a:extLst>
          </p:cNvPr>
          <p:cNvSpPr>
            <a:spLocks noGrp="1"/>
          </p:cNvSpPr>
          <p:nvPr>
            <p:custDataLst>
              <p:tags r:id="rId14"/>
            </p:custDataLst>
          </p:nvPr>
        </p:nvSpPr>
        <p:spPr bwMode="gray">
          <a:xfrm>
            <a:off x="7461251" y="1993901"/>
            <a:ext cx="1571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C988E85E-FD07-40A6-BC65-4138E8204AAE}" type="datetime'''''''''''''3''8'''''''">
              <a:rPr lang="nl-NL" altLang="en-US" sz="1000" smtClean="0">
                <a:solidFill>
                  <a:schemeClr val="tx1"/>
                </a:solidFill>
              </a:rPr>
              <a:pPr/>
              <a:t>38</a:t>
            </a:fld>
            <a:endParaRPr lang="nl-NL" sz="1000" noProof="0" dirty="0">
              <a:solidFill>
                <a:schemeClr val="tx1"/>
              </a:solidFill>
              <a:sym typeface="Corbel" panose="020B0503020204020204" pitchFamily="34" charset="0"/>
            </a:endParaRPr>
          </a:p>
        </p:txBody>
      </p:sp>
      <p:sp>
        <p:nvSpPr>
          <p:cNvPr id="281" name="Text Placeholder 5">
            <a:extLst>
              <a:ext uri="{FF2B5EF4-FFF2-40B4-BE49-F238E27FC236}">
                <a16:creationId xmlns:a16="http://schemas.microsoft.com/office/drawing/2014/main" id="{4B9982FA-94CE-476E-98B9-AED20350F85D}"/>
              </a:ext>
            </a:extLst>
          </p:cNvPr>
          <p:cNvSpPr>
            <a:spLocks noGrp="1"/>
          </p:cNvSpPr>
          <p:nvPr>
            <p:custDataLst>
              <p:tags r:id="rId15"/>
            </p:custDataLst>
          </p:nvPr>
        </p:nvSpPr>
        <p:spPr bwMode="gray">
          <a:xfrm>
            <a:off x="8161338" y="1979614"/>
            <a:ext cx="1587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2DC7D07C-C1A8-4104-A6D0-7F983C3A6A8A}" type="datetime'''''''''''''''''''3''''9'''''''''''''''''''''''''''''">
              <a:rPr lang="nl-NL" altLang="en-US" sz="1000" smtClean="0">
                <a:solidFill>
                  <a:schemeClr val="tx1"/>
                </a:solidFill>
              </a:rPr>
              <a:pPr/>
              <a:t>39</a:t>
            </a:fld>
            <a:endParaRPr lang="nl-NL" sz="1000" noProof="0" dirty="0">
              <a:solidFill>
                <a:schemeClr val="tx1"/>
              </a:solidFill>
              <a:sym typeface="Corbel" panose="020B0503020204020204" pitchFamily="34" charset="0"/>
            </a:endParaRPr>
          </a:p>
        </p:txBody>
      </p:sp>
      <p:sp>
        <p:nvSpPr>
          <p:cNvPr id="282" name="Text Placeholder 5">
            <a:extLst>
              <a:ext uri="{FF2B5EF4-FFF2-40B4-BE49-F238E27FC236}">
                <a16:creationId xmlns:a16="http://schemas.microsoft.com/office/drawing/2014/main" id="{4B9982FA-94CE-476E-98B9-AED20350F85D}"/>
              </a:ext>
            </a:extLst>
          </p:cNvPr>
          <p:cNvSpPr>
            <a:spLocks noGrp="1"/>
          </p:cNvSpPr>
          <p:nvPr>
            <p:custDataLst>
              <p:tags r:id="rId16"/>
            </p:custDataLst>
          </p:nvPr>
        </p:nvSpPr>
        <p:spPr bwMode="gray">
          <a:xfrm>
            <a:off x="8864601" y="1965326"/>
            <a:ext cx="1571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5FECA595-A17D-4E9F-8311-7087AEAAB9CF}" type="datetime'''''''4''''''''''''''1'''''''''''''''''''''''''''''">
              <a:rPr lang="nl-NL" altLang="en-US" sz="1000" smtClean="0">
                <a:solidFill>
                  <a:schemeClr val="tx1"/>
                </a:solidFill>
              </a:rPr>
              <a:pPr/>
              <a:t>41</a:t>
            </a:fld>
            <a:endParaRPr lang="nl-NL" sz="1000" noProof="0" dirty="0">
              <a:solidFill>
                <a:schemeClr val="tx1"/>
              </a:solidFill>
              <a:sym typeface="Corbel" panose="020B0503020204020204" pitchFamily="34" charset="0"/>
            </a:endParaRPr>
          </a:p>
        </p:txBody>
      </p:sp>
      <p:sp>
        <p:nvSpPr>
          <p:cNvPr id="283" name="Text Placeholder 5">
            <a:extLst>
              <a:ext uri="{FF2B5EF4-FFF2-40B4-BE49-F238E27FC236}">
                <a16:creationId xmlns:a16="http://schemas.microsoft.com/office/drawing/2014/main" id="{4B9982FA-94CE-476E-98B9-AED20350F85D}"/>
              </a:ext>
            </a:extLst>
          </p:cNvPr>
          <p:cNvSpPr>
            <a:spLocks noGrp="1"/>
          </p:cNvSpPr>
          <p:nvPr>
            <p:custDataLst>
              <p:tags r:id="rId17"/>
            </p:custDataLst>
          </p:nvPr>
        </p:nvSpPr>
        <p:spPr bwMode="gray">
          <a:xfrm>
            <a:off x="9566276" y="1951039"/>
            <a:ext cx="1571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ADBDEC8B-B868-4DCB-9111-18560F4569F0}" type="datetime'''''''''''4''''''''''''''''''''''''''''''''''3'''">
              <a:rPr lang="nl-NL" altLang="en-US" sz="1000" smtClean="0">
                <a:solidFill>
                  <a:schemeClr val="tx1"/>
                </a:solidFill>
              </a:rPr>
              <a:pPr/>
              <a:t>43</a:t>
            </a:fld>
            <a:endParaRPr lang="nl-NL" sz="1000" noProof="0" dirty="0">
              <a:solidFill>
                <a:schemeClr val="tx1"/>
              </a:solidFill>
              <a:sym typeface="Corbel" panose="020B0503020204020204" pitchFamily="34" charset="0"/>
            </a:endParaRPr>
          </a:p>
        </p:txBody>
      </p:sp>
      <p:sp>
        <p:nvSpPr>
          <p:cNvPr id="284" name="Text Placeholder 5">
            <a:extLst>
              <a:ext uri="{FF2B5EF4-FFF2-40B4-BE49-F238E27FC236}">
                <a16:creationId xmlns:a16="http://schemas.microsoft.com/office/drawing/2014/main" id="{4B9982FA-94CE-476E-98B9-AED20350F85D}"/>
              </a:ext>
            </a:extLst>
          </p:cNvPr>
          <p:cNvSpPr>
            <a:spLocks noGrp="1"/>
          </p:cNvSpPr>
          <p:nvPr>
            <p:custDataLst>
              <p:tags r:id="rId18"/>
            </p:custDataLst>
          </p:nvPr>
        </p:nvSpPr>
        <p:spPr bwMode="gray">
          <a:xfrm>
            <a:off x="10263188" y="1938339"/>
            <a:ext cx="165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43855327-BFA8-4C6D-993C-F833C820C7BA}" type="datetime'4''''''''''''''''''''''''''''''''''''''''''''''''''4'''''''">
              <a:rPr lang="nl-NL" altLang="en-US" sz="1000" smtClean="0">
                <a:solidFill>
                  <a:schemeClr val="tx1"/>
                </a:solidFill>
              </a:rPr>
              <a:pPr/>
              <a:t>44</a:t>
            </a:fld>
            <a:endParaRPr lang="nl-NL" sz="1000" noProof="0" dirty="0">
              <a:solidFill>
                <a:schemeClr val="tx1"/>
              </a:solidFill>
              <a:sym typeface="Corbel" panose="020B0503020204020204" pitchFamily="34" charset="0"/>
            </a:endParaRPr>
          </a:p>
        </p:txBody>
      </p:sp>
      <p:sp>
        <p:nvSpPr>
          <p:cNvPr id="29" name="Rectangle 28">
            <a:extLst>
              <a:ext uri="{FF2B5EF4-FFF2-40B4-BE49-F238E27FC236}">
                <a16:creationId xmlns:a16="http://schemas.microsoft.com/office/drawing/2014/main" id="{DA6DF70A-1561-4A65-94D6-244114AD160D}"/>
              </a:ext>
            </a:extLst>
          </p:cNvPr>
          <p:cNvSpPr/>
          <p:nvPr/>
        </p:nvSpPr>
        <p:spPr>
          <a:xfrm>
            <a:off x="667445" y="2582863"/>
            <a:ext cx="10857109" cy="647700"/>
          </a:xfrm>
          <a:prstGeom prst="rect">
            <a:avLst/>
          </a:prstGeom>
          <a:solidFill>
            <a:schemeClr val="bg1">
              <a:lumMod val="95000"/>
            </a:schemeClr>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0" marR="0" indent="0" algn="l" defTabSz="685800" eaLnBrk="1" fontAlgn="auto" latinLnBrk="0" hangingPunct="1">
              <a:lnSpc>
                <a:spcPct val="90000"/>
              </a:lnSpc>
              <a:spcBef>
                <a:spcPts val="375"/>
              </a:spcBef>
              <a:spcAft>
                <a:spcPts val="0"/>
              </a:spcAft>
              <a:buClr>
                <a:schemeClr val="accent1"/>
              </a:buClr>
              <a:buSzTx/>
              <a:buNone/>
              <a:tabLst/>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rPr>
              <a:t>Verhouding </a:t>
            </a:r>
            <a:br>
              <a:rPr kumimoji="0" lang="nl-NL" sz="1000" b="1" i="0" u="none" strike="noStrike" kern="1200" cap="none" spc="0" normalizeH="0" baseline="0" noProof="0" dirty="0">
                <a:ln>
                  <a:noFill/>
                </a:ln>
                <a:solidFill>
                  <a:srgbClr val="000000"/>
                </a:solidFill>
                <a:effectLst/>
                <a:uLnTx/>
                <a:uFillTx/>
                <a:latin typeface="Corbel" panose="020B0503020204020204" pitchFamily="34" charset="0"/>
              </a:rPr>
            </a:br>
            <a:r>
              <a:rPr kumimoji="0" lang="nl-NL" sz="1000" b="1" i="0" u="none" strike="noStrike" kern="1200" cap="none" spc="0" normalizeH="0" baseline="0" noProof="0" dirty="0">
                <a:ln>
                  <a:noFill/>
                </a:ln>
                <a:effectLst/>
                <a:uLnTx/>
                <a:uFillTx/>
              </a:rPr>
              <a:t>Wmo</a:t>
            </a:r>
            <a:r>
              <a:rPr lang="nl-NL" sz="1000" b="1" dirty="0">
                <a:solidFill>
                  <a:srgbClr val="000000"/>
                </a:solidFill>
                <a:latin typeface="Corbel" panose="020B0503020204020204" pitchFamily="34" charset="0"/>
              </a:rPr>
              <a:t> / 75+</a:t>
            </a:r>
            <a:endParaRPr kumimoji="0" lang="nl-NL" sz="1000" i="0" u="none" strike="noStrike" kern="1200" cap="none" spc="0" normalizeH="0" baseline="0" noProof="0" dirty="0">
              <a:ln>
                <a:noFill/>
              </a:ln>
              <a:solidFill>
                <a:srgbClr val="000000"/>
              </a:solidFill>
              <a:effectLst/>
              <a:uLnTx/>
              <a:uFillTx/>
            </a:endParaRPr>
          </a:p>
        </p:txBody>
      </p:sp>
      <p:sp>
        <p:nvSpPr>
          <p:cNvPr id="30" name="Rectangle 29">
            <a:extLst>
              <a:ext uri="{FF2B5EF4-FFF2-40B4-BE49-F238E27FC236}">
                <a16:creationId xmlns:a16="http://schemas.microsoft.com/office/drawing/2014/main" id="{AB0608A3-7085-4E2E-9D6E-86902E7E41C7}"/>
              </a:ext>
            </a:extLst>
          </p:cNvPr>
          <p:cNvSpPr/>
          <p:nvPr/>
        </p:nvSpPr>
        <p:spPr>
          <a:xfrm>
            <a:off x="676078" y="5590058"/>
            <a:ext cx="10857109" cy="757238"/>
          </a:xfrm>
          <a:prstGeom prst="rect">
            <a:avLst/>
          </a:prstGeom>
          <a:solidFill>
            <a:schemeClr val="bg1">
              <a:lumMod val="95000"/>
            </a:schemeClr>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0" marR="0" indent="0" algn="l" defTabSz="685800" eaLnBrk="1" fontAlgn="auto" latinLnBrk="0" hangingPunct="1">
              <a:lnSpc>
                <a:spcPct val="90000"/>
              </a:lnSpc>
              <a:spcBef>
                <a:spcPts val="375"/>
              </a:spcBef>
              <a:spcAft>
                <a:spcPts val="0"/>
              </a:spcAft>
              <a:buClr>
                <a:schemeClr val="accent1"/>
              </a:buClr>
              <a:buSzTx/>
              <a:buNone/>
              <a:tabLst/>
            </a:pPr>
            <a:r>
              <a:rPr lang="nl-NL" sz="1000" b="1" kern="1200" dirty="0">
                <a:latin typeface="Corbel" panose="020B0503020204020204" pitchFamily="34" charset="0"/>
              </a:rPr>
              <a:t>Kosten Wmo-vervoer</a:t>
            </a:r>
            <a:br>
              <a:rPr lang="nl-NL" sz="1000" b="1" kern="1200" dirty="0">
                <a:latin typeface="Corbel" panose="020B0503020204020204" pitchFamily="34" charset="0"/>
              </a:rPr>
            </a:br>
            <a:r>
              <a:rPr lang="nl-NL" sz="1000" dirty="0">
                <a:solidFill>
                  <a:srgbClr val="000000"/>
                </a:solidFill>
                <a:latin typeface="Corbel" panose="020B0503020204020204" pitchFamily="34" charset="0"/>
              </a:rPr>
              <a:t>€mln</a:t>
            </a:r>
            <a:endParaRPr kumimoji="0" lang="nl-NL" sz="1000" b="0" i="0" u="none" strike="noStrike" kern="1200" cap="none" spc="0" normalizeH="0" baseline="0" noProof="0" dirty="0">
              <a:ln>
                <a:noFill/>
              </a:ln>
              <a:solidFill>
                <a:srgbClr val="000000"/>
              </a:solidFill>
              <a:effectLst/>
              <a:uLnTx/>
              <a:uFillTx/>
            </a:endParaRPr>
          </a:p>
        </p:txBody>
      </p:sp>
      <p:graphicFrame>
        <p:nvGraphicFramePr>
          <p:cNvPr id="189" name="Chart 188">
            <a:extLst>
              <a:ext uri="{FF2B5EF4-FFF2-40B4-BE49-F238E27FC236}">
                <a16:creationId xmlns:a16="http://schemas.microsoft.com/office/drawing/2014/main" id="{3FA0F63F-B886-4342-A119-EB68D979037D}"/>
              </a:ext>
            </a:extLst>
          </p:cNvPr>
          <p:cNvGraphicFramePr/>
          <p:nvPr>
            <p:custDataLst>
              <p:tags r:id="rId19"/>
            </p:custDataLst>
            <p:extLst>
              <p:ext uri="{D42A27DB-BD31-4B8C-83A1-F6EECF244321}">
                <p14:modId xmlns:p14="http://schemas.microsoft.com/office/powerpoint/2010/main" val="523761746"/>
              </p:ext>
            </p:extLst>
          </p:nvPr>
        </p:nvGraphicFramePr>
        <p:xfrm>
          <a:off x="1493838" y="5832475"/>
          <a:ext cx="9986962" cy="385763"/>
        </p:xfrm>
        <a:graphic>
          <a:graphicData uri="http://schemas.openxmlformats.org/drawingml/2006/chart">
            <c:chart xmlns:c="http://schemas.openxmlformats.org/drawingml/2006/chart" xmlns:r="http://schemas.openxmlformats.org/officeDocument/2006/relationships" r:id="rId69"/>
          </a:graphicData>
        </a:graphic>
      </p:graphicFrame>
      <p:sp>
        <p:nvSpPr>
          <p:cNvPr id="95" name="Google Shape;11;p32">
            <a:extLst>
              <a:ext uri="{FF2B5EF4-FFF2-40B4-BE49-F238E27FC236}">
                <a16:creationId xmlns:a16="http://schemas.microsoft.com/office/drawing/2014/main" id="{E7F14945-95CF-496E-9C60-F53EA7147AC1}"/>
              </a:ext>
            </a:extLst>
          </p:cNvPr>
          <p:cNvSpPr txBox="1">
            <a:spLocks noGrp="1"/>
          </p:cNvSpPr>
          <p:nvPr>
            <p:custDataLst>
              <p:tags r:id="rId20"/>
            </p:custDataLst>
          </p:nvPr>
        </p:nvSpPr>
        <p:spPr bwMode="auto">
          <a:xfrm>
            <a:off x="5299075" y="6178550"/>
            <a:ext cx="2730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indent="0" algn="ctr">
              <a:spcBef>
                <a:spcPct val="0"/>
              </a:spcBef>
              <a:spcAft>
                <a:spcPct val="0"/>
              </a:spcAft>
              <a:buNone/>
            </a:pPr>
            <a:fld id="{5E240D78-0952-4A0E-9493-87581B5DB758}" type="datetime'''''''2''''''0''''''''''''2''''''''''''''''''2'''''''''''''''">
              <a:rPr lang="nl-NL" altLang="en-US" sz="1000" smtClean="0">
                <a:solidFill>
                  <a:schemeClr val="tx1"/>
                </a:solidFill>
                <a:latin typeface="Corbel" panose="020B0503020204020204" pitchFamily="34" charset="0"/>
                <a:ea typeface="+mn-ea"/>
                <a:cs typeface="+mn-cs"/>
                <a:sym typeface="Corbel" panose="020B0503020204020204" pitchFamily="34" charset="0"/>
              </a:rPr>
              <a:pPr marL="0" indent="0" algn="ctr">
                <a:spcBef>
                  <a:spcPct val="0"/>
                </a:spcBef>
                <a:spcAft>
                  <a:spcPct val="0"/>
                </a:spcAft>
                <a:buNone/>
              </a:pPr>
              <a:t>2022</a:t>
            </a:fld>
            <a:endParaRPr lang="nl-NL" sz="1000" dirty="0">
              <a:solidFill>
                <a:schemeClr val="tx1"/>
              </a:solidFill>
              <a:latin typeface="Corbel" panose="020B0503020204020204" pitchFamily="34" charset="0"/>
              <a:ea typeface="+mn-ea"/>
              <a:cs typeface="+mn-cs"/>
              <a:sym typeface="Corbel" panose="020B0503020204020204" pitchFamily="34" charset="0"/>
            </a:endParaRPr>
          </a:p>
        </p:txBody>
      </p:sp>
      <p:sp>
        <p:nvSpPr>
          <p:cNvPr id="99" name="Google Shape;11;p32">
            <a:extLst>
              <a:ext uri="{FF2B5EF4-FFF2-40B4-BE49-F238E27FC236}">
                <a16:creationId xmlns:a16="http://schemas.microsoft.com/office/drawing/2014/main" id="{19B0B1A0-E808-4AA4-8960-61AD5C2213C2}"/>
              </a:ext>
            </a:extLst>
          </p:cNvPr>
          <p:cNvSpPr txBox="1">
            <a:spLocks noGrp="1"/>
          </p:cNvSpPr>
          <p:nvPr>
            <p:custDataLst>
              <p:tags r:id="rId21"/>
            </p:custDataLst>
          </p:nvPr>
        </p:nvSpPr>
        <p:spPr bwMode="auto">
          <a:xfrm>
            <a:off x="2497139" y="6178550"/>
            <a:ext cx="2651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indent="0" algn="ctr">
              <a:spcBef>
                <a:spcPct val="0"/>
              </a:spcBef>
              <a:spcAft>
                <a:spcPct val="0"/>
              </a:spcAft>
              <a:buNone/>
            </a:pPr>
            <a:fld id="{097A422B-A09B-4F34-BD46-0C0465F27F54}" type="datetime'''2''''''''''''''''''''''''''''0''''''1''8'''''''''''''''''">
              <a:rPr lang="nl-NL" altLang="en-US" sz="1000" smtClean="0">
                <a:solidFill>
                  <a:schemeClr val="tx1"/>
                </a:solidFill>
                <a:latin typeface="Corbel" panose="020B0503020204020204" pitchFamily="34" charset="0"/>
                <a:ea typeface="+mn-ea"/>
                <a:cs typeface="+mn-cs"/>
                <a:sym typeface="Corbel" panose="020B0503020204020204" pitchFamily="34" charset="0"/>
              </a:rPr>
              <a:pPr marL="0" indent="0" algn="ctr">
                <a:spcBef>
                  <a:spcPct val="0"/>
                </a:spcBef>
                <a:spcAft>
                  <a:spcPct val="0"/>
                </a:spcAft>
                <a:buNone/>
              </a:pPr>
              <a:t>2018</a:t>
            </a:fld>
            <a:endParaRPr lang="nl-NL" sz="1000" dirty="0">
              <a:solidFill>
                <a:schemeClr val="tx1"/>
              </a:solidFill>
              <a:latin typeface="Corbel" panose="020B0503020204020204" pitchFamily="34" charset="0"/>
              <a:ea typeface="+mn-ea"/>
              <a:cs typeface="+mn-cs"/>
              <a:sym typeface="Corbel" panose="020B0503020204020204" pitchFamily="34" charset="0"/>
            </a:endParaRPr>
          </a:p>
        </p:txBody>
      </p:sp>
      <p:sp>
        <p:nvSpPr>
          <p:cNvPr id="101" name="Google Shape;11;p32">
            <a:extLst>
              <a:ext uri="{FF2B5EF4-FFF2-40B4-BE49-F238E27FC236}">
                <a16:creationId xmlns:a16="http://schemas.microsoft.com/office/drawing/2014/main" id="{D2C1A7AA-7511-46CE-929E-AE7C2DDA7AD9}"/>
              </a:ext>
            </a:extLst>
          </p:cNvPr>
          <p:cNvSpPr txBox="1">
            <a:spLocks noGrp="1"/>
          </p:cNvSpPr>
          <p:nvPr>
            <p:custDataLst>
              <p:tags r:id="rId22"/>
            </p:custDataLst>
          </p:nvPr>
        </p:nvSpPr>
        <p:spPr bwMode="auto">
          <a:xfrm>
            <a:off x="3197225" y="6178550"/>
            <a:ext cx="2667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indent="0" algn="ctr">
              <a:spcBef>
                <a:spcPct val="0"/>
              </a:spcBef>
              <a:spcAft>
                <a:spcPct val="0"/>
              </a:spcAft>
              <a:buNone/>
            </a:pPr>
            <a:fld id="{2A33A123-E924-4488-9D23-F427FBC90BD0}" type="datetime'''''''''''''''''2''0''''''''''''''''''''1''''9'''''''''">
              <a:rPr lang="nl-NL" altLang="en-US" sz="1000" smtClean="0">
                <a:solidFill>
                  <a:schemeClr val="tx1"/>
                </a:solidFill>
                <a:latin typeface="Corbel" panose="020B0503020204020204" pitchFamily="34" charset="0"/>
                <a:ea typeface="+mn-ea"/>
                <a:cs typeface="+mn-cs"/>
                <a:sym typeface="Corbel" panose="020B0503020204020204" pitchFamily="34" charset="0"/>
              </a:rPr>
              <a:pPr marL="0" indent="0" algn="ctr">
                <a:spcBef>
                  <a:spcPct val="0"/>
                </a:spcBef>
                <a:spcAft>
                  <a:spcPct val="0"/>
                </a:spcAft>
                <a:buNone/>
              </a:pPr>
              <a:t>2019</a:t>
            </a:fld>
            <a:endParaRPr lang="nl-NL" sz="1000" dirty="0">
              <a:solidFill>
                <a:schemeClr val="tx1"/>
              </a:solidFill>
              <a:latin typeface="Corbel" panose="020B0503020204020204" pitchFamily="34" charset="0"/>
              <a:ea typeface="+mn-ea"/>
              <a:cs typeface="+mn-cs"/>
              <a:sym typeface="Corbel" panose="020B0503020204020204" pitchFamily="34" charset="0"/>
            </a:endParaRPr>
          </a:p>
        </p:txBody>
      </p:sp>
      <p:sp>
        <p:nvSpPr>
          <p:cNvPr id="97" name="Google Shape;11;p32">
            <a:extLst>
              <a:ext uri="{FF2B5EF4-FFF2-40B4-BE49-F238E27FC236}">
                <a16:creationId xmlns:a16="http://schemas.microsoft.com/office/drawing/2014/main" id="{AC2F1429-6AAF-4560-88C5-2D690C9DD38F}"/>
              </a:ext>
            </a:extLst>
          </p:cNvPr>
          <p:cNvSpPr txBox="1">
            <a:spLocks noGrp="1"/>
          </p:cNvSpPr>
          <p:nvPr>
            <p:custDataLst>
              <p:tags r:id="rId23"/>
            </p:custDataLst>
          </p:nvPr>
        </p:nvSpPr>
        <p:spPr bwMode="auto">
          <a:xfrm>
            <a:off x="1800225" y="6178550"/>
            <a:ext cx="254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indent="0" algn="ctr">
              <a:spcBef>
                <a:spcPct val="0"/>
              </a:spcBef>
              <a:spcAft>
                <a:spcPct val="0"/>
              </a:spcAft>
              <a:buNone/>
            </a:pPr>
            <a:fld id="{CB91A99C-DB45-4EE8-9F55-0F65EBDC1DB7}" type="datetime'''2''''''''''''''01''7'''''''''''''''''''''''''">
              <a:rPr lang="nl-NL" altLang="en-US" sz="1000" smtClean="0">
                <a:solidFill>
                  <a:schemeClr val="tx1"/>
                </a:solidFill>
                <a:latin typeface="Corbel" panose="020B0503020204020204" pitchFamily="34" charset="0"/>
                <a:ea typeface="+mn-ea"/>
                <a:cs typeface="+mn-cs"/>
                <a:sym typeface="Corbel" panose="020B0503020204020204" pitchFamily="34" charset="0"/>
              </a:rPr>
              <a:pPr marL="0" indent="0" algn="ctr">
                <a:spcBef>
                  <a:spcPct val="0"/>
                </a:spcBef>
                <a:spcAft>
                  <a:spcPct val="0"/>
                </a:spcAft>
                <a:buNone/>
              </a:pPr>
              <a:t>2017</a:t>
            </a:fld>
            <a:endParaRPr lang="nl-NL" sz="1000" dirty="0">
              <a:solidFill>
                <a:schemeClr val="tx1"/>
              </a:solidFill>
              <a:latin typeface="Corbel" panose="020B0503020204020204" pitchFamily="34" charset="0"/>
              <a:ea typeface="+mn-ea"/>
              <a:cs typeface="+mn-cs"/>
              <a:sym typeface="Corbel" panose="020B0503020204020204" pitchFamily="34" charset="0"/>
            </a:endParaRPr>
          </a:p>
        </p:txBody>
      </p:sp>
      <p:sp>
        <p:nvSpPr>
          <p:cNvPr id="88" name="Google Shape;11;p32">
            <a:extLst>
              <a:ext uri="{FF2B5EF4-FFF2-40B4-BE49-F238E27FC236}">
                <a16:creationId xmlns:a16="http://schemas.microsoft.com/office/drawing/2014/main" id="{4B9B572D-2D46-42B7-89BB-287712FD80B6}"/>
              </a:ext>
            </a:extLst>
          </p:cNvPr>
          <p:cNvSpPr txBox="1">
            <a:spLocks noGrp="1"/>
          </p:cNvSpPr>
          <p:nvPr>
            <p:custDataLst>
              <p:tags r:id="rId24"/>
            </p:custDataLst>
          </p:nvPr>
        </p:nvSpPr>
        <p:spPr bwMode="auto">
          <a:xfrm>
            <a:off x="9507538" y="6178550"/>
            <a:ext cx="2730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indent="0" algn="ctr">
              <a:spcBef>
                <a:spcPct val="0"/>
              </a:spcBef>
              <a:spcAft>
                <a:spcPct val="0"/>
              </a:spcAft>
              <a:buNone/>
            </a:pPr>
            <a:fld id="{C8E58CDB-A08F-455F-91A4-6C6A8FD16654}" type="datetime'''''''''2''''''''''''''''''''''''''02''8'''''''''''''''">
              <a:rPr lang="nl-NL" altLang="en-US" sz="1000" smtClean="0">
                <a:solidFill>
                  <a:schemeClr val="tx1"/>
                </a:solidFill>
                <a:latin typeface="Corbel" panose="020B0503020204020204" pitchFamily="34" charset="0"/>
                <a:ea typeface="+mn-ea"/>
                <a:cs typeface="+mn-cs"/>
                <a:sym typeface="Corbel" panose="020B0503020204020204" pitchFamily="34" charset="0"/>
              </a:rPr>
              <a:pPr marL="0" indent="0" algn="ctr">
                <a:spcBef>
                  <a:spcPct val="0"/>
                </a:spcBef>
                <a:spcAft>
                  <a:spcPct val="0"/>
                </a:spcAft>
                <a:buNone/>
              </a:pPr>
              <a:t>2028</a:t>
            </a:fld>
            <a:endParaRPr lang="nl-NL" sz="1000" dirty="0">
              <a:solidFill>
                <a:schemeClr val="tx1"/>
              </a:solidFill>
              <a:latin typeface="Corbel" panose="020B0503020204020204" pitchFamily="34" charset="0"/>
              <a:ea typeface="+mn-ea"/>
              <a:cs typeface="+mn-cs"/>
              <a:sym typeface="Corbel" panose="020B0503020204020204" pitchFamily="34" charset="0"/>
            </a:endParaRPr>
          </a:p>
        </p:txBody>
      </p:sp>
      <p:sp>
        <p:nvSpPr>
          <p:cNvPr id="100" name="Google Shape;11;p32">
            <a:extLst>
              <a:ext uri="{FF2B5EF4-FFF2-40B4-BE49-F238E27FC236}">
                <a16:creationId xmlns:a16="http://schemas.microsoft.com/office/drawing/2014/main" id="{9A417C54-6FF0-4CFA-A482-8099E7CE2421}"/>
              </a:ext>
            </a:extLst>
          </p:cNvPr>
          <p:cNvSpPr txBox="1">
            <a:spLocks noGrp="1"/>
          </p:cNvSpPr>
          <p:nvPr>
            <p:custDataLst>
              <p:tags r:id="rId25"/>
            </p:custDataLst>
          </p:nvPr>
        </p:nvSpPr>
        <p:spPr bwMode="auto">
          <a:xfrm>
            <a:off x="3895725" y="6178550"/>
            <a:ext cx="2730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indent="0" algn="ctr">
              <a:spcBef>
                <a:spcPct val="0"/>
              </a:spcBef>
              <a:spcAft>
                <a:spcPct val="0"/>
              </a:spcAft>
              <a:buNone/>
            </a:pPr>
            <a:fld id="{A413F1E4-4978-4F6B-8394-62868342DDBE}" type="datetime'2''''0''''''''''''''''''''''2''''''''''''''''''0'''">
              <a:rPr lang="nl-NL" altLang="en-US" sz="1000" smtClean="0">
                <a:solidFill>
                  <a:schemeClr val="tx1"/>
                </a:solidFill>
                <a:latin typeface="Corbel" panose="020B0503020204020204" pitchFamily="34" charset="0"/>
                <a:ea typeface="+mn-ea"/>
                <a:cs typeface="+mn-cs"/>
                <a:sym typeface="Corbel" panose="020B0503020204020204" pitchFamily="34" charset="0"/>
              </a:rPr>
              <a:pPr marL="0" indent="0" algn="ctr">
                <a:spcBef>
                  <a:spcPct val="0"/>
                </a:spcBef>
                <a:spcAft>
                  <a:spcPct val="0"/>
                </a:spcAft>
                <a:buNone/>
              </a:pPr>
              <a:t>2020</a:t>
            </a:fld>
            <a:endParaRPr lang="nl-NL" sz="1000" dirty="0">
              <a:solidFill>
                <a:schemeClr val="tx1"/>
              </a:solidFill>
              <a:latin typeface="Corbel" panose="020B0503020204020204" pitchFamily="34" charset="0"/>
              <a:ea typeface="+mn-ea"/>
              <a:cs typeface="+mn-cs"/>
              <a:sym typeface="Corbel" panose="020B0503020204020204" pitchFamily="34" charset="0"/>
            </a:endParaRPr>
          </a:p>
        </p:txBody>
      </p:sp>
      <p:sp>
        <p:nvSpPr>
          <p:cNvPr id="102" name="Google Shape;11;p32">
            <a:extLst>
              <a:ext uri="{FF2B5EF4-FFF2-40B4-BE49-F238E27FC236}">
                <a16:creationId xmlns:a16="http://schemas.microsoft.com/office/drawing/2014/main" id="{B7B12BC9-07EA-404B-9A50-EE4C3D0DA5F6}"/>
              </a:ext>
            </a:extLst>
          </p:cNvPr>
          <p:cNvSpPr txBox="1">
            <a:spLocks noGrp="1"/>
          </p:cNvSpPr>
          <p:nvPr>
            <p:custDataLst>
              <p:tags r:id="rId26"/>
            </p:custDataLst>
          </p:nvPr>
        </p:nvSpPr>
        <p:spPr bwMode="auto">
          <a:xfrm>
            <a:off x="4602164" y="6178550"/>
            <a:ext cx="2651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indent="0" algn="ctr">
              <a:spcBef>
                <a:spcPct val="0"/>
              </a:spcBef>
              <a:spcAft>
                <a:spcPct val="0"/>
              </a:spcAft>
              <a:buNone/>
            </a:pPr>
            <a:fld id="{A34B17FD-9AA3-485C-A302-C69FF12AC994}" type="datetime'''''''''''''''20''''''''''''''''''''''''''''2''''''1'''''">
              <a:rPr lang="nl-NL" altLang="en-US" sz="1000" smtClean="0">
                <a:solidFill>
                  <a:schemeClr val="tx1"/>
                </a:solidFill>
                <a:latin typeface="Corbel" panose="020B0503020204020204" pitchFamily="34" charset="0"/>
                <a:ea typeface="+mn-ea"/>
                <a:cs typeface="+mn-cs"/>
                <a:sym typeface="Corbel" panose="020B0503020204020204" pitchFamily="34" charset="0"/>
              </a:rPr>
              <a:pPr marL="0" indent="0" algn="ctr">
                <a:spcBef>
                  <a:spcPct val="0"/>
                </a:spcBef>
                <a:spcAft>
                  <a:spcPct val="0"/>
                </a:spcAft>
                <a:buNone/>
              </a:pPr>
              <a:t>2021</a:t>
            </a:fld>
            <a:endParaRPr lang="nl-NL" sz="1000" dirty="0">
              <a:solidFill>
                <a:schemeClr val="tx1"/>
              </a:solidFill>
              <a:latin typeface="Corbel" panose="020B0503020204020204" pitchFamily="34" charset="0"/>
              <a:ea typeface="+mn-ea"/>
              <a:cs typeface="+mn-cs"/>
              <a:sym typeface="Corbel" panose="020B0503020204020204" pitchFamily="34" charset="0"/>
            </a:endParaRPr>
          </a:p>
        </p:txBody>
      </p:sp>
      <p:sp>
        <p:nvSpPr>
          <p:cNvPr id="103" name="Google Shape;11;p32">
            <a:extLst>
              <a:ext uri="{FF2B5EF4-FFF2-40B4-BE49-F238E27FC236}">
                <a16:creationId xmlns:a16="http://schemas.microsoft.com/office/drawing/2014/main" id="{3D754BE0-D646-44FE-9AE9-3B38DB43852F}"/>
              </a:ext>
            </a:extLst>
          </p:cNvPr>
          <p:cNvSpPr txBox="1">
            <a:spLocks noGrp="1"/>
          </p:cNvSpPr>
          <p:nvPr>
            <p:custDataLst>
              <p:tags r:id="rId27"/>
            </p:custDataLst>
          </p:nvPr>
        </p:nvSpPr>
        <p:spPr bwMode="auto">
          <a:xfrm>
            <a:off x="6005514" y="6178550"/>
            <a:ext cx="2651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indent="0" algn="ctr">
              <a:spcBef>
                <a:spcPct val="0"/>
              </a:spcBef>
              <a:spcAft>
                <a:spcPct val="0"/>
              </a:spcAft>
              <a:buNone/>
            </a:pPr>
            <a:fld id="{443FB1EC-A9C3-4F3D-9B7F-E73117EB9DDF}" type="datetime'''20''''''''''''''''''''''''''''''''''''2''''''''3'''''''''">
              <a:rPr lang="nl-NL" altLang="en-US" sz="1000" smtClean="0">
                <a:solidFill>
                  <a:schemeClr val="tx1"/>
                </a:solidFill>
                <a:latin typeface="Corbel" panose="020B0503020204020204" pitchFamily="34" charset="0"/>
                <a:ea typeface="+mn-ea"/>
                <a:cs typeface="+mn-cs"/>
                <a:sym typeface="Corbel" panose="020B0503020204020204" pitchFamily="34" charset="0"/>
              </a:rPr>
              <a:pPr marL="0" indent="0" algn="ctr">
                <a:spcBef>
                  <a:spcPct val="0"/>
                </a:spcBef>
                <a:spcAft>
                  <a:spcPct val="0"/>
                </a:spcAft>
                <a:buNone/>
              </a:pPr>
              <a:t>2023</a:t>
            </a:fld>
            <a:endParaRPr lang="nl-NL" sz="1000" dirty="0">
              <a:solidFill>
                <a:schemeClr val="tx1"/>
              </a:solidFill>
              <a:latin typeface="Corbel" panose="020B0503020204020204" pitchFamily="34" charset="0"/>
              <a:ea typeface="+mn-ea"/>
              <a:cs typeface="+mn-cs"/>
              <a:sym typeface="Corbel" panose="020B0503020204020204" pitchFamily="34" charset="0"/>
            </a:endParaRPr>
          </a:p>
        </p:txBody>
      </p:sp>
      <p:sp>
        <p:nvSpPr>
          <p:cNvPr id="106" name="Google Shape;11;p32">
            <a:extLst>
              <a:ext uri="{FF2B5EF4-FFF2-40B4-BE49-F238E27FC236}">
                <a16:creationId xmlns:a16="http://schemas.microsoft.com/office/drawing/2014/main" id="{DDD2FB2F-14EB-4DF4-B48D-65C51419BD1C}"/>
              </a:ext>
            </a:extLst>
          </p:cNvPr>
          <p:cNvSpPr txBox="1">
            <a:spLocks noGrp="1"/>
          </p:cNvSpPr>
          <p:nvPr>
            <p:custDataLst>
              <p:tags r:id="rId28"/>
            </p:custDataLst>
          </p:nvPr>
        </p:nvSpPr>
        <p:spPr bwMode="auto">
          <a:xfrm>
            <a:off x="6700838" y="6178550"/>
            <a:ext cx="2730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indent="0" algn="ctr">
              <a:spcBef>
                <a:spcPct val="0"/>
              </a:spcBef>
              <a:spcAft>
                <a:spcPct val="0"/>
              </a:spcAft>
              <a:buNone/>
            </a:pPr>
            <a:fld id="{9B49BB26-BC7D-4AE9-A679-EFD85FB87DAC}" type="datetime'''''''''''2''''''''''''''''''0''''''''''''''2''''4'''">
              <a:rPr lang="nl-NL" altLang="en-US" sz="1000" smtClean="0">
                <a:solidFill>
                  <a:schemeClr val="tx1"/>
                </a:solidFill>
                <a:latin typeface="Corbel" panose="020B0503020204020204" pitchFamily="34" charset="0"/>
                <a:ea typeface="+mn-ea"/>
                <a:cs typeface="+mn-cs"/>
                <a:sym typeface="Corbel" panose="020B0503020204020204" pitchFamily="34" charset="0"/>
              </a:rPr>
              <a:pPr marL="0" indent="0" algn="ctr">
                <a:spcBef>
                  <a:spcPct val="0"/>
                </a:spcBef>
                <a:spcAft>
                  <a:spcPct val="0"/>
                </a:spcAft>
                <a:buNone/>
              </a:pPr>
              <a:t>2024</a:t>
            </a:fld>
            <a:endParaRPr lang="nl-NL" sz="1000" dirty="0">
              <a:solidFill>
                <a:schemeClr val="tx1"/>
              </a:solidFill>
              <a:latin typeface="Corbel" panose="020B0503020204020204" pitchFamily="34" charset="0"/>
              <a:ea typeface="+mn-ea"/>
              <a:cs typeface="+mn-cs"/>
              <a:sym typeface="Corbel" panose="020B0503020204020204" pitchFamily="34" charset="0"/>
            </a:endParaRPr>
          </a:p>
        </p:txBody>
      </p:sp>
      <p:sp>
        <p:nvSpPr>
          <p:cNvPr id="107" name="Google Shape;11;p32">
            <a:extLst>
              <a:ext uri="{FF2B5EF4-FFF2-40B4-BE49-F238E27FC236}">
                <a16:creationId xmlns:a16="http://schemas.microsoft.com/office/drawing/2014/main" id="{833B3FDD-774B-4285-922A-9ADADA624399}"/>
              </a:ext>
            </a:extLst>
          </p:cNvPr>
          <p:cNvSpPr txBox="1">
            <a:spLocks noGrp="1"/>
          </p:cNvSpPr>
          <p:nvPr>
            <p:custDataLst>
              <p:tags r:id="rId29"/>
            </p:custDataLst>
          </p:nvPr>
        </p:nvSpPr>
        <p:spPr bwMode="auto">
          <a:xfrm>
            <a:off x="7405688" y="6178550"/>
            <a:ext cx="2682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indent="0" algn="ctr">
              <a:spcBef>
                <a:spcPct val="0"/>
              </a:spcBef>
              <a:spcAft>
                <a:spcPct val="0"/>
              </a:spcAft>
              <a:buNone/>
            </a:pPr>
            <a:fld id="{CC0E71FB-A475-4426-8AD3-CEE011882920}" type="datetime'''''''''''''''2''''''''0''''25'''''''">
              <a:rPr lang="nl-NL" altLang="en-US" sz="1000" smtClean="0">
                <a:solidFill>
                  <a:schemeClr val="tx1"/>
                </a:solidFill>
                <a:latin typeface="Corbel" panose="020B0503020204020204" pitchFamily="34" charset="0"/>
                <a:ea typeface="+mn-ea"/>
                <a:cs typeface="+mn-cs"/>
                <a:sym typeface="Corbel" panose="020B0503020204020204" pitchFamily="34" charset="0"/>
              </a:rPr>
              <a:pPr marL="0" indent="0" algn="ctr">
                <a:spcBef>
                  <a:spcPct val="0"/>
                </a:spcBef>
                <a:spcAft>
                  <a:spcPct val="0"/>
                </a:spcAft>
                <a:buNone/>
              </a:pPr>
              <a:t>2025</a:t>
            </a:fld>
            <a:endParaRPr lang="nl-NL" sz="1000" dirty="0">
              <a:solidFill>
                <a:schemeClr val="tx1"/>
              </a:solidFill>
              <a:latin typeface="Corbel" panose="020B0503020204020204" pitchFamily="34" charset="0"/>
              <a:ea typeface="+mn-ea"/>
              <a:cs typeface="+mn-cs"/>
              <a:sym typeface="Corbel" panose="020B0503020204020204" pitchFamily="34" charset="0"/>
            </a:endParaRPr>
          </a:p>
        </p:txBody>
      </p:sp>
      <p:sp>
        <p:nvSpPr>
          <p:cNvPr id="85" name="Google Shape;11;p32">
            <a:extLst>
              <a:ext uri="{FF2B5EF4-FFF2-40B4-BE49-F238E27FC236}">
                <a16:creationId xmlns:a16="http://schemas.microsoft.com/office/drawing/2014/main" id="{284BC7CA-23F3-41FF-8E5F-EBE9CBCD7775}"/>
              </a:ext>
            </a:extLst>
          </p:cNvPr>
          <p:cNvSpPr txBox="1">
            <a:spLocks noGrp="1"/>
          </p:cNvSpPr>
          <p:nvPr>
            <p:custDataLst>
              <p:tags r:id="rId30"/>
            </p:custDataLst>
          </p:nvPr>
        </p:nvSpPr>
        <p:spPr bwMode="auto">
          <a:xfrm>
            <a:off x="8104188" y="6178550"/>
            <a:ext cx="2746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indent="0" algn="ctr">
              <a:spcBef>
                <a:spcPct val="0"/>
              </a:spcBef>
              <a:spcAft>
                <a:spcPct val="0"/>
              </a:spcAft>
              <a:buNone/>
            </a:pPr>
            <a:fld id="{E3C99943-D0F5-4054-8823-4FF86DF3E588}" type="datetime'2''''''''''''''0''''''''''''''2''''''''''''''6'''">
              <a:rPr lang="nl-NL" altLang="en-US" sz="1000" smtClean="0">
                <a:solidFill>
                  <a:schemeClr val="tx1"/>
                </a:solidFill>
                <a:latin typeface="Corbel" panose="020B0503020204020204" pitchFamily="34" charset="0"/>
                <a:ea typeface="+mn-ea"/>
                <a:cs typeface="+mn-cs"/>
                <a:sym typeface="Corbel" panose="020B0503020204020204" pitchFamily="34" charset="0"/>
              </a:rPr>
              <a:pPr marL="0" indent="0" algn="ctr">
                <a:spcBef>
                  <a:spcPct val="0"/>
                </a:spcBef>
                <a:spcAft>
                  <a:spcPct val="0"/>
                </a:spcAft>
                <a:buNone/>
              </a:pPr>
              <a:t>2026</a:t>
            </a:fld>
            <a:endParaRPr lang="nl-NL" sz="1000" dirty="0">
              <a:solidFill>
                <a:schemeClr val="tx1"/>
              </a:solidFill>
              <a:latin typeface="Corbel" panose="020B0503020204020204" pitchFamily="34" charset="0"/>
              <a:ea typeface="+mn-ea"/>
              <a:cs typeface="+mn-cs"/>
              <a:sym typeface="Corbel" panose="020B0503020204020204" pitchFamily="34" charset="0"/>
            </a:endParaRPr>
          </a:p>
        </p:txBody>
      </p:sp>
      <p:sp>
        <p:nvSpPr>
          <p:cNvPr id="86" name="Google Shape;11;p32">
            <a:extLst>
              <a:ext uri="{FF2B5EF4-FFF2-40B4-BE49-F238E27FC236}">
                <a16:creationId xmlns:a16="http://schemas.microsoft.com/office/drawing/2014/main" id="{13CFE159-E99D-4468-BC1F-5C903BDDC67E}"/>
              </a:ext>
            </a:extLst>
          </p:cNvPr>
          <p:cNvSpPr txBox="1">
            <a:spLocks noGrp="1"/>
          </p:cNvSpPr>
          <p:nvPr>
            <p:custDataLst>
              <p:tags r:id="rId31"/>
            </p:custDataLst>
          </p:nvPr>
        </p:nvSpPr>
        <p:spPr bwMode="auto">
          <a:xfrm>
            <a:off x="8812213" y="6178550"/>
            <a:ext cx="2619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indent="0" algn="ctr">
              <a:spcBef>
                <a:spcPct val="0"/>
              </a:spcBef>
              <a:spcAft>
                <a:spcPct val="0"/>
              </a:spcAft>
              <a:buNone/>
            </a:pPr>
            <a:fld id="{B09F0BC9-C6F3-4943-9C2A-249EE304DB01}" type="datetime'''''2''''''''''''''''''02''''7'''''''''''''''''''">
              <a:rPr lang="nl-NL" altLang="en-US" sz="1000" smtClean="0">
                <a:solidFill>
                  <a:schemeClr val="tx1"/>
                </a:solidFill>
                <a:latin typeface="Corbel" panose="020B0503020204020204" pitchFamily="34" charset="0"/>
                <a:ea typeface="+mn-ea"/>
                <a:cs typeface="+mn-cs"/>
                <a:sym typeface="Corbel" panose="020B0503020204020204" pitchFamily="34" charset="0"/>
              </a:rPr>
              <a:pPr marL="0" indent="0" algn="ctr">
                <a:spcBef>
                  <a:spcPct val="0"/>
                </a:spcBef>
                <a:spcAft>
                  <a:spcPct val="0"/>
                </a:spcAft>
                <a:buNone/>
              </a:pPr>
              <a:t>2027</a:t>
            </a:fld>
            <a:endParaRPr lang="nl-NL" sz="1000" dirty="0">
              <a:solidFill>
                <a:schemeClr val="tx1"/>
              </a:solidFill>
              <a:latin typeface="Corbel" panose="020B0503020204020204" pitchFamily="34" charset="0"/>
              <a:ea typeface="+mn-ea"/>
              <a:cs typeface="+mn-cs"/>
              <a:sym typeface="Corbel" panose="020B0503020204020204" pitchFamily="34" charset="0"/>
            </a:endParaRPr>
          </a:p>
        </p:txBody>
      </p:sp>
      <p:sp>
        <p:nvSpPr>
          <p:cNvPr id="90" name="Google Shape;11;p32">
            <a:extLst>
              <a:ext uri="{FF2B5EF4-FFF2-40B4-BE49-F238E27FC236}">
                <a16:creationId xmlns:a16="http://schemas.microsoft.com/office/drawing/2014/main" id="{AFC293DA-F7D0-47F0-8A6B-0AF4080C9682}"/>
              </a:ext>
            </a:extLst>
          </p:cNvPr>
          <p:cNvSpPr txBox="1">
            <a:spLocks noGrp="1"/>
          </p:cNvSpPr>
          <p:nvPr>
            <p:custDataLst>
              <p:tags r:id="rId32"/>
            </p:custDataLst>
          </p:nvPr>
        </p:nvSpPr>
        <p:spPr bwMode="auto">
          <a:xfrm>
            <a:off x="10209213" y="6178550"/>
            <a:ext cx="2746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indent="0" algn="ctr">
              <a:spcBef>
                <a:spcPct val="0"/>
              </a:spcBef>
              <a:spcAft>
                <a:spcPct val="0"/>
              </a:spcAft>
              <a:buNone/>
            </a:pPr>
            <a:fld id="{5E6A1859-854E-40A5-B262-A803647FFE40}" type="datetime'''''''2''''0''''''''''''''''''''''2''''''''''9'''''''">
              <a:rPr lang="nl-NL" altLang="en-US" sz="1000" smtClean="0">
                <a:solidFill>
                  <a:schemeClr val="tx1"/>
                </a:solidFill>
                <a:latin typeface="Corbel" panose="020B0503020204020204" pitchFamily="34" charset="0"/>
                <a:ea typeface="+mn-ea"/>
                <a:cs typeface="+mn-cs"/>
                <a:sym typeface="Corbel" panose="020B0503020204020204" pitchFamily="34" charset="0"/>
              </a:rPr>
              <a:pPr marL="0" indent="0" algn="ctr">
                <a:spcBef>
                  <a:spcPct val="0"/>
                </a:spcBef>
                <a:spcAft>
                  <a:spcPct val="0"/>
                </a:spcAft>
                <a:buNone/>
              </a:pPr>
              <a:t>2029</a:t>
            </a:fld>
            <a:endParaRPr lang="nl-NL" sz="1000" dirty="0">
              <a:solidFill>
                <a:schemeClr val="tx1"/>
              </a:solidFill>
              <a:latin typeface="Corbel" panose="020B0503020204020204" pitchFamily="34" charset="0"/>
              <a:ea typeface="+mn-ea"/>
              <a:cs typeface="+mn-cs"/>
              <a:sym typeface="Corbel" panose="020B0503020204020204" pitchFamily="34" charset="0"/>
            </a:endParaRPr>
          </a:p>
        </p:txBody>
      </p:sp>
      <p:sp>
        <p:nvSpPr>
          <p:cNvPr id="91" name="Google Shape;11;p32">
            <a:extLst>
              <a:ext uri="{FF2B5EF4-FFF2-40B4-BE49-F238E27FC236}">
                <a16:creationId xmlns:a16="http://schemas.microsoft.com/office/drawing/2014/main" id="{55D6459F-3E88-4207-8DDB-D604780E2C21}"/>
              </a:ext>
            </a:extLst>
          </p:cNvPr>
          <p:cNvSpPr txBox="1">
            <a:spLocks noGrp="1"/>
          </p:cNvSpPr>
          <p:nvPr>
            <p:custDataLst>
              <p:tags r:id="rId33"/>
            </p:custDataLst>
          </p:nvPr>
        </p:nvSpPr>
        <p:spPr bwMode="auto">
          <a:xfrm>
            <a:off x="10915651" y="6178550"/>
            <a:ext cx="2651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indent="0" algn="ctr">
              <a:spcBef>
                <a:spcPct val="0"/>
              </a:spcBef>
              <a:spcAft>
                <a:spcPct val="0"/>
              </a:spcAft>
              <a:buNone/>
            </a:pPr>
            <a:fld id="{412886AF-6DB8-4D08-BD3D-ECC2689DD5B9}" type="datetime'2''''''''''''0''''''''''''''''''3''''''''''''''''''0'''">
              <a:rPr lang="nl-NL" altLang="en-US" sz="1000" smtClean="0">
                <a:solidFill>
                  <a:schemeClr val="tx1"/>
                </a:solidFill>
                <a:latin typeface="Corbel" panose="020B0503020204020204" pitchFamily="34" charset="0"/>
                <a:ea typeface="+mn-ea"/>
                <a:cs typeface="+mn-cs"/>
                <a:sym typeface="Corbel" panose="020B0503020204020204" pitchFamily="34" charset="0"/>
              </a:rPr>
              <a:pPr marL="0" indent="0" algn="ctr">
                <a:spcBef>
                  <a:spcPct val="0"/>
                </a:spcBef>
                <a:spcAft>
                  <a:spcPct val="0"/>
                </a:spcAft>
                <a:buNone/>
              </a:pPr>
              <a:t>2030</a:t>
            </a:fld>
            <a:endParaRPr lang="nl-NL" sz="1000" dirty="0">
              <a:solidFill>
                <a:schemeClr val="tx1"/>
              </a:solidFill>
              <a:latin typeface="Corbel" panose="020B0503020204020204" pitchFamily="34" charset="0"/>
              <a:ea typeface="+mn-ea"/>
              <a:cs typeface="+mn-cs"/>
              <a:sym typeface="Corbel" panose="020B0503020204020204" pitchFamily="34" charset="0"/>
            </a:endParaRPr>
          </a:p>
        </p:txBody>
      </p:sp>
      <p:sp>
        <p:nvSpPr>
          <p:cNvPr id="204" name="Text Placeholder 5">
            <a:extLst>
              <a:ext uri="{FF2B5EF4-FFF2-40B4-BE49-F238E27FC236}">
                <a16:creationId xmlns:a16="http://schemas.microsoft.com/office/drawing/2014/main" id="{4B9982FA-94CE-476E-98B9-AED20350F85D}"/>
              </a:ext>
            </a:extLst>
          </p:cNvPr>
          <p:cNvSpPr>
            <a:spLocks noGrp="1"/>
          </p:cNvSpPr>
          <p:nvPr>
            <p:custDataLst>
              <p:tags r:id="rId34"/>
            </p:custDataLst>
          </p:nvPr>
        </p:nvSpPr>
        <p:spPr bwMode="gray">
          <a:xfrm>
            <a:off x="1849439" y="5881688"/>
            <a:ext cx="1571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56B0613D-6718-46C7-AB06-83155226295F}" type="datetime'''''''1''''''''''''''''''''''''''''''''''''''''''4'''''''''">
              <a:rPr lang="nl-NL" altLang="en-US" sz="1000" smtClean="0">
                <a:solidFill>
                  <a:schemeClr val="tx1"/>
                </a:solidFill>
              </a:rPr>
              <a:pPr/>
              <a:t>14</a:t>
            </a:fld>
            <a:endParaRPr lang="nl-NL" sz="1000" noProof="0" dirty="0">
              <a:solidFill>
                <a:schemeClr val="tx1"/>
              </a:solidFill>
              <a:sym typeface="Corbel" panose="020B0503020204020204" pitchFamily="34" charset="0"/>
            </a:endParaRPr>
          </a:p>
        </p:txBody>
      </p:sp>
      <p:sp>
        <p:nvSpPr>
          <p:cNvPr id="206" name="Text Placeholder 5">
            <a:extLst>
              <a:ext uri="{FF2B5EF4-FFF2-40B4-BE49-F238E27FC236}">
                <a16:creationId xmlns:a16="http://schemas.microsoft.com/office/drawing/2014/main" id="{4B9982FA-94CE-476E-98B9-AED20350F85D}"/>
              </a:ext>
            </a:extLst>
          </p:cNvPr>
          <p:cNvSpPr>
            <a:spLocks noGrp="1"/>
          </p:cNvSpPr>
          <p:nvPr>
            <p:custDataLst>
              <p:tags r:id="rId35"/>
            </p:custDataLst>
          </p:nvPr>
        </p:nvSpPr>
        <p:spPr bwMode="gray">
          <a:xfrm>
            <a:off x="2555875" y="5861050"/>
            <a:ext cx="1460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826809BF-5ED1-4559-A0BC-097081DCD1CB}" type="datetime'''''''''''''''''''''''''''''''''1''''''''7'''''">
              <a:rPr lang="nl-NL" altLang="en-US" sz="1000" smtClean="0">
                <a:solidFill>
                  <a:schemeClr val="tx1"/>
                </a:solidFill>
              </a:rPr>
              <a:pPr/>
              <a:t>17</a:t>
            </a:fld>
            <a:endParaRPr lang="nl-NL" sz="1000" noProof="0" dirty="0">
              <a:solidFill>
                <a:schemeClr val="tx1"/>
              </a:solidFill>
              <a:sym typeface="Corbel" panose="020B0503020204020204" pitchFamily="34" charset="0"/>
            </a:endParaRPr>
          </a:p>
        </p:txBody>
      </p:sp>
      <p:sp>
        <p:nvSpPr>
          <p:cNvPr id="207" name="Text Placeholder 5">
            <a:extLst>
              <a:ext uri="{FF2B5EF4-FFF2-40B4-BE49-F238E27FC236}">
                <a16:creationId xmlns:a16="http://schemas.microsoft.com/office/drawing/2014/main" id="{4B9982FA-94CE-476E-98B9-AED20350F85D}"/>
              </a:ext>
            </a:extLst>
          </p:cNvPr>
          <p:cNvSpPr>
            <a:spLocks noGrp="1"/>
          </p:cNvSpPr>
          <p:nvPr>
            <p:custDataLst>
              <p:tags r:id="rId36"/>
            </p:custDataLst>
          </p:nvPr>
        </p:nvSpPr>
        <p:spPr bwMode="gray">
          <a:xfrm>
            <a:off x="3251200" y="5846763"/>
            <a:ext cx="1587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47AE7A75-CC2E-48DD-AF00-A7B85E237EEC}" type="datetime'''''''''''''''''''1''''''''''''''''''''''''''''''''9'''''">
              <a:rPr lang="nl-NL" altLang="en-US" sz="1000" smtClean="0">
                <a:solidFill>
                  <a:schemeClr val="tx1"/>
                </a:solidFill>
              </a:rPr>
              <a:pPr/>
              <a:t>19</a:t>
            </a:fld>
            <a:endParaRPr lang="nl-NL" sz="1000" noProof="0" dirty="0">
              <a:solidFill>
                <a:schemeClr val="tx1"/>
              </a:solidFill>
              <a:sym typeface="Corbel" panose="020B0503020204020204" pitchFamily="34" charset="0"/>
            </a:endParaRPr>
          </a:p>
        </p:txBody>
      </p:sp>
      <p:sp>
        <p:nvSpPr>
          <p:cNvPr id="208" name="Text Placeholder 5">
            <a:extLst>
              <a:ext uri="{FF2B5EF4-FFF2-40B4-BE49-F238E27FC236}">
                <a16:creationId xmlns:a16="http://schemas.microsoft.com/office/drawing/2014/main" id="{4B9982FA-94CE-476E-98B9-AED20350F85D}"/>
              </a:ext>
            </a:extLst>
          </p:cNvPr>
          <p:cNvSpPr>
            <a:spLocks noGrp="1"/>
          </p:cNvSpPr>
          <p:nvPr>
            <p:custDataLst>
              <p:tags r:id="rId37"/>
            </p:custDataLst>
          </p:nvPr>
        </p:nvSpPr>
        <p:spPr bwMode="gray">
          <a:xfrm>
            <a:off x="3949700" y="5840413"/>
            <a:ext cx="165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B2C4C255-6F86-437E-A5C3-FAF22CF2FEB5}" type="datetime'''''''2''''''''''''''''''''0'''''''''''''''''''''''''">
              <a:rPr lang="nl-NL" altLang="en-US" sz="1000" smtClean="0">
                <a:solidFill>
                  <a:schemeClr val="tx1"/>
                </a:solidFill>
              </a:rPr>
              <a:pPr/>
              <a:t>20</a:t>
            </a:fld>
            <a:endParaRPr lang="nl-NL" sz="1000" noProof="0" dirty="0">
              <a:solidFill>
                <a:schemeClr val="tx1"/>
              </a:solidFill>
              <a:sym typeface="Corbel" panose="020B0503020204020204" pitchFamily="34" charset="0"/>
            </a:endParaRPr>
          </a:p>
        </p:txBody>
      </p:sp>
      <p:sp>
        <p:nvSpPr>
          <p:cNvPr id="209" name="Text Placeholder 5">
            <a:extLst>
              <a:ext uri="{FF2B5EF4-FFF2-40B4-BE49-F238E27FC236}">
                <a16:creationId xmlns:a16="http://schemas.microsoft.com/office/drawing/2014/main" id="{4B9982FA-94CE-476E-98B9-AED20350F85D}"/>
              </a:ext>
            </a:extLst>
          </p:cNvPr>
          <p:cNvSpPr>
            <a:spLocks noGrp="1"/>
          </p:cNvSpPr>
          <p:nvPr>
            <p:custDataLst>
              <p:tags r:id="rId38"/>
            </p:custDataLst>
          </p:nvPr>
        </p:nvSpPr>
        <p:spPr bwMode="gray">
          <a:xfrm>
            <a:off x="4656139" y="5832475"/>
            <a:ext cx="1571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8B043BA4-36E2-42E6-A37A-1A8EA3E54C0E}" type="datetime'''''''''2''''''''''''''''''''''''''1'''''''''''">
              <a:rPr lang="nl-NL" altLang="en-US" sz="1000" smtClean="0">
                <a:solidFill>
                  <a:schemeClr val="tx1"/>
                </a:solidFill>
              </a:rPr>
              <a:pPr/>
              <a:t>21</a:t>
            </a:fld>
            <a:endParaRPr lang="nl-NL" sz="1000" noProof="0" dirty="0">
              <a:solidFill>
                <a:schemeClr val="tx1"/>
              </a:solidFill>
              <a:sym typeface="Corbel" panose="020B0503020204020204" pitchFamily="34" charset="0"/>
            </a:endParaRPr>
          </a:p>
        </p:txBody>
      </p:sp>
      <p:sp>
        <p:nvSpPr>
          <p:cNvPr id="228" name="Text Placeholder 5">
            <a:extLst>
              <a:ext uri="{FF2B5EF4-FFF2-40B4-BE49-F238E27FC236}">
                <a16:creationId xmlns:a16="http://schemas.microsoft.com/office/drawing/2014/main" id="{4B9982FA-94CE-476E-98B9-AED20350F85D}"/>
              </a:ext>
            </a:extLst>
          </p:cNvPr>
          <p:cNvSpPr>
            <a:spLocks noGrp="1"/>
          </p:cNvSpPr>
          <p:nvPr>
            <p:custDataLst>
              <p:tags r:id="rId39"/>
            </p:custDataLst>
          </p:nvPr>
        </p:nvSpPr>
        <p:spPr bwMode="gray">
          <a:xfrm>
            <a:off x="5357813" y="5822950"/>
            <a:ext cx="1571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12D5F4F9-24B4-456E-9928-989608FC9EEB}" type="datetime'''''''''''''''''''''''''''''2''''''''3'''''''''''''''''''''''">
              <a:rPr lang="nl-NL" altLang="en-US" sz="1000" smtClean="0">
                <a:solidFill>
                  <a:schemeClr val="tx1"/>
                </a:solidFill>
              </a:rPr>
              <a:pPr/>
              <a:t>23</a:t>
            </a:fld>
            <a:endParaRPr lang="nl-NL" sz="1000" noProof="0" dirty="0">
              <a:solidFill>
                <a:schemeClr val="tx1"/>
              </a:solidFill>
              <a:sym typeface="Corbel" panose="020B0503020204020204" pitchFamily="34" charset="0"/>
            </a:endParaRPr>
          </a:p>
        </p:txBody>
      </p:sp>
      <p:sp>
        <p:nvSpPr>
          <p:cNvPr id="229" name="Text Placeholder 5">
            <a:extLst>
              <a:ext uri="{FF2B5EF4-FFF2-40B4-BE49-F238E27FC236}">
                <a16:creationId xmlns:a16="http://schemas.microsoft.com/office/drawing/2014/main" id="{4B9982FA-94CE-476E-98B9-AED20350F85D}"/>
              </a:ext>
            </a:extLst>
          </p:cNvPr>
          <p:cNvSpPr>
            <a:spLocks noGrp="1"/>
          </p:cNvSpPr>
          <p:nvPr>
            <p:custDataLst>
              <p:tags r:id="rId40"/>
            </p:custDataLst>
          </p:nvPr>
        </p:nvSpPr>
        <p:spPr bwMode="gray">
          <a:xfrm>
            <a:off x="6054725" y="5813425"/>
            <a:ext cx="165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F52354C2-8DA7-432E-AE61-A853928799FF}" type="datetime'''''''''''''''''''''''''2''''''''''4'''''''''''''''''">
              <a:rPr lang="nl-NL" altLang="en-US" sz="1000" smtClean="0">
                <a:solidFill>
                  <a:schemeClr val="tx1"/>
                </a:solidFill>
              </a:rPr>
              <a:pPr/>
              <a:t>24</a:t>
            </a:fld>
            <a:endParaRPr lang="nl-NL" sz="1000" noProof="0" dirty="0">
              <a:solidFill>
                <a:schemeClr val="tx1"/>
              </a:solidFill>
              <a:sym typeface="Corbel" panose="020B0503020204020204" pitchFamily="34" charset="0"/>
            </a:endParaRPr>
          </a:p>
        </p:txBody>
      </p:sp>
      <p:sp>
        <p:nvSpPr>
          <p:cNvPr id="230" name="Text Placeholder 5">
            <a:extLst>
              <a:ext uri="{FF2B5EF4-FFF2-40B4-BE49-F238E27FC236}">
                <a16:creationId xmlns:a16="http://schemas.microsoft.com/office/drawing/2014/main" id="{4B9982FA-94CE-476E-98B9-AED20350F85D}"/>
              </a:ext>
            </a:extLst>
          </p:cNvPr>
          <p:cNvSpPr>
            <a:spLocks noGrp="1"/>
          </p:cNvSpPr>
          <p:nvPr>
            <p:custDataLst>
              <p:tags r:id="rId41"/>
            </p:custDataLst>
          </p:nvPr>
        </p:nvSpPr>
        <p:spPr bwMode="gray">
          <a:xfrm>
            <a:off x="6757988" y="5803900"/>
            <a:ext cx="1603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7D8CC2D2-46EC-4890-BA66-32E3F530180F}" type="datetime'''''''''''''''''''2''''''''''''''''''''''''''''''5'''">
              <a:rPr lang="nl-NL" altLang="en-US" sz="1000" smtClean="0">
                <a:solidFill>
                  <a:schemeClr val="tx1"/>
                </a:solidFill>
              </a:rPr>
              <a:pPr/>
              <a:t>25</a:t>
            </a:fld>
            <a:endParaRPr lang="nl-NL" sz="1000" noProof="0" dirty="0">
              <a:solidFill>
                <a:schemeClr val="tx1"/>
              </a:solidFill>
              <a:sym typeface="Corbel" panose="020B0503020204020204" pitchFamily="34" charset="0"/>
            </a:endParaRPr>
          </a:p>
        </p:txBody>
      </p:sp>
      <p:sp>
        <p:nvSpPr>
          <p:cNvPr id="231" name="Text Placeholder 5">
            <a:extLst>
              <a:ext uri="{FF2B5EF4-FFF2-40B4-BE49-F238E27FC236}">
                <a16:creationId xmlns:a16="http://schemas.microsoft.com/office/drawing/2014/main" id="{4B9982FA-94CE-476E-98B9-AED20350F85D}"/>
              </a:ext>
            </a:extLst>
          </p:cNvPr>
          <p:cNvSpPr>
            <a:spLocks noGrp="1"/>
          </p:cNvSpPr>
          <p:nvPr>
            <p:custDataLst>
              <p:tags r:id="rId42"/>
            </p:custDataLst>
          </p:nvPr>
        </p:nvSpPr>
        <p:spPr bwMode="gray">
          <a:xfrm>
            <a:off x="7462838" y="5794375"/>
            <a:ext cx="1539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BEE11B79-06AB-4017-B586-86E40CE50855}" type="datetime'27'''''''''''''''''''''''''''''''''''''">
              <a:rPr lang="nl-NL" altLang="en-US" sz="1000" smtClean="0">
                <a:solidFill>
                  <a:schemeClr val="tx1"/>
                </a:solidFill>
              </a:rPr>
              <a:pPr/>
              <a:t>27</a:t>
            </a:fld>
            <a:endParaRPr lang="nl-NL" sz="1000" noProof="0" dirty="0">
              <a:solidFill>
                <a:schemeClr val="tx1"/>
              </a:solidFill>
              <a:sym typeface="Corbel" panose="020B0503020204020204" pitchFamily="34" charset="0"/>
            </a:endParaRPr>
          </a:p>
        </p:txBody>
      </p:sp>
      <p:sp>
        <p:nvSpPr>
          <p:cNvPr id="232" name="Text Placeholder 5">
            <a:extLst>
              <a:ext uri="{FF2B5EF4-FFF2-40B4-BE49-F238E27FC236}">
                <a16:creationId xmlns:a16="http://schemas.microsoft.com/office/drawing/2014/main" id="{4B9982FA-94CE-476E-98B9-AED20350F85D}"/>
              </a:ext>
            </a:extLst>
          </p:cNvPr>
          <p:cNvSpPr>
            <a:spLocks noGrp="1"/>
          </p:cNvSpPr>
          <p:nvPr>
            <p:custDataLst>
              <p:tags r:id="rId43"/>
            </p:custDataLst>
          </p:nvPr>
        </p:nvSpPr>
        <p:spPr bwMode="gray">
          <a:xfrm>
            <a:off x="8158163" y="5786438"/>
            <a:ext cx="165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9D1969BA-7D6D-4039-951E-565F336DE5AA}" type="datetime'''''''''''''''''''''''2''''''''''''''''''8'''''''''''''''''">
              <a:rPr lang="nl-NL" altLang="en-US" sz="1000" smtClean="0">
                <a:solidFill>
                  <a:schemeClr val="tx1"/>
                </a:solidFill>
              </a:rPr>
              <a:pPr/>
              <a:t>28</a:t>
            </a:fld>
            <a:endParaRPr lang="nl-NL" sz="1000" noProof="0" dirty="0">
              <a:solidFill>
                <a:schemeClr val="tx1"/>
              </a:solidFill>
              <a:sym typeface="Corbel" panose="020B0503020204020204" pitchFamily="34" charset="0"/>
            </a:endParaRPr>
          </a:p>
        </p:txBody>
      </p:sp>
      <p:sp>
        <p:nvSpPr>
          <p:cNvPr id="233" name="Text Placeholder 5">
            <a:extLst>
              <a:ext uri="{FF2B5EF4-FFF2-40B4-BE49-F238E27FC236}">
                <a16:creationId xmlns:a16="http://schemas.microsoft.com/office/drawing/2014/main" id="{4B9982FA-94CE-476E-98B9-AED20350F85D}"/>
              </a:ext>
            </a:extLst>
          </p:cNvPr>
          <p:cNvSpPr>
            <a:spLocks noGrp="1"/>
          </p:cNvSpPr>
          <p:nvPr>
            <p:custDataLst>
              <p:tags r:id="rId44"/>
            </p:custDataLst>
          </p:nvPr>
        </p:nvSpPr>
        <p:spPr bwMode="gray">
          <a:xfrm>
            <a:off x="8859838" y="5778500"/>
            <a:ext cx="166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B6747A71-EC8B-4CF3-993C-EEA7EAE4F57E}" type="datetime'''''''''''''''''''''2''9'''''''''''''''''''''''">
              <a:rPr lang="nl-NL" altLang="en-US" sz="1000" smtClean="0">
                <a:solidFill>
                  <a:schemeClr val="tx1"/>
                </a:solidFill>
              </a:rPr>
              <a:pPr/>
              <a:t>29</a:t>
            </a:fld>
            <a:endParaRPr lang="nl-NL" sz="1000" noProof="0" dirty="0">
              <a:solidFill>
                <a:schemeClr val="tx1"/>
              </a:solidFill>
              <a:sym typeface="Corbel" panose="020B0503020204020204" pitchFamily="34" charset="0"/>
            </a:endParaRPr>
          </a:p>
        </p:txBody>
      </p:sp>
      <p:sp>
        <p:nvSpPr>
          <p:cNvPr id="234" name="Text Placeholder 5">
            <a:extLst>
              <a:ext uri="{FF2B5EF4-FFF2-40B4-BE49-F238E27FC236}">
                <a16:creationId xmlns:a16="http://schemas.microsoft.com/office/drawing/2014/main" id="{4B9982FA-94CE-476E-98B9-AED20350F85D}"/>
              </a:ext>
            </a:extLst>
          </p:cNvPr>
          <p:cNvSpPr>
            <a:spLocks noGrp="1"/>
          </p:cNvSpPr>
          <p:nvPr>
            <p:custDataLst>
              <p:tags r:id="rId45"/>
            </p:custDataLst>
          </p:nvPr>
        </p:nvSpPr>
        <p:spPr bwMode="gray">
          <a:xfrm>
            <a:off x="9569450" y="5770563"/>
            <a:ext cx="1492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79598F24-ADB8-4086-B2A8-FDB2B2463BFB}" type="datetime'''''''''''''''''''''''''''''''''''''''''''''''''31'''''''">
              <a:rPr lang="nl-NL" altLang="en-US" sz="1000" smtClean="0">
                <a:solidFill>
                  <a:schemeClr val="tx1"/>
                </a:solidFill>
              </a:rPr>
              <a:pPr/>
              <a:t>31</a:t>
            </a:fld>
            <a:endParaRPr lang="nl-NL" sz="1000" noProof="0" dirty="0">
              <a:solidFill>
                <a:schemeClr val="tx1"/>
              </a:solidFill>
              <a:sym typeface="Corbel" panose="020B0503020204020204" pitchFamily="34" charset="0"/>
            </a:endParaRPr>
          </a:p>
        </p:txBody>
      </p:sp>
      <p:sp>
        <p:nvSpPr>
          <p:cNvPr id="235" name="Text Placeholder 5">
            <a:extLst>
              <a:ext uri="{FF2B5EF4-FFF2-40B4-BE49-F238E27FC236}">
                <a16:creationId xmlns:a16="http://schemas.microsoft.com/office/drawing/2014/main" id="{4B9982FA-94CE-476E-98B9-AED20350F85D}"/>
              </a:ext>
            </a:extLst>
          </p:cNvPr>
          <p:cNvSpPr>
            <a:spLocks noGrp="1"/>
          </p:cNvSpPr>
          <p:nvPr>
            <p:custDataLst>
              <p:tags r:id="rId46"/>
            </p:custDataLst>
          </p:nvPr>
        </p:nvSpPr>
        <p:spPr bwMode="gray">
          <a:xfrm>
            <a:off x="10267951" y="5762625"/>
            <a:ext cx="1571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BADFEFEC-311A-4B6E-90EE-4F3E65236C10}" type="datetime'''''3''''''''''''''''''''''''''''''''''''''2'">
              <a:rPr lang="nl-NL" altLang="en-US" sz="1000" smtClean="0">
                <a:solidFill>
                  <a:schemeClr val="tx1"/>
                </a:solidFill>
              </a:rPr>
              <a:pPr/>
              <a:t>32</a:t>
            </a:fld>
            <a:endParaRPr lang="nl-NL" sz="1000" noProof="0" dirty="0">
              <a:solidFill>
                <a:schemeClr val="tx1"/>
              </a:solidFill>
              <a:sym typeface="Corbel" panose="020B0503020204020204" pitchFamily="34" charset="0"/>
            </a:endParaRPr>
          </a:p>
        </p:txBody>
      </p:sp>
      <p:sp>
        <p:nvSpPr>
          <p:cNvPr id="236" name="Text Placeholder 5">
            <a:extLst>
              <a:ext uri="{FF2B5EF4-FFF2-40B4-BE49-F238E27FC236}">
                <a16:creationId xmlns:a16="http://schemas.microsoft.com/office/drawing/2014/main" id="{4B9982FA-94CE-476E-98B9-AED20350F85D}"/>
              </a:ext>
            </a:extLst>
          </p:cNvPr>
          <p:cNvSpPr>
            <a:spLocks noGrp="1"/>
          </p:cNvSpPr>
          <p:nvPr>
            <p:custDataLst>
              <p:tags r:id="rId47"/>
            </p:custDataLst>
          </p:nvPr>
        </p:nvSpPr>
        <p:spPr bwMode="gray">
          <a:xfrm>
            <a:off x="10972801" y="5753100"/>
            <a:ext cx="1492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29602B7C-A7DD-4F96-83F8-7D0164849430}" type="datetime'''''''''''''''''''''''''''''''''''''''''33'''''''''''''''''''">
              <a:rPr lang="nl-NL" altLang="en-US" sz="1000" smtClean="0">
                <a:solidFill>
                  <a:schemeClr val="tx1"/>
                </a:solidFill>
              </a:rPr>
              <a:pPr/>
              <a:t>33</a:t>
            </a:fld>
            <a:endParaRPr lang="nl-NL" sz="1000" noProof="0" dirty="0">
              <a:solidFill>
                <a:schemeClr val="tx1"/>
              </a:solidFill>
              <a:sym typeface="Corbel" panose="020B0503020204020204" pitchFamily="34" charset="0"/>
            </a:endParaRPr>
          </a:p>
        </p:txBody>
      </p:sp>
      <p:sp>
        <p:nvSpPr>
          <p:cNvPr id="119" name="Rectangle 118">
            <a:extLst>
              <a:ext uri="{FF2B5EF4-FFF2-40B4-BE49-F238E27FC236}">
                <a16:creationId xmlns:a16="http://schemas.microsoft.com/office/drawing/2014/main" id="{0A8A6877-19B3-47B3-94BA-51AD5A9ABABF}"/>
              </a:ext>
            </a:extLst>
          </p:cNvPr>
          <p:cNvSpPr/>
          <p:nvPr/>
        </p:nvSpPr>
        <p:spPr>
          <a:xfrm>
            <a:off x="676078" y="3273425"/>
            <a:ext cx="10857109" cy="647700"/>
          </a:xfrm>
          <a:prstGeom prst="rect">
            <a:avLst/>
          </a:prstGeom>
          <a:solidFill>
            <a:schemeClr val="bg1">
              <a:lumMod val="95000"/>
            </a:schemeClr>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0" indent="0" defTabSz="685800">
              <a:lnSpc>
                <a:spcPct val="90000"/>
              </a:lnSpc>
              <a:spcBef>
                <a:spcPts val="375"/>
              </a:spcBef>
              <a:buClr>
                <a:schemeClr val="accent1"/>
              </a:buClr>
              <a:buNone/>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rPr>
              <a:t>Wmo-gebruikers</a:t>
            </a:r>
            <a:br>
              <a:rPr kumimoji="0" lang="nl-NL" sz="1000" b="1" i="0" u="none" strike="noStrike" kern="1200" cap="none" spc="0" normalizeH="0" baseline="0" noProof="0" dirty="0">
                <a:ln>
                  <a:noFill/>
                </a:ln>
                <a:solidFill>
                  <a:srgbClr val="000000"/>
                </a:solidFill>
                <a:effectLst/>
                <a:uLnTx/>
                <a:uFillTx/>
                <a:latin typeface="Corbel" panose="020B0503020204020204" pitchFamily="34" charset="0"/>
              </a:rPr>
            </a:br>
            <a:r>
              <a:rPr lang="nl-NL" sz="1000" dirty="0">
                <a:solidFill>
                  <a:srgbClr val="000000"/>
                </a:solidFill>
                <a:latin typeface="Corbel" panose="020B0503020204020204" pitchFamily="34" charset="0"/>
              </a:rPr>
              <a:t>‘000</a:t>
            </a:r>
            <a:endParaRPr kumimoji="0" lang="nl-NL" sz="1000" i="0" u="none" strike="noStrike" kern="1200" cap="none" spc="0" normalizeH="0" baseline="0" noProof="0" dirty="0">
              <a:ln>
                <a:noFill/>
              </a:ln>
              <a:solidFill>
                <a:srgbClr val="000000"/>
              </a:solidFill>
              <a:effectLst/>
              <a:uLnTx/>
              <a:uFillTx/>
            </a:endParaRPr>
          </a:p>
        </p:txBody>
      </p:sp>
      <p:graphicFrame>
        <p:nvGraphicFramePr>
          <p:cNvPr id="263" name="Chart 262">
            <a:extLst>
              <a:ext uri="{FF2B5EF4-FFF2-40B4-BE49-F238E27FC236}">
                <a16:creationId xmlns:a16="http://schemas.microsoft.com/office/drawing/2014/main" id="{F125C53B-4A41-4CC7-BE94-0DCF6BA97234}"/>
              </a:ext>
            </a:extLst>
          </p:cNvPr>
          <p:cNvGraphicFramePr/>
          <p:nvPr>
            <p:custDataLst>
              <p:tags r:id="rId48"/>
            </p:custDataLst>
            <p:extLst>
              <p:ext uri="{D42A27DB-BD31-4B8C-83A1-F6EECF244321}">
                <p14:modId xmlns:p14="http://schemas.microsoft.com/office/powerpoint/2010/main" val="436895267"/>
              </p:ext>
            </p:extLst>
          </p:nvPr>
        </p:nvGraphicFramePr>
        <p:xfrm>
          <a:off x="1493838" y="2636838"/>
          <a:ext cx="9986962" cy="631825"/>
        </p:xfrm>
        <a:graphic>
          <a:graphicData uri="http://schemas.openxmlformats.org/drawingml/2006/chart">
            <c:chart xmlns:c="http://schemas.openxmlformats.org/drawingml/2006/chart" xmlns:r="http://schemas.openxmlformats.org/officeDocument/2006/relationships" r:id="rId70"/>
          </a:graphicData>
        </a:graphic>
      </p:graphicFrame>
      <p:graphicFrame>
        <p:nvGraphicFramePr>
          <p:cNvPr id="260" name="Chart 259">
            <a:extLst>
              <a:ext uri="{FF2B5EF4-FFF2-40B4-BE49-F238E27FC236}">
                <a16:creationId xmlns:a16="http://schemas.microsoft.com/office/drawing/2014/main" id="{DB6A0DCE-4F11-4D36-B59E-E173ED8CC065}"/>
              </a:ext>
            </a:extLst>
          </p:cNvPr>
          <p:cNvGraphicFramePr/>
          <p:nvPr>
            <p:custDataLst>
              <p:tags r:id="rId49"/>
            </p:custDataLst>
            <p:extLst>
              <p:ext uri="{D42A27DB-BD31-4B8C-83A1-F6EECF244321}">
                <p14:modId xmlns:p14="http://schemas.microsoft.com/office/powerpoint/2010/main" val="4195961291"/>
              </p:ext>
            </p:extLst>
          </p:nvPr>
        </p:nvGraphicFramePr>
        <p:xfrm>
          <a:off x="1493838" y="3406775"/>
          <a:ext cx="9986962" cy="525463"/>
        </p:xfrm>
        <a:graphic>
          <a:graphicData uri="http://schemas.openxmlformats.org/drawingml/2006/chart">
            <c:chart xmlns:c="http://schemas.openxmlformats.org/drawingml/2006/chart" xmlns:r="http://schemas.openxmlformats.org/officeDocument/2006/relationships" r:id="rId71"/>
          </a:graphicData>
        </a:graphic>
      </p:graphicFrame>
      <p:sp>
        <p:nvSpPr>
          <p:cNvPr id="251" name="Text Placeholder 5">
            <a:extLst>
              <a:ext uri="{FF2B5EF4-FFF2-40B4-BE49-F238E27FC236}">
                <a16:creationId xmlns:a16="http://schemas.microsoft.com/office/drawing/2014/main" id="{4B9982FA-94CE-476E-98B9-AED20350F85D}"/>
              </a:ext>
            </a:extLst>
          </p:cNvPr>
          <p:cNvSpPr>
            <a:spLocks noGrp="1"/>
          </p:cNvSpPr>
          <p:nvPr>
            <p:custDataLst>
              <p:tags r:id="rId50"/>
            </p:custDataLst>
          </p:nvPr>
        </p:nvSpPr>
        <p:spPr bwMode="gray">
          <a:xfrm>
            <a:off x="6754813" y="3384550"/>
            <a:ext cx="166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00EF7AAF-8F61-4D50-BB4F-D8FEBF034720}" type="datetime'''''''''''''''''2''6'''''''''''''''''''''''''''''''''">
              <a:rPr lang="nl-NL" altLang="en-US" sz="1000" smtClean="0">
                <a:solidFill>
                  <a:schemeClr val="tx1"/>
                </a:solidFill>
              </a:rPr>
              <a:pPr/>
              <a:t>26</a:t>
            </a:fld>
            <a:endParaRPr lang="nl-NL" sz="1000" noProof="0" dirty="0">
              <a:solidFill>
                <a:schemeClr val="tx1"/>
              </a:solidFill>
              <a:sym typeface="Corbel" panose="020B0503020204020204" pitchFamily="34" charset="0"/>
            </a:endParaRPr>
          </a:p>
        </p:txBody>
      </p:sp>
      <p:sp>
        <p:nvSpPr>
          <p:cNvPr id="249" name="Text Placeholder 5">
            <a:extLst>
              <a:ext uri="{FF2B5EF4-FFF2-40B4-BE49-F238E27FC236}">
                <a16:creationId xmlns:a16="http://schemas.microsoft.com/office/drawing/2014/main" id="{4B9982FA-94CE-476E-98B9-AED20350F85D}"/>
              </a:ext>
            </a:extLst>
          </p:cNvPr>
          <p:cNvSpPr>
            <a:spLocks noGrp="1"/>
          </p:cNvSpPr>
          <p:nvPr>
            <p:custDataLst>
              <p:tags r:id="rId51"/>
            </p:custDataLst>
          </p:nvPr>
        </p:nvSpPr>
        <p:spPr bwMode="gray">
          <a:xfrm>
            <a:off x="5356225" y="3402013"/>
            <a:ext cx="1603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70A3C16E-5AAC-4E41-BD83-AF2C948C4E2D}" type="datetime'''''''''''''''''''''''''''''''''2''''''5'''''''''">
              <a:rPr lang="nl-NL" altLang="en-US" sz="1000" smtClean="0">
                <a:solidFill>
                  <a:schemeClr val="tx1"/>
                </a:solidFill>
              </a:rPr>
              <a:pPr/>
              <a:t>25</a:t>
            </a:fld>
            <a:endParaRPr lang="nl-NL" sz="1000" noProof="0" dirty="0">
              <a:solidFill>
                <a:schemeClr val="tx1"/>
              </a:solidFill>
              <a:sym typeface="Corbel" panose="020B0503020204020204" pitchFamily="34" charset="0"/>
            </a:endParaRPr>
          </a:p>
        </p:txBody>
      </p:sp>
      <p:sp>
        <p:nvSpPr>
          <p:cNvPr id="245" name="Text Placeholder 5">
            <a:extLst>
              <a:ext uri="{FF2B5EF4-FFF2-40B4-BE49-F238E27FC236}">
                <a16:creationId xmlns:a16="http://schemas.microsoft.com/office/drawing/2014/main" id="{4B9982FA-94CE-476E-98B9-AED20350F85D}"/>
              </a:ext>
            </a:extLst>
          </p:cNvPr>
          <p:cNvSpPr>
            <a:spLocks noGrp="1"/>
          </p:cNvSpPr>
          <p:nvPr>
            <p:custDataLst>
              <p:tags r:id="rId52"/>
            </p:custDataLst>
          </p:nvPr>
        </p:nvSpPr>
        <p:spPr bwMode="gray">
          <a:xfrm>
            <a:off x="2546350" y="3430588"/>
            <a:ext cx="165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11CC06B7-C218-4071-A7F5-F2CD8C6CE858}" type="datetime'''''''''''''''''''2''''''''''''''''''''''''''''''''''''2'''''">
              <a:rPr lang="nl-NL" altLang="en-US" sz="1000" smtClean="0">
                <a:solidFill>
                  <a:schemeClr val="tx1"/>
                </a:solidFill>
              </a:rPr>
              <a:pPr/>
              <a:t>22</a:t>
            </a:fld>
            <a:endParaRPr lang="nl-NL" sz="1000" noProof="0" dirty="0">
              <a:solidFill>
                <a:schemeClr val="tx1"/>
              </a:solidFill>
              <a:sym typeface="Corbel" panose="020B0503020204020204" pitchFamily="34" charset="0"/>
            </a:endParaRPr>
          </a:p>
        </p:txBody>
      </p:sp>
      <p:sp>
        <p:nvSpPr>
          <p:cNvPr id="244" name="Text Placeholder 5">
            <a:extLst>
              <a:ext uri="{FF2B5EF4-FFF2-40B4-BE49-F238E27FC236}">
                <a16:creationId xmlns:a16="http://schemas.microsoft.com/office/drawing/2014/main" id="{4B9982FA-94CE-476E-98B9-AED20350F85D}"/>
              </a:ext>
            </a:extLst>
          </p:cNvPr>
          <p:cNvSpPr>
            <a:spLocks noGrp="1"/>
          </p:cNvSpPr>
          <p:nvPr>
            <p:custDataLst>
              <p:tags r:id="rId53"/>
            </p:custDataLst>
          </p:nvPr>
        </p:nvSpPr>
        <p:spPr bwMode="gray">
          <a:xfrm>
            <a:off x="1844674" y="3438525"/>
            <a:ext cx="165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88FA86C2-5EC6-487D-9290-53347D722CAF}" type="datetime'''''''''''''''''''''''''''''''''''2''''''''''''''2'''''">
              <a:rPr lang="nl-NL" altLang="en-US" sz="1000" smtClean="0">
                <a:solidFill>
                  <a:schemeClr val="tx1"/>
                </a:solidFill>
              </a:rPr>
              <a:pPr/>
              <a:t>22</a:t>
            </a:fld>
            <a:endParaRPr lang="nl-NL" sz="1000" noProof="0" dirty="0">
              <a:solidFill>
                <a:schemeClr val="tx1"/>
              </a:solidFill>
              <a:sym typeface="Corbel" panose="020B0503020204020204" pitchFamily="34" charset="0"/>
            </a:endParaRPr>
          </a:p>
        </p:txBody>
      </p:sp>
      <p:sp>
        <p:nvSpPr>
          <p:cNvPr id="247" name="Text Placeholder 5">
            <a:extLst>
              <a:ext uri="{FF2B5EF4-FFF2-40B4-BE49-F238E27FC236}">
                <a16:creationId xmlns:a16="http://schemas.microsoft.com/office/drawing/2014/main" id="{4B9982FA-94CE-476E-98B9-AED20350F85D}"/>
              </a:ext>
            </a:extLst>
          </p:cNvPr>
          <p:cNvSpPr>
            <a:spLocks noGrp="1"/>
          </p:cNvSpPr>
          <p:nvPr>
            <p:custDataLst>
              <p:tags r:id="rId54"/>
            </p:custDataLst>
          </p:nvPr>
        </p:nvSpPr>
        <p:spPr bwMode="gray">
          <a:xfrm>
            <a:off x="3954464" y="3419475"/>
            <a:ext cx="1571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BBED82C8-C9CD-46FF-B6A0-96CF0773DEB8}" type="datetime'''''''''''''''''''''2''''''''''''''3'''''''''''">
              <a:rPr lang="nl-NL" altLang="en-US" sz="1000" smtClean="0">
                <a:solidFill>
                  <a:schemeClr val="tx1"/>
                </a:solidFill>
              </a:rPr>
              <a:pPr/>
              <a:t>23</a:t>
            </a:fld>
            <a:endParaRPr lang="nl-NL" sz="1000" noProof="0" dirty="0">
              <a:solidFill>
                <a:schemeClr val="tx1"/>
              </a:solidFill>
              <a:sym typeface="Corbel" panose="020B0503020204020204" pitchFamily="34" charset="0"/>
            </a:endParaRPr>
          </a:p>
        </p:txBody>
      </p:sp>
      <p:sp>
        <p:nvSpPr>
          <p:cNvPr id="246" name="Text Placeholder 5">
            <a:extLst>
              <a:ext uri="{FF2B5EF4-FFF2-40B4-BE49-F238E27FC236}">
                <a16:creationId xmlns:a16="http://schemas.microsoft.com/office/drawing/2014/main" id="{4B9982FA-94CE-476E-98B9-AED20350F85D}"/>
              </a:ext>
            </a:extLst>
          </p:cNvPr>
          <p:cNvSpPr>
            <a:spLocks noGrp="1"/>
          </p:cNvSpPr>
          <p:nvPr>
            <p:custDataLst>
              <p:tags r:id="rId55"/>
            </p:custDataLst>
          </p:nvPr>
        </p:nvSpPr>
        <p:spPr bwMode="gray">
          <a:xfrm>
            <a:off x="3252789" y="3429000"/>
            <a:ext cx="1571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78B4E005-06E8-4533-8BC7-A3DE48CB62F5}" type="datetime'''''''2''''''''3'''">
              <a:rPr lang="nl-NL" altLang="en-US" sz="1000" smtClean="0">
                <a:solidFill>
                  <a:schemeClr val="tx1"/>
                </a:solidFill>
              </a:rPr>
              <a:pPr/>
              <a:t>23</a:t>
            </a:fld>
            <a:endParaRPr lang="nl-NL" sz="1000" noProof="0" dirty="0">
              <a:solidFill>
                <a:schemeClr val="tx1"/>
              </a:solidFill>
              <a:sym typeface="Corbel" panose="020B0503020204020204" pitchFamily="34" charset="0"/>
            </a:endParaRPr>
          </a:p>
        </p:txBody>
      </p:sp>
      <p:sp>
        <p:nvSpPr>
          <p:cNvPr id="250" name="Text Placeholder 5">
            <a:extLst>
              <a:ext uri="{FF2B5EF4-FFF2-40B4-BE49-F238E27FC236}">
                <a16:creationId xmlns:a16="http://schemas.microsoft.com/office/drawing/2014/main" id="{4B9982FA-94CE-476E-98B9-AED20350F85D}"/>
              </a:ext>
            </a:extLst>
          </p:cNvPr>
          <p:cNvSpPr>
            <a:spLocks noGrp="1"/>
          </p:cNvSpPr>
          <p:nvPr>
            <p:custDataLst>
              <p:tags r:id="rId56"/>
            </p:custDataLst>
          </p:nvPr>
        </p:nvSpPr>
        <p:spPr bwMode="gray">
          <a:xfrm>
            <a:off x="6054725" y="3394075"/>
            <a:ext cx="166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64B5BDC5-463D-444D-A4F4-F00E6C028A7F}" type="datetime'''2''''''''''''''''''6'''''''''''''">
              <a:rPr lang="nl-NL" altLang="en-US" sz="1000" smtClean="0">
                <a:solidFill>
                  <a:schemeClr val="tx1"/>
                </a:solidFill>
              </a:rPr>
              <a:pPr/>
              <a:t>26</a:t>
            </a:fld>
            <a:endParaRPr lang="nl-NL" sz="1000" noProof="0" dirty="0">
              <a:solidFill>
                <a:schemeClr val="tx1"/>
              </a:solidFill>
              <a:sym typeface="Corbel" panose="020B0503020204020204" pitchFamily="34" charset="0"/>
            </a:endParaRPr>
          </a:p>
        </p:txBody>
      </p:sp>
      <p:sp>
        <p:nvSpPr>
          <p:cNvPr id="252" name="Text Placeholder 5">
            <a:extLst>
              <a:ext uri="{FF2B5EF4-FFF2-40B4-BE49-F238E27FC236}">
                <a16:creationId xmlns:a16="http://schemas.microsoft.com/office/drawing/2014/main" id="{4B9982FA-94CE-476E-98B9-AED20350F85D}"/>
              </a:ext>
            </a:extLst>
          </p:cNvPr>
          <p:cNvSpPr>
            <a:spLocks noGrp="1"/>
          </p:cNvSpPr>
          <p:nvPr>
            <p:custDataLst>
              <p:tags r:id="rId57"/>
            </p:custDataLst>
          </p:nvPr>
        </p:nvSpPr>
        <p:spPr bwMode="gray">
          <a:xfrm>
            <a:off x="7462838" y="3375025"/>
            <a:ext cx="1539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C1DC498A-A459-4A81-871E-520943B61CB4}" type="datetime'''''2''''''''''''''''''''7'">
              <a:rPr lang="nl-NL" altLang="en-US" sz="1000" smtClean="0">
                <a:solidFill>
                  <a:schemeClr val="tx1"/>
                </a:solidFill>
              </a:rPr>
              <a:pPr/>
              <a:t>27</a:t>
            </a:fld>
            <a:endParaRPr lang="nl-NL" sz="1000" noProof="0" dirty="0">
              <a:solidFill>
                <a:schemeClr val="tx1"/>
              </a:solidFill>
              <a:sym typeface="Corbel" panose="020B0503020204020204" pitchFamily="34" charset="0"/>
            </a:endParaRPr>
          </a:p>
        </p:txBody>
      </p:sp>
      <p:sp>
        <p:nvSpPr>
          <p:cNvPr id="253" name="Text Placeholder 5">
            <a:extLst>
              <a:ext uri="{FF2B5EF4-FFF2-40B4-BE49-F238E27FC236}">
                <a16:creationId xmlns:a16="http://schemas.microsoft.com/office/drawing/2014/main" id="{4B9982FA-94CE-476E-98B9-AED20350F85D}"/>
              </a:ext>
            </a:extLst>
          </p:cNvPr>
          <p:cNvSpPr>
            <a:spLocks noGrp="1"/>
          </p:cNvSpPr>
          <p:nvPr>
            <p:custDataLst>
              <p:tags r:id="rId58"/>
            </p:custDataLst>
          </p:nvPr>
        </p:nvSpPr>
        <p:spPr bwMode="gray">
          <a:xfrm>
            <a:off x="8158163" y="3365500"/>
            <a:ext cx="165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1E73DF95-9827-4BDF-A273-6D95B9E59FEA}" type="datetime'''''''''''''28'''''''''''''''">
              <a:rPr lang="nl-NL" altLang="en-US" sz="1000" smtClean="0">
                <a:solidFill>
                  <a:schemeClr val="tx1"/>
                </a:solidFill>
              </a:rPr>
              <a:pPr/>
              <a:t>28</a:t>
            </a:fld>
            <a:endParaRPr lang="nl-NL" sz="1000" noProof="0" dirty="0">
              <a:solidFill>
                <a:schemeClr val="tx1"/>
              </a:solidFill>
              <a:sym typeface="Corbel" panose="020B0503020204020204" pitchFamily="34" charset="0"/>
            </a:endParaRPr>
          </a:p>
        </p:txBody>
      </p:sp>
      <p:sp>
        <p:nvSpPr>
          <p:cNvPr id="254" name="Text Placeholder 5">
            <a:extLst>
              <a:ext uri="{FF2B5EF4-FFF2-40B4-BE49-F238E27FC236}">
                <a16:creationId xmlns:a16="http://schemas.microsoft.com/office/drawing/2014/main" id="{4B9982FA-94CE-476E-98B9-AED20350F85D}"/>
              </a:ext>
            </a:extLst>
          </p:cNvPr>
          <p:cNvSpPr>
            <a:spLocks noGrp="1"/>
          </p:cNvSpPr>
          <p:nvPr>
            <p:custDataLst>
              <p:tags r:id="rId59"/>
            </p:custDataLst>
          </p:nvPr>
        </p:nvSpPr>
        <p:spPr bwMode="gray">
          <a:xfrm>
            <a:off x="8859838" y="3355975"/>
            <a:ext cx="166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DDA24613-35CE-4FF5-9443-FD146F5876D3}" type="datetime'''''''''''''''''''''''''''''''''''''2''''9'''''''''''''''''''">
              <a:rPr lang="nl-NL" altLang="en-US" sz="1000" smtClean="0">
                <a:solidFill>
                  <a:schemeClr val="tx1"/>
                </a:solidFill>
              </a:rPr>
              <a:pPr/>
              <a:t>29</a:t>
            </a:fld>
            <a:endParaRPr lang="nl-NL" sz="1000" noProof="0" dirty="0">
              <a:solidFill>
                <a:schemeClr val="tx1"/>
              </a:solidFill>
              <a:sym typeface="Corbel" panose="020B0503020204020204" pitchFamily="34" charset="0"/>
            </a:endParaRPr>
          </a:p>
        </p:txBody>
      </p:sp>
      <p:sp>
        <p:nvSpPr>
          <p:cNvPr id="255" name="Text Placeholder 5">
            <a:extLst>
              <a:ext uri="{FF2B5EF4-FFF2-40B4-BE49-F238E27FC236}">
                <a16:creationId xmlns:a16="http://schemas.microsoft.com/office/drawing/2014/main" id="{4B9982FA-94CE-476E-98B9-AED20350F85D}"/>
              </a:ext>
            </a:extLst>
          </p:cNvPr>
          <p:cNvSpPr>
            <a:spLocks noGrp="1"/>
          </p:cNvSpPr>
          <p:nvPr>
            <p:custDataLst>
              <p:tags r:id="rId60"/>
            </p:custDataLst>
          </p:nvPr>
        </p:nvSpPr>
        <p:spPr bwMode="gray">
          <a:xfrm>
            <a:off x="9566276" y="3346450"/>
            <a:ext cx="1571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BCC79169-3219-4925-ADA2-2C9AC7418679}" type="datetime'3''''''''''0'''''''''''''''''''''''''''''''''''''''''''''">
              <a:rPr lang="nl-NL" altLang="en-US" sz="1000" smtClean="0">
                <a:solidFill>
                  <a:schemeClr val="tx1"/>
                </a:solidFill>
              </a:rPr>
              <a:pPr/>
              <a:t>30</a:t>
            </a:fld>
            <a:endParaRPr lang="nl-NL" sz="1000" noProof="0" dirty="0">
              <a:solidFill>
                <a:schemeClr val="tx1"/>
              </a:solidFill>
              <a:sym typeface="Corbel" panose="020B0503020204020204" pitchFamily="34" charset="0"/>
            </a:endParaRPr>
          </a:p>
        </p:txBody>
      </p:sp>
      <p:sp>
        <p:nvSpPr>
          <p:cNvPr id="256" name="Text Placeholder 5">
            <a:extLst>
              <a:ext uri="{FF2B5EF4-FFF2-40B4-BE49-F238E27FC236}">
                <a16:creationId xmlns:a16="http://schemas.microsoft.com/office/drawing/2014/main" id="{4B9982FA-94CE-476E-98B9-AED20350F85D}"/>
              </a:ext>
            </a:extLst>
          </p:cNvPr>
          <p:cNvSpPr>
            <a:spLocks noGrp="1"/>
          </p:cNvSpPr>
          <p:nvPr>
            <p:custDataLst>
              <p:tags r:id="rId61"/>
            </p:custDataLst>
          </p:nvPr>
        </p:nvSpPr>
        <p:spPr bwMode="gray">
          <a:xfrm>
            <a:off x="10267951" y="3336925"/>
            <a:ext cx="1571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0BFE36AF-4F22-44D5-A6C5-9055AA9BACFC}" type="datetime'''''''''''''''3''''''''''''''0'''''''''''''''''''''''''''''''">
              <a:rPr lang="nl-NL" altLang="en-US" sz="1000" smtClean="0">
                <a:solidFill>
                  <a:schemeClr val="tx1"/>
                </a:solidFill>
              </a:rPr>
              <a:pPr/>
              <a:t>30</a:t>
            </a:fld>
            <a:endParaRPr lang="nl-NL" sz="1000" noProof="0" dirty="0">
              <a:solidFill>
                <a:schemeClr val="tx1"/>
              </a:solidFill>
              <a:sym typeface="Corbel" panose="020B0503020204020204" pitchFamily="34" charset="0"/>
            </a:endParaRPr>
          </a:p>
        </p:txBody>
      </p:sp>
      <p:sp>
        <p:nvSpPr>
          <p:cNvPr id="257" name="Text Placeholder 5">
            <a:extLst>
              <a:ext uri="{FF2B5EF4-FFF2-40B4-BE49-F238E27FC236}">
                <a16:creationId xmlns:a16="http://schemas.microsoft.com/office/drawing/2014/main" id="{4B9982FA-94CE-476E-98B9-AED20350F85D}"/>
              </a:ext>
            </a:extLst>
          </p:cNvPr>
          <p:cNvSpPr>
            <a:spLocks noGrp="1"/>
          </p:cNvSpPr>
          <p:nvPr>
            <p:custDataLst>
              <p:tags r:id="rId62"/>
            </p:custDataLst>
          </p:nvPr>
        </p:nvSpPr>
        <p:spPr bwMode="gray">
          <a:xfrm>
            <a:off x="10972800" y="3327400"/>
            <a:ext cx="1492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1B487E78-7A60-43EA-A606-5DBEC3348C7F}" type="datetime'''''''''''''''''''''''''3''''''''''''''''''1'">
              <a:rPr lang="nl-NL" altLang="en-US" sz="1000" smtClean="0">
                <a:solidFill>
                  <a:schemeClr val="tx1"/>
                </a:solidFill>
              </a:rPr>
              <a:pPr/>
              <a:t>31</a:t>
            </a:fld>
            <a:endParaRPr lang="nl-NL" sz="1000" noProof="0" dirty="0">
              <a:solidFill>
                <a:schemeClr val="tx1"/>
              </a:solidFill>
              <a:sym typeface="Corbel" panose="020B0503020204020204" pitchFamily="34" charset="0"/>
            </a:endParaRPr>
          </a:p>
        </p:txBody>
      </p:sp>
      <p:sp>
        <p:nvSpPr>
          <p:cNvPr id="223" name="Text Placeholder 5">
            <a:extLst>
              <a:ext uri="{FF2B5EF4-FFF2-40B4-BE49-F238E27FC236}">
                <a16:creationId xmlns:a16="http://schemas.microsoft.com/office/drawing/2014/main" id="{91172A2E-23CF-4D47-B49E-111C6804EBF5}"/>
              </a:ext>
            </a:extLst>
          </p:cNvPr>
          <p:cNvSpPr>
            <a:spLocks noGrp="1"/>
          </p:cNvSpPr>
          <p:nvPr>
            <p:custDataLst>
              <p:tags r:id="rId63"/>
            </p:custDataLst>
          </p:nvPr>
        </p:nvSpPr>
        <p:spPr bwMode="gray">
          <a:xfrm>
            <a:off x="4651374" y="3411538"/>
            <a:ext cx="165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spcAft>
                <a:spcPct val="0"/>
              </a:spcAft>
            </a:pPr>
            <a:fld id="{930F600A-99D7-4C26-ADD0-8CD1A2BF9EE3}" type="datetime'''''''2''''''''''''''''''''''''''''''''''''4'''''''">
              <a:rPr lang="nl-NL" altLang="en-US" sz="1000" smtClean="0">
                <a:solidFill>
                  <a:schemeClr val="tx1"/>
                </a:solidFill>
              </a:rPr>
              <a:pPr/>
              <a:t>24</a:t>
            </a:fld>
            <a:endParaRPr lang="nl-NL" sz="1000" noProof="0" dirty="0">
              <a:solidFill>
                <a:schemeClr val="tx1"/>
              </a:solidFill>
              <a:latin typeface="+mn-lt"/>
              <a:sym typeface="Corbel" panose="020B0503020204020204" pitchFamily="34" charset="0"/>
            </a:endParaRPr>
          </a:p>
        </p:txBody>
      </p:sp>
      <p:sp>
        <p:nvSpPr>
          <p:cNvPr id="288" name="Rectangle 287">
            <a:extLst>
              <a:ext uri="{FF2B5EF4-FFF2-40B4-BE49-F238E27FC236}">
                <a16:creationId xmlns:a16="http://schemas.microsoft.com/office/drawing/2014/main" id="{CBE4A08F-FE92-466C-A4AF-F37250BC9178}"/>
              </a:ext>
            </a:extLst>
          </p:cNvPr>
          <p:cNvSpPr/>
          <p:nvPr/>
        </p:nvSpPr>
        <p:spPr>
          <a:xfrm>
            <a:off x="676079" y="5198548"/>
            <a:ext cx="968572" cy="36400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defTabSz="685800">
              <a:lnSpc>
                <a:spcPct val="90000"/>
              </a:lnSpc>
              <a:spcBef>
                <a:spcPts val="375"/>
              </a:spcBef>
              <a:buClr>
                <a:schemeClr val="accent1"/>
              </a:buClr>
              <a:buNone/>
            </a:pPr>
            <a:r>
              <a:rPr lang="nl-NL" sz="1000" b="1" kern="1200" dirty="0">
                <a:latin typeface="Corbel" panose="020B0503020204020204" pitchFamily="34" charset="0"/>
              </a:rPr>
              <a:t>€ / gebr.</a:t>
            </a:r>
            <a:br>
              <a:rPr lang="nl-NL" sz="1000" b="1" kern="1200" dirty="0">
                <a:latin typeface="Corbel" panose="020B0503020204020204" pitchFamily="34" charset="0"/>
              </a:rPr>
            </a:br>
            <a:r>
              <a:rPr lang="nl-NL" sz="1000" kern="1200" dirty="0">
                <a:latin typeface="Corbel" panose="020B0503020204020204" pitchFamily="34" charset="0"/>
              </a:rPr>
              <a:t>Jaarlijks</a:t>
            </a:r>
            <a:endParaRPr kumimoji="0" lang="nl-NL" sz="1000" i="0" u="none" strike="noStrike" kern="1200" cap="none" spc="0" normalizeH="0" baseline="0" noProof="0" dirty="0">
              <a:ln>
                <a:noFill/>
              </a:ln>
              <a:solidFill>
                <a:srgbClr val="000000"/>
              </a:solidFill>
              <a:effectLst/>
              <a:uLnTx/>
              <a:uFillTx/>
            </a:endParaRPr>
          </a:p>
        </p:txBody>
      </p:sp>
      <p:sp>
        <p:nvSpPr>
          <p:cNvPr id="176" name="Rectangle 175">
            <a:extLst>
              <a:ext uri="{FF2B5EF4-FFF2-40B4-BE49-F238E27FC236}">
                <a16:creationId xmlns:a16="http://schemas.microsoft.com/office/drawing/2014/main" id="{58212E44-3292-4E90-ABFB-F042DB69B0A6}"/>
              </a:ext>
            </a:extLst>
          </p:cNvPr>
          <p:cNvSpPr/>
          <p:nvPr/>
        </p:nvSpPr>
        <p:spPr>
          <a:xfrm>
            <a:off x="666748" y="3937880"/>
            <a:ext cx="1133476" cy="36400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defTabSz="685800">
              <a:lnSpc>
                <a:spcPct val="90000"/>
              </a:lnSpc>
              <a:spcBef>
                <a:spcPts val="375"/>
              </a:spcBef>
              <a:buClr>
                <a:schemeClr val="accent1"/>
              </a:buClr>
              <a:buNone/>
            </a:pPr>
            <a:r>
              <a:rPr lang="nl-NL" sz="1000" b="1" kern="1200" dirty="0">
                <a:latin typeface="Corbel" panose="020B0503020204020204" pitchFamily="34" charset="0"/>
              </a:rPr>
              <a:t># ritten / gebr.</a:t>
            </a:r>
            <a:br>
              <a:rPr lang="nl-NL" sz="1000" b="1" kern="1200" dirty="0">
                <a:latin typeface="Corbel" panose="020B0503020204020204" pitchFamily="34" charset="0"/>
              </a:rPr>
            </a:br>
            <a:r>
              <a:rPr lang="nl-NL" sz="1000" kern="1200" dirty="0">
                <a:latin typeface="Corbel" panose="020B0503020204020204" pitchFamily="34" charset="0"/>
              </a:rPr>
              <a:t>Jaarlijks </a:t>
            </a:r>
            <a:br>
              <a:rPr lang="nl-NL" sz="1000" b="1" kern="1200" dirty="0">
                <a:latin typeface="Corbel" panose="020B0503020204020204" pitchFamily="34" charset="0"/>
              </a:rPr>
            </a:br>
            <a:endParaRPr kumimoji="0" lang="nl-NL" sz="1000" i="0" u="none" strike="noStrike" kern="1200" cap="none" spc="0" normalizeH="0" baseline="0" noProof="0" dirty="0">
              <a:ln>
                <a:noFill/>
              </a:ln>
              <a:solidFill>
                <a:srgbClr val="000000"/>
              </a:solidFill>
              <a:effectLst/>
              <a:uLnTx/>
              <a:uFillTx/>
            </a:endParaRPr>
          </a:p>
        </p:txBody>
      </p:sp>
      <p:sp>
        <p:nvSpPr>
          <p:cNvPr id="194" name="Rectangle 193">
            <a:extLst>
              <a:ext uri="{FF2B5EF4-FFF2-40B4-BE49-F238E27FC236}">
                <a16:creationId xmlns:a16="http://schemas.microsoft.com/office/drawing/2014/main" id="{58CD835E-69B9-4B3A-9DFB-14A98796A042}"/>
              </a:ext>
            </a:extLst>
          </p:cNvPr>
          <p:cNvSpPr/>
          <p:nvPr/>
        </p:nvSpPr>
        <p:spPr>
          <a:xfrm>
            <a:off x="666748" y="4358103"/>
            <a:ext cx="1133476" cy="36400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defTabSz="685800">
              <a:lnSpc>
                <a:spcPct val="90000"/>
              </a:lnSpc>
              <a:spcBef>
                <a:spcPts val="375"/>
              </a:spcBef>
              <a:buClr>
                <a:schemeClr val="accent1"/>
              </a:buClr>
              <a:buNone/>
            </a:pPr>
            <a:r>
              <a:rPr lang="nl-NL" sz="1000" b="1" dirty="0">
                <a:latin typeface="Corbel" panose="020B0503020204020204" pitchFamily="34" charset="0"/>
              </a:rPr>
              <a:t>Afstand</a:t>
            </a:r>
            <a:r>
              <a:rPr lang="nl-NL" sz="1000" b="1" kern="1200" dirty="0">
                <a:latin typeface="Corbel" panose="020B0503020204020204" pitchFamily="34" charset="0"/>
              </a:rPr>
              <a:t> / rit </a:t>
            </a:r>
            <a:br>
              <a:rPr lang="nl-NL" sz="1000" b="1" kern="1200" dirty="0">
                <a:latin typeface="Corbel" panose="020B0503020204020204" pitchFamily="34" charset="0"/>
              </a:rPr>
            </a:br>
            <a:r>
              <a:rPr lang="nl-NL" sz="1000" dirty="0">
                <a:latin typeface="Corbel" panose="020B0503020204020204" pitchFamily="34" charset="0"/>
              </a:rPr>
              <a:t>I</a:t>
            </a:r>
            <a:r>
              <a:rPr lang="nl-NL" sz="1000" kern="1200" dirty="0">
                <a:latin typeface="Corbel" panose="020B0503020204020204" pitchFamily="34" charset="0"/>
              </a:rPr>
              <a:t>n km</a:t>
            </a:r>
            <a:endParaRPr kumimoji="0" lang="nl-NL" sz="1000" i="0" u="none" strike="noStrike" kern="1200" cap="none" spc="0" normalizeH="0" baseline="0" noProof="0" dirty="0">
              <a:ln>
                <a:noFill/>
              </a:ln>
              <a:solidFill>
                <a:srgbClr val="000000"/>
              </a:solidFill>
              <a:effectLst/>
              <a:uLnTx/>
              <a:uFillTx/>
            </a:endParaRPr>
          </a:p>
        </p:txBody>
      </p:sp>
      <p:sp>
        <p:nvSpPr>
          <p:cNvPr id="205" name="Rectangle 204">
            <a:extLst>
              <a:ext uri="{FF2B5EF4-FFF2-40B4-BE49-F238E27FC236}">
                <a16:creationId xmlns:a16="http://schemas.microsoft.com/office/drawing/2014/main" id="{204F6CBF-30BF-46FA-A681-2E7B03592D9B}"/>
              </a:ext>
            </a:extLst>
          </p:cNvPr>
          <p:cNvSpPr/>
          <p:nvPr/>
        </p:nvSpPr>
        <p:spPr>
          <a:xfrm>
            <a:off x="666748" y="4777829"/>
            <a:ext cx="968572" cy="36400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defTabSz="685800">
              <a:lnSpc>
                <a:spcPct val="90000"/>
              </a:lnSpc>
              <a:spcBef>
                <a:spcPts val="375"/>
              </a:spcBef>
              <a:buClr>
                <a:schemeClr val="accent1"/>
              </a:buClr>
              <a:buNone/>
            </a:pPr>
            <a:r>
              <a:rPr lang="nl-NL" sz="1000" b="1" kern="1200" dirty="0">
                <a:latin typeface="Corbel" panose="020B0503020204020204" pitchFamily="34" charset="0"/>
              </a:rPr>
              <a:t>€ / km </a:t>
            </a:r>
            <a:br>
              <a:rPr lang="nl-NL" sz="1000" b="1" kern="1200" dirty="0">
                <a:latin typeface="Corbel" panose="020B0503020204020204" pitchFamily="34" charset="0"/>
              </a:rPr>
            </a:br>
            <a:endParaRPr kumimoji="0" lang="nl-NL" sz="1000" i="0" u="none" strike="noStrike" kern="1200" cap="none" spc="0" normalizeH="0" baseline="0" noProof="0" dirty="0">
              <a:ln>
                <a:noFill/>
              </a:ln>
              <a:solidFill>
                <a:srgbClr val="000000"/>
              </a:solidFill>
              <a:effectLst/>
              <a:uLnTx/>
              <a:uFillTx/>
            </a:endParaRPr>
          </a:p>
        </p:txBody>
      </p:sp>
      <p:sp>
        <p:nvSpPr>
          <p:cNvPr id="193" name="Oval 192">
            <a:extLst>
              <a:ext uri="{FF2B5EF4-FFF2-40B4-BE49-F238E27FC236}">
                <a16:creationId xmlns:a16="http://schemas.microsoft.com/office/drawing/2014/main" id="{4FDA5B2D-A85A-4B63-A67D-905CBE917CEF}"/>
              </a:ext>
            </a:extLst>
          </p:cNvPr>
          <p:cNvSpPr>
            <a:spLocks noChangeAspect="1" noChangeArrowheads="1"/>
          </p:cNvSpPr>
          <p:nvPr/>
        </p:nvSpPr>
        <p:spPr bwMode="gray">
          <a:xfrm>
            <a:off x="1653657" y="403461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33</a:t>
            </a:r>
          </a:p>
        </p:txBody>
      </p:sp>
      <p:sp>
        <p:nvSpPr>
          <p:cNvPr id="203" name="Oval 202">
            <a:extLst>
              <a:ext uri="{FF2B5EF4-FFF2-40B4-BE49-F238E27FC236}">
                <a16:creationId xmlns:a16="http://schemas.microsoft.com/office/drawing/2014/main" id="{918CF69F-4ED0-43B4-ACA0-4AC575DB7E6D}"/>
              </a:ext>
            </a:extLst>
          </p:cNvPr>
          <p:cNvSpPr>
            <a:spLocks noChangeAspect="1" noChangeArrowheads="1"/>
          </p:cNvSpPr>
          <p:nvPr/>
        </p:nvSpPr>
        <p:spPr bwMode="gray">
          <a:xfrm>
            <a:off x="1653657" y="4416356"/>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9,6</a:t>
            </a:r>
          </a:p>
        </p:txBody>
      </p:sp>
      <p:sp>
        <p:nvSpPr>
          <p:cNvPr id="218" name="Oval 217">
            <a:extLst>
              <a:ext uri="{FF2B5EF4-FFF2-40B4-BE49-F238E27FC236}">
                <a16:creationId xmlns:a16="http://schemas.microsoft.com/office/drawing/2014/main" id="{E015047A-3CC7-42ED-9243-CB3B251A98F0}"/>
              </a:ext>
            </a:extLst>
          </p:cNvPr>
          <p:cNvSpPr>
            <a:spLocks noChangeAspect="1" noChangeArrowheads="1"/>
          </p:cNvSpPr>
          <p:nvPr/>
        </p:nvSpPr>
        <p:spPr bwMode="gray">
          <a:xfrm>
            <a:off x="1653657" y="4836082"/>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nl-NL" sz="1000" kern="0" dirty="0">
                <a:latin typeface="Corbel"/>
                <a:cs typeface="Arial" charset="0"/>
              </a:rPr>
              <a:t>2,2</a:t>
            </a:r>
            <a:endParaRPr kumimoji="0" lang="nl-NL" sz="1000" i="0" u="none" strike="noStrike" kern="0" cap="none" spc="0" normalizeH="0" baseline="0" noProof="0" dirty="0">
              <a:ln>
                <a:noFill/>
              </a:ln>
              <a:effectLst/>
              <a:uLnTx/>
              <a:uFillTx/>
              <a:latin typeface="Corbel"/>
              <a:cs typeface="Arial" charset="0"/>
            </a:endParaRPr>
          </a:p>
        </p:txBody>
      </p:sp>
      <p:sp>
        <p:nvSpPr>
          <p:cNvPr id="227" name="Oval 226">
            <a:extLst>
              <a:ext uri="{FF2B5EF4-FFF2-40B4-BE49-F238E27FC236}">
                <a16:creationId xmlns:a16="http://schemas.microsoft.com/office/drawing/2014/main" id="{26096D34-4195-4295-BE4D-B9D38719F293}"/>
              </a:ext>
            </a:extLst>
          </p:cNvPr>
          <p:cNvSpPr>
            <a:spLocks noChangeAspect="1" noChangeArrowheads="1"/>
          </p:cNvSpPr>
          <p:nvPr/>
        </p:nvSpPr>
        <p:spPr bwMode="gray">
          <a:xfrm>
            <a:off x="1653657" y="525680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642</a:t>
            </a:r>
          </a:p>
        </p:txBody>
      </p:sp>
      <p:sp>
        <p:nvSpPr>
          <p:cNvPr id="9" name="Rectangle 8">
            <a:extLst>
              <a:ext uri="{FF2B5EF4-FFF2-40B4-BE49-F238E27FC236}">
                <a16:creationId xmlns:a16="http://schemas.microsoft.com/office/drawing/2014/main" id="{2E945FDA-B6E4-4F0B-B656-870B523E71B7}"/>
              </a:ext>
            </a:extLst>
          </p:cNvPr>
          <p:cNvSpPr/>
          <p:nvPr/>
        </p:nvSpPr>
        <p:spPr>
          <a:xfrm>
            <a:off x="6373603" y="1548374"/>
            <a:ext cx="2415624" cy="216000"/>
          </a:xfrm>
          <a:prstGeom prst="rect">
            <a:avLst/>
          </a:prstGeom>
          <a:noFill/>
          <a:extLst>
            <a:ext uri="{909E8E84-426E-40DD-AFC4-6F175D3DCCD1}">
              <a14:hiddenFill xmlns:a14="http://schemas.microsoft.com/office/drawing/2010/main">
                <a:solidFill>
                  <a:srgbClr val="F2F2F2"/>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1000" b="1" u="none" strike="noStrike" kern="1200" cap="none" spc="0" normalizeH="0" baseline="0" noProof="0" dirty="0">
                <a:ln>
                  <a:noFill/>
                </a:ln>
                <a:solidFill>
                  <a:srgbClr val="000000"/>
                </a:solidFill>
                <a:effectLst/>
                <a:uLnTx/>
                <a:uFillTx/>
                <a:latin typeface="Corbel" panose="020B0503020204020204" pitchFamily="34" charset="0"/>
              </a:rPr>
              <a:t>Prognose</a:t>
            </a:r>
            <a:r>
              <a:rPr lang="nl-NL" sz="1000" b="1" dirty="0">
                <a:solidFill>
                  <a:srgbClr val="000000"/>
                </a:solidFill>
                <a:latin typeface="Corbel" panose="020B0503020204020204" pitchFamily="34" charset="0"/>
              </a:rPr>
              <a:t> </a:t>
            </a:r>
            <a:r>
              <a:rPr lang="nl-NL" sz="1000" dirty="0">
                <a:solidFill>
                  <a:srgbClr val="000000"/>
                </a:solidFill>
                <a:latin typeface="Corbel" panose="020B0503020204020204" pitchFamily="34" charset="0"/>
              </a:rPr>
              <a:t>(</a:t>
            </a:r>
            <a:r>
              <a:rPr kumimoji="0" lang="nl-NL" sz="1000" u="none" strike="noStrike" kern="1200" cap="none" spc="0" normalizeH="0" baseline="0" noProof="0" dirty="0">
                <a:ln>
                  <a:noFill/>
                </a:ln>
                <a:solidFill>
                  <a:srgbClr val="000000"/>
                </a:solidFill>
                <a:effectLst/>
                <a:uLnTx/>
                <a:uFillTx/>
                <a:latin typeface="Corbel" panose="020B0503020204020204" pitchFamily="34" charset="0"/>
              </a:rPr>
              <a:t>2020 – 2030)</a:t>
            </a:r>
          </a:p>
        </p:txBody>
      </p:sp>
      <p:sp>
        <p:nvSpPr>
          <p:cNvPr id="261" name="Rectangle 260">
            <a:extLst>
              <a:ext uri="{FF2B5EF4-FFF2-40B4-BE49-F238E27FC236}">
                <a16:creationId xmlns:a16="http://schemas.microsoft.com/office/drawing/2014/main" id="{867AAECC-2E31-4277-90C0-25E9FA4AF8A0}"/>
              </a:ext>
            </a:extLst>
          </p:cNvPr>
          <p:cNvSpPr/>
          <p:nvPr/>
        </p:nvSpPr>
        <p:spPr>
          <a:xfrm>
            <a:off x="1496860" y="1548374"/>
            <a:ext cx="2232628" cy="216000"/>
          </a:xfrm>
          <a:prstGeom prst="rect">
            <a:avLst/>
          </a:prstGeom>
          <a:noFill/>
          <a:extLst>
            <a:ext uri="{909E8E84-426E-40DD-AFC4-6F175D3DCCD1}">
              <a14:hiddenFill xmlns:a14="http://schemas.microsoft.com/office/drawing/2010/main">
                <a:solidFill>
                  <a:srgbClr val="F2F2F2"/>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defTabSz="685800">
              <a:lnSpc>
                <a:spcPct val="90000"/>
              </a:lnSpc>
              <a:spcBef>
                <a:spcPts val="750"/>
              </a:spcBef>
              <a:buClr>
                <a:srgbClr val="FF0000"/>
              </a:buClr>
              <a:buNone/>
            </a:pPr>
            <a:r>
              <a:rPr kumimoji="0" lang="nl-NL" sz="1000" b="1" u="none" strike="noStrike" kern="1200" cap="none" spc="0" normalizeH="0" baseline="0" noProof="0" dirty="0">
                <a:ln>
                  <a:noFill/>
                </a:ln>
                <a:solidFill>
                  <a:srgbClr val="000000"/>
                </a:solidFill>
                <a:effectLst/>
                <a:uLnTx/>
                <a:uFillTx/>
                <a:latin typeface="Corbel" panose="020B0503020204020204" pitchFamily="34" charset="0"/>
              </a:rPr>
              <a:t>Historische data </a:t>
            </a:r>
            <a:r>
              <a:rPr kumimoji="0" lang="nl-NL" sz="1000" u="none" strike="noStrike" kern="1200" cap="none" spc="0" normalizeH="0" baseline="0" noProof="0" dirty="0">
                <a:ln>
                  <a:noFill/>
                </a:ln>
                <a:solidFill>
                  <a:srgbClr val="000000"/>
                </a:solidFill>
                <a:effectLst/>
                <a:uLnTx/>
                <a:uFillTx/>
                <a:latin typeface="Corbel" panose="020B0503020204020204" pitchFamily="34" charset="0"/>
              </a:rPr>
              <a:t>(2017 – 2019)</a:t>
            </a:r>
          </a:p>
        </p:txBody>
      </p:sp>
      <p:sp>
        <p:nvSpPr>
          <p:cNvPr id="262" name="Right Brace 261">
            <a:extLst>
              <a:ext uri="{FF2B5EF4-FFF2-40B4-BE49-F238E27FC236}">
                <a16:creationId xmlns:a16="http://schemas.microsoft.com/office/drawing/2014/main" id="{39E9A9AA-1A1C-436F-8E2B-12EE80E1BE09}"/>
              </a:ext>
            </a:extLst>
          </p:cNvPr>
          <p:cNvSpPr/>
          <p:nvPr/>
        </p:nvSpPr>
        <p:spPr>
          <a:xfrm rot="16200000">
            <a:off x="2561978" y="837348"/>
            <a:ext cx="102394" cy="1919937"/>
          </a:xfrm>
          <a:prstGeom prst="rightBrace">
            <a:avLst/>
          </a:prstGeom>
          <a:ln>
            <a:solidFill>
              <a:schemeClr val="accent6">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cxnSp>
        <p:nvCxnSpPr>
          <p:cNvPr id="18" name="Connector: Elbow 17">
            <a:extLst>
              <a:ext uri="{FF2B5EF4-FFF2-40B4-BE49-F238E27FC236}">
                <a16:creationId xmlns:a16="http://schemas.microsoft.com/office/drawing/2014/main" id="{473B721E-FE48-455B-9894-4540972AE6E3}"/>
              </a:ext>
            </a:extLst>
          </p:cNvPr>
          <p:cNvCxnSpPr>
            <a:cxnSpLocks/>
          </p:cNvCxnSpPr>
          <p:nvPr/>
        </p:nvCxnSpPr>
        <p:spPr>
          <a:xfrm flipV="1">
            <a:off x="3350016" y="5676850"/>
            <a:ext cx="2736000" cy="160606"/>
          </a:xfrm>
          <a:prstGeom prst="bentConnector3">
            <a:avLst>
              <a:gd name="adj1" fmla="val -37"/>
            </a:avLst>
          </a:prstGeom>
          <a:ln>
            <a:solidFill>
              <a:schemeClr val="accent6">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3" name="Rectangle 312">
            <a:extLst>
              <a:ext uri="{FF2B5EF4-FFF2-40B4-BE49-F238E27FC236}">
                <a16:creationId xmlns:a16="http://schemas.microsoft.com/office/drawing/2014/main" id="{5D5575A5-4260-4F51-B53C-B0E294171CED}"/>
              </a:ext>
            </a:extLst>
          </p:cNvPr>
          <p:cNvSpPr/>
          <p:nvPr/>
        </p:nvSpPr>
        <p:spPr>
          <a:xfrm>
            <a:off x="6096000" y="5600650"/>
            <a:ext cx="590551" cy="152400"/>
          </a:xfrm>
          <a:prstGeom prst="rect">
            <a:avLst/>
          </a:prstGeom>
          <a:noFill/>
          <a:ln>
            <a:solidFill>
              <a:schemeClr val="accent6">
                <a:lumMod val="50000"/>
              </a:schemeClr>
            </a:solidFill>
          </a:ln>
          <a:extLst>
            <a:ext uri="{909E8E84-426E-40DD-AFC4-6F175D3DCCD1}">
              <a14:hiddenFill xmlns:a14="http://schemas.microsoft.com/office/drawing/2010/main">
                <a:solidFill>
                  <a:srgbClr val="F2F2F2"/>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1000" b="1" u="none" strike="noStrike" kern="1200" cap="none" spc="0" normalizeH="0" baseline="0" noProof="0" dirty="0">
                <a:ln>
                  <a:noFill/>
                </a:ln>
                <a:solidFill>
                  <a:srgbClr val="000000"/>
                </a:solidFill>
                <a:effectLst/>
                <a:uLnTx/>
                <a:uFillTx/>
                <a:latin typeface="Corbel" panose="020B0503020204020204" pitchFamily="34" charset="0"/>
              </a:rPr>
              <a:t>+ 75%</a:t>
            </a:r>
          </a:p>
        </p:txBody>
      </p:sp>
      <p:cxnSp>
        <p:nvCxnSpPr>
          <p:cNvPr id="314" name="Connector: Elbow 313">
            <a:extLst>
              <a:ext uri="{FF2B5EF4-FFF2-40B4-BE49-F238E27FC236}">
                <a16:creationId xmlns:a16="http://schemas.microsoft.com/office/drawing/2014/main" id="{457B83E5-2982-45B5-8207-BA5E98543A0F}"/>
              </a:ext>
            </a:extLst>
          </p:cNvPr>
          <p:cNvCxnSpPr>
            <a:cxnSpLocks/>
          </p:cNvCxnSpPr>
          <p:nvPr/>
        </p:nvCxnSpPr>
        <p:spPr>
          <a:xfrm>
            <a:off x="6686551" y="5676850"/>
            <a:ext cx="4292599" cy="108000"/>
          </a:xfrm>
          <a:prstGeom prst="bentConnector3">
            <a:avLst>
              <a:gd name="adj1" fmla="val 100049"/>
            </a:avLst>
          </a:prstGeom>
          <a:ln>
            <a:solidFill>
              <a:schemeClr val="accent6">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3" name="Oval 112">
            <a:extLst>
              <a:ext uri="{FF2B5EF4-FFF2-40B4-BE49-F238E27FC236}">
                <a16:creationId xmlns:a16="http://schemas.microsoft.com/office/drawing/2014/main" id="{298EBAA4-ECEB-43C3-8733-5E19644A1D48}"/>
              </a:ext>
            </a:extLst>
          </p:cNvPr>
          <p:cNvSpPr>
            <a:spLocks noChangeAspect="1" noChangeArrowheads="1"/>
          </p:cNvSpPr>
          <p:nvPr/>
        </p:nvSpPr>
        <p:spPr bwMode="gray">
          <a:xfrm>
            <a:off x="2356930" y="403461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nl-NL" sz="1000" kern="0" dirty="0">
                <a:latin typeface="Corbel"/>
                <a:cs typeface="Arial" charset="0"/>
              </a:rPr>
              <a:t>36</a:t>
            </a:r>
            <a:endParaRPr kumimoji="0" lang="nl-NL" sz="1000" i="0" u="none" strike="noStrike" kern="0" cap="none" spc="0" normalizeH="0" baseline="0" noProof="0" dirty="0">
              <a:ln>
                <a:noFill/>
              </a:ln>
              <a:effectLst/>
              <a:uLnTx/>
              <a:uFillTx/>
              <a:latin typeface="Corbel"/>
              <a:cs typeface="Arial" charset="0"/>
            </a:endParaRPr>
          </a:p>
        </p:txBody>
      </p:sp>
      <p:sp>
        <p:nvSpPr>
          <p:cNvPr id="114" name="Oval 113">
            <a:extLst>
              <a:ext uri="{FF2B5EF4-FFF2-40B4-BE49-F238E27FC236}">
                <a16:creationId xmlns:a16="http://schemas.microsoft.com/office/drawing/2014/main" id="{3AC4BFEB-8099-44DF-9E06-86B8E2553D6C}"/>
              </a:ext>
            </a:extLst>
          </p:cNvPr>
          <p:cNvSpPr>
            <a:spLocks noChangeAspect="1" noChangeArrowheads="1"/>
          </p:cNvSpPr>
          <p:nvPr/>
        </p:nvSpPr>
        <p:spPr bwMode="gray">
          <a:xfrm>
            <a:off x="2356930" y="4416356"/>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nl-NL" sz="1000" kern="0" dirty="0">
                <a:latin typeface="Corbel"/>
                <a:cs typeface="Arial" charset="0"/>
              </a:rPr>
              <a:t>9,8</a:t>
            </a:r>
            <a:endParaRPr kumimoji="0" lang="nl-NL" sz="1000" i="0" u="none" strike="noStrike" kern="0" cap="none" spc="0" normalizeH="0" baseline="0" noProof="0" dirty="0">
              <a:ln>
                <a:noFill/>
              </a:ln>
              <a:effectLst/>
              <a:uLnTx/>
              <a:uFillTx/>
              <a:latin typeface="Corbel"/>
              <a:cs typeface="Arial" charset="0"/>
            </a:endParaRPr>
          </a:p>
        </p:txBody>
      </p:sp>
      <p:sp>
        <p:nvSpPr>
          <p:cNvPr id="115" name="Oval 114">
            <a:extLst>
              <a:ext uri="{FF2B5EF4-FFF2-40B4-BE49-F238E27FC236}">
                <a16:creationId xmlns:a16="http://schemas.microsoft.com/office/drawing/2014/main" id="{1E4641C1-42EC-4B95-B434-40497AED7B38}"/>
              </a:ext>
            </a:extLst>
          </p:cNvPr>
          <p:cNvSpPr>
            <a:spLocks noChangeAspect="1" noChangeArrowheads="1"/>
          </p:cNvSpPr>
          <p:nvPr/>
        </p:nvSpPr>
        <p:spPr bwMode="gray">
          <a:xfrm>
            <a:off x="2356930" y="4836082"/>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nl-NL" sz="1000" kern="0" dirty="0">
                <a:latin typeface="Corbel"/>
                <a:cs typeface="Arial" charset="0"/>
              </a:rPr>
              <a:t>2,3</a:t>
            </a:r>
            <a:endParaRPr kumimoji="0" lang="nl-NL" sz="1000" i="0" u="none" strike="noStrike" kern="0" cap="none" spc="0" normalizeH="0" baseline="0" noProof="0" dirty="0">
              <a:ln>
                <a:noFill/>
              </a:ln>
              <a:effectLst/>
              <a:uLnTx/>
              <a:uFillTx/>
              <a:latin typeface="Corbel"/>
              <a:cs typeface="Arial" charset="0"/>
            </a:endParaRPr>
          </a:p>
        </p:txBody>
      </p:sp>
      <p:sp>
        <p:nvSpPr>
          <p:cNvPr id="116" name="Oval 115">
            <a:extLst>
              <a:ext uri="{FF2B5EF4-FFF2-40B4-BE49-F238E27FC236}">
                <a16:creationId xmlns:a16="http://schemas.microsoft.com/office/drawing/2014/main" id="{51BEB491-9351-4973-9B12-C8B7E999C2B3}"/>
              </a:ext>
            </a:extLst>
          </p:cNvPr>
          <p:cNvSpPr>
            <a:spLocks noChangeAspect="1" noChangeArrowheads="1"/>
          </p:cNvSpPr>
          <p:nvPr/>
        </p:nvSpPr>
        <p:spPr bwMode="gray">
          <a:xfrm>
            <a:off x="2356930" y="525680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nl-NL" sz="1000" kern="0" dirty="0">
                <a:latin typeface="Corbel"/>
                <a:cs typeface="Arial" charset="0"/>
              </a:rPr>
              <a:t>755</a:t>
            </a:r>
            <a:endParaRPr kumimoji="0" lang="nl-NL" sz="1000" i="0" u="none" strike="noStrike" kern="0" cap="none" spc="0" normalizeH="0" baseline="0" noProof="0" dirty="0">
              <a:ln>
                <a:noFill/>
              </a:ln>
              <a:effectLst/>
              <a:uLnTx/>
              <a:uFillTx/>
              <a:latin typeface="Corbel"/>
              <a:cs typeface="Arial" charset="0"/>
            </a:endParaRPr>
          </a:p>
        </p:txBody>
      </p:sp>
      <p:sp>
        <p:nvSpPr>
          <p:cNvPr id="120" name="Oval 119">
            <a:extLst>
              <a:ext uri="{FF2B5EF4-FFF2-40B4-BE49-F238E27FC236}">
                <a16:creationId xmlns:a16="http://schemas.microsoft.com/office/drawing/2014/main" id="{5113CAAE-958A-4036-B734-EE65E9223456}"/>
              </a:ext>
            </a:extLst>
          </p:cNvPr>
          <p:cNvSpPr>
            <a:spLocks noChangeAspect="1" noChangeArrowheads="1"/>
          </p:cNvSpPr>
          <p:nvPr/>
        </p:nvSpPr>
        <p:spPr bwMode="gray">
          <a:xfrm>
            <a:off x="3060203" y="403461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nl-NL" sz="1000" kern="0" dirty="0">
                <a:latin typeface="Corbel"/>
                <a:cs typeface="Arial" charset="0"/>
              </a:rPr>
              <a:t>38</a:t>
            </a:r>
            <a:endParaRPr kumimoji="0" lang="nl-NL" sz="1000" i="0" u="none" strike="noStrike" kern="0" cap="none" spc="0" normalizeH="0" baseline="0" noProof="0" dirty="0">
              <a:ln>
                <a:noFill/>
              </a:ln>
              <a:effectLst/>
              <a:uLnTx/>
              <a:uFillTx/>
              <a:latin typeface="Corbel"/>
              <a:cs typeface="Arial" charset="0"/>
            </a:endParaRPr>
          </a:p>
        </p:txBody>
      </p:sp>
      <p:sp>
        <p:nvSpPr>
          <p:cNvPr id="121" name="Oval 120">
            <a:extLst>
              <a:ext uri="{FF2B5EF4-FFF2-40B4-BE49-F238E27FC236}">
                <a16:creationId xmlns:a16="http://schemas.microsoft.com/office/drawing/2014/main" id="{483CDDDE-E7B0-463A-8352-0AF105A1DD5E}"/>
              </a:ext>
            </a:extLst>
          </p:cNvPr>
          <p:cNvSpPr>
            <a:spLocks noChangeAspect="1" noChangeArrowheads="1"/>
          </p:cNvSpPr>
          <p:nvPr/>
        </p:nvSpPr>
        <p:spPr bwMode="gray">
          <a:xfrm>
            <a:off x="3060203" y="4416356"/>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9,9</a:t>
            </a:r>
          </a:p>
        </p:txBody>
      </p:sp>
      <p:sp>
        <p:nvSpPr>
          <p:cNvPr id="122" name="Oval 121">
            <a:extLst>
              <a:ext uri="{FF2B5EF4-FFF2-40B4-BE49-F238E27FC236}">
                <a16:creationId xmlns:a16="http://schemas.microsoft.com/office/drawing/2014/main" id="{AB2F4EE4-2505-4561-82B2-6175CBD7E156}"/>
              </a:ext>
            </a:extLst>
          </p:cNvPr>
          <p:cNvSpPr>
            <a:spLocks noChangeAspect="1" noChangeArrowheads="1"/>
          </p:cNvSpPr>
          <p:nvPr/>
        </p:nvSpPr>
        <p:spPr bwMode="gray">
          <a:xfrm>
            <a:off x="3060203" y="4836082"/>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2,3</a:t>
            </a:r>
          </a:p>
        </p:txBody>
      </p:sp>
      <p:sp>
        <p:nvSpPr>
          <p:cNvPr id="123" name="Oval 122">
            <a:extLst>
              <a:ext uri="{FF2B5EF4-FFF2-40B4-BE49-F238E27FC236}">
                <a16:creationId xmlns:a16="http://schemas.microsoft.com/office/drawing/2014/main" id="{5D3A00B0-FE63-466B-BA16-4AB34539816A}"/>
              </a:ext>
            </a:extLst>
          </p:cNvPr>
          <p:cNvSpPr>
            <a:spLocks noChangeAspect="1" noChangeArrowheads="1"/>
          </p:cNvSpPr>
          <p:nvPr/>
        </p:nvSpPr>
        <p:spPr bwMode="gray">
          <a:xfrm>
            <a:off x="3060203" y="525680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nl-NL" sz="1000" kern="0" dirty="0">
                <a:latin typeface="Corbel"/>
                <a:cs typeface="Arial" charset="0"/>
              </a:rPr>
              <a:t>844</a:t>
            </a:r>
            <a:endParaRPr kumimoji="0" lang="nl-NL" sz="1000" i="0" u="none" strike="noStrike" kern="0" cap="none" spc="0" normalizeH="0" baseline="0" noProof="0" dirty="0">
              <a:ln>
                <a:noFill/>
              </a:ln>
              <a:effectLst/>
              <a:uLnTx/>
              <a:uFillTx/>
              <a:latin typeface="Corbel"/>
              <a:cs typeface="Arial" charset="0"/>
            </a:endParaRPr>
          </a:p>
        </p:txBody>
      </p:sp>
      <p:sp>
        <p:nvSpPr>
          <p:cNvPr id="125" name="Oval 124">
            <a:extLst>
              <a:ext uri="{FF2B5EF4-FFF2-40B4-BE49-F238E27FC236}">
                <a16:creationId xmlns:a16="http://schemas.microsoft.com/office/drawing/2014/main" id="{DF0584EB-A936-4C19-B574-635DDBD0F078}"/>
              </a:ext>
            </a:extLst>
          </p:cNvPr>
          <p:cNvSpPr>
            <a:spLocks noChangeAspect="1" noChangeArrowheads="1"/>
          </p:cNvSpPr>
          <p:nvPr/>
        </p:nvSpPr>
        <p:spPr bwMode="gray">
          <a:xfrm>
            <a:off x="3763476" y="403461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38</a:t>
            </a:r>
          </a:p>
        </p:txBody>
      </p:sp>
      <p:sp>
        <p:nvSpPr>
          <p:cNvPr id="126" name="Oval 125">
            <a:extLst>
              <a:ext uri="{FF2B5EF4-FFF2-40B4-BE49-F238E27FC236}">
                <a16:creationId xmlns:a16="http://schemas.microsoft.com/office/drawing/2014/main" id="{4904C1E2-E53D-4101-BE1C-8F3D0936DF0D}"/>
              </a:ext>
            </a:extLst>
          </p:cNvPr>
          <p:cNvSpPr>
            <a:spLocks noChangeAspect="1" noChangeArrowheads="1"/>
          </p:cNvSpPr>
          <p:nvPr/>
        </p:nvSpPr>
        <p:spPr bwMode="gray">
          <a:xfrm>
            <a:off x="3763476" y="4416356"/>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nl-NL" sz="1000" kern="0" dirty="0">
                <a:latin typeface="Corbel"/>
                <a:cs typeface="Arial" charset="0"/>
              </a:rPr>
              <a:t>10,0</a:t>
            </a:r>
            <a:endParaRPr kumimoji="0" lang="nl-NL" sz="1000" i="0" u="none" strike="noStrike" kern="0" cap="none" spc="0" normalizeH="0" baseline="0" noProof="0" dirty="0">
              <a:ln>
                <a:noFill/>
              </a:ln>
              <a:effectLst/>
              <a:uLnTx/>
              <a:uFillTx/>
              <a:latin typeface="Corbel"/>
              <a:cs typeface="Arial" charset="0"/>
            </a:endParaRPr>
          </a:p>
        </p:txBody>
      </p:sp>
      <p:sp>
        <p:nvSpPr>
          <p:cNvPr id="127" name="Oval 126">
            <a:extLst>
              <a:ext uri="{FF2B5EF4-FFF2-40B4-BE49-F238E27FC236}">
                <a16:creationId xmlns:a16="http://schemas.microsoft.com/office/drawing/2014/main" id="{5CB2C498-2DF6-4B99-A559-1FC1F92279D0}"/>
              </a:ext>
            </a:extLst>
          </p:cNvPr>
          <p:cNvSpPr>
            <a:spLocks noChangeAspect="1" noChangeArrowheads="1"/>
          </p:cNvSpPr>
          <p:nvPr/>
        </p:nvSpPr>
        <p:spPr bwMode="gray">
          <a:xfrm>
            <a:off x="3763476" y="4836082"/>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2,5</a:t>
            </a:r>
          </a:p>
        </p:txBody>
      </p:sp>
      <p:sp>
        <p:nvSpPr>
          <p:cNvPr id="128" name="Oval 127">
            <a:extLst>
              <a:ext uri="{FF2B5EF4-FFF2-40B4-BE49-F238E27FC236}">
                <a16:creationId xmlns:a16="http://schemas.microsoft.com/office/drawing/2014/main" id="{C399473E-3B6B-4EB8-9EA5-D72783F496C4}"/>
              </a:ext>
            </a:extLst>
          </p:cNvPr>
          <p:cNvSpPr>
            <a:spLocks noChangeAspect="1" noChangeArrowheads="1"/>
          </p:cNvSpPr>
          <p:nvPr/>
        </p:nvSpPr>
        <p:spPr bwMode="gray">
          <a:xfrm>
            <a:off x="3763476" y="525680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866</a:t>
            </a:r>
          </a:p>
        </p:txBody>
      </p:sp>
      <p:sp>
        <p:nvSpPr>
          <p:cNvPr id="130" name="Oval 129">
            <a:extLst>
              <a:ext uri="{FF2B5EF4-FFF2-40B4-BE49-F238E27FC236}">
                <a16:creationId xmlns:a16="http://schemas.microsoft.com/office/drawing/2014/main" id="{B7417B2A-3586-4747-97C0-1B5D31581B2E}"/>
              </a:ext>
            </a:extLst>
          </p:cNvPr>
          <p:cNvSpPr>
            <a:spLocks noChangeAspect="1" noChangeArrowheads="1"/>
          </p:cNvSpPr>
          <p:nvPr/>
        </p:nvSpPr>
        <p:spPr bwMode="gray">
          <a:xfrm>
            <a:off x="4466749" y="403461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nl-NL" sz="1000" kern="0" dirty="0">
                <a:latin typeface="Corbel"/>
                <a:cs typeface="Arial" charset="0"/>
              </a:rPr>
              <a:t>38</a:t>
            </a:r>
            <a:endParaRPr kumimoji="0" lang="nl-NL" sz="1000" i="0" u="none" strike="noStrike" kern="0" cap="none" spc="0" normalizeH="0" baseline="0" noProof="0" dirty="0">
              <a:ln>
                <a:noFill/>
              </a:ln>
              <a:effectLst/>
              <a:uLnTx/>
              <a:uFillTx/>
              <a:latin typeface="Corbel"/>
              <a:cs typeface="Arial" charset="0"/>
            </a:endParaRPr>
          </a:p>
        </p:txBody>
      </p:sp>
      <p:sp>
        <p:nvSpPr>
          <p:cNvPr id="131" name="Oval 130">
            <a:extLst>
              <a:ext uri="{FF2B5EF4-FFF2-40B4-BE49-F238E27FC236}">
                <a16:creationId xmlns:a16="http://schemas.microsoft.com/office/drawing/2014/main" id="{F3D0A074-AE39-4C9E-BE19-CCF2BA8F7179}"/>
              </a:ext>
            </a:extLst>
          </p:cNvPr>
          <p:cNvSpPr>
            <a:spLocks noChangeAspect="1" noChangeArrowheads="1"/>
          </p:cNvSpPr>
          <p:nvPr/>
        </p:nvSpPr>
        <p:spPr bwMode="gray">
          <a:xfrm>
            <a:off x="4466749" y="4416356"/>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10,0</a:t>
            </a:r>
          </a:p>
        </p:txBody>
      </p:sp>
      <p:sp>
        <p:nvSpPr>
          <p:cNvPr id="132" name="Oval 131">
            <a:extLst>
              <a:ext uri="{FF2B5EF4-FFF2-40B4-BE49-F238E27FC236}">
                <a16:creationId xmlns:a16="http://schemas.microsoft.com/office/drawing/2014/main" id="{FA9C12A4-381A-4281-914C-0CBD7774228D}"/>
              </a:ext>
            </a:extLst>
          </p:cNvPr>
          <p:cNvSpPr>
            <a:spLocks noChangeAspect="1" noChangeArrowheads="1"/>
          </p:cNvSpPr>
          <p:nvPr/>
        </p:nvSpPr>
        <p:spPr bwMode="gray">
          <a:xfrm>
            <a:off x="4466749" y="4836082"/>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2,5</a:t>
            </a:r>
          </a:p>
        </p:txBody>
      </p:sp>
      <p:sp>
        <p:nvSpPr>
          <p:cNvPr id="133" name="Oval 132">
            <a:extLst>
              <a:ext uri="{FF2B5EF4-FFF2-40B4-BE49-F238E27FC236}">
                <a16:creationId xmlns:a16="http://schemas.microsoft.com/office/drawing/2014/main" id="{4AAC8E1C-9BB3-4B62-907C-C0022576A77B}"/>
              </a:ext>
            </a:extLst>
          </p:cNvPr>
          <p:cNvSpPr>
            <a:spLocks noChangeAspect="1" noChangeArrowheads="1"/>
          </p:cNvSpPr>
          <p:nvPr/>
        </p:nvSpPr>
        <p:spPr bwMode="gray">
          <a:xfrm>
            <a:off x="4466749" y="525680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nl-NL" sz="1000" kern="0" dirty="0">
                <a:latin typeface="Corbel"/>
                <a:cs typeface="Arial" charset="0"/>
              </a:rPr>
              <a:t>889</a:t>
            </a:r>
            <a:endParaRPr kumimoji="0" lang="nl-NL" sz="1000" i="0" u="none" strike="noStrike" kern="0" cap="none" spc="0" normalizeH="0" baseline="0" noProof="0" dirty="0">
              <a:ln>
                <a:noFill/>
              </a:ln>
              <a:effectLst/>
              <a:uLnTx/>
              <a:uFillTx/>
              <a:latin typeface="Corbel"/>
              <a:cs typeface="Arial" charset="0"/>
            </a:endParaRPr>
          </a:p>
        </p:txBody>
      </p:sp>
      <p:sp>
        <p:nvSpPr>
          <p:cNvPr id="135" name="Oval 134">
            <a:extLst>
              <a:ext uri="{FF2B5EF4-FFF2-40B4-BE49-F238E27FC236}">
                <a16:creationId xmlns:a16="http://schemas.microsoft.com/office/drawing/2014/main" id="{6D167108-EDBE-4C2C-AA22-EF3CEB086F39}"/>
              </a:ext>
            </a:extLst>
          </p:cNvPr>
          <p:cNvSpPr>
            <a:spLocks noChangeAspect="1" noChangeArrowheads="1"/>
          </p:cNvSpPr>
          <p:nvPr/>
        </p:nvSpPr>
        <p:spPr bwMode="gray">
          <a:xfrm>
            <a:off x="5170022" y="403461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nl-NL" sz="1000" kern="0" dirty="0">
                <a:latin typeface="Corbel"/>
                <a:cs typeface="Arial" charset="0"/>
              </a:rPr>
              <a:t>38</a:t>
            </a:r>
            <a:endParaRPr kumimoji="0" lang="nl-NL" sz="1000" i="0" u="none" strike="noStrike" kern="0" cap="none" spc="0" normalizeH="0" baseline="0" noProof="0" dirty="0">
              <a:ln>
                <a:noFill/>
              </a:ln>
              <a:effectLst/>
              <a:uLnTx/>
              <a:uFillTx/>
              <a:latin typeface="Corbel"/>
              <a:cs typeface="Arial" charset="0"/>
            </a:endParaRPr>
          </a:p>
        </p:txBody>
      </p:sp>
      <p:sp>
        <p:nvSpPr>
          <p:cNvPr id="136" name="Oval 135">
            <a:extLst>
              <a:ext uri="{FF2B5EF4-FFF2-40B4-BE49-F238E27FC236}">
                <a16:creationId xmlns:a16="http://schemas.microsoft.com/office/drawing/2014/main" id="{2905FDE2-2B50-4F1C-9FBF-E2AC172339F5}"/>
              </a:ext>
            </a:extLst>
          </p:cNvPr>
          <p:cNvSpPr>
            <a:spLocks noChangeAspect="1" noChangeArrowheads="1"/>
          </p:cNvSpPr>
          <p:nvPr/>
        </p:nvSpPr>
        <p:spPr bwMode="gray">
          <a:xfrm>
            <a:off x="5170022" y="4416356"/>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nl-NL" sz="1000" kern="0" dirty="0">
                <a:latin typeface="Corbel"/>
                <a:cs typeface="Arial" charset="0"/>
              </a:rPr>
              <a:t>10,1</a:t>
            </a:r>
            <a:endParaRPr kumimoji="0" lang="nl-NL" sz="1000" i="0" u="none" strike="noStrike" kern="0" cap="none" spc="0" normalizeH="0" baseline="0" noProof="0" dirty="0">
              <a:ln>
                <a:noFill/>
              </a:ln>
              <a:effectLst/>
              <a:uLnTx/>
              <a:uFillTx/>
              <a:latin typeface="Corbel"/>
              <a:cs typeface="Arial" charset="0"/>
            </a:endParaRPr>
          </a:p>
        </p:txBody>
      </p:sp>
      <p:sp>
        <p:nvSpPr>
          <p:cNvPr id="137" name="Oval 136">
            <a:extLst>
              <a:ext uri="{FF2B5EF4-FFF2-40B4-BE49-F238E27FC236}">
                <a16:creationId xmlns:a16="http://schemas.microsoft.com/office/drawing/2014/main" id="{1123C492-9D45-4298-8EA6-10077DD74EE0}"/>
              </a:ext>
            </a:extLst>
          </p:cNvPr>
          <p:cNvSpPr>
            <a:spLocks noChangeAspect="1" noChangeArrowheads="1"/>
          </p:cNvSpPr>
          <p:nvPr/>
        </p:nvSpPr>
        <p:spPr bwMode="gray">
          <a:xfrm>
            <a:off x="5170022" y="4836082"/>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2,5</a:t>
            </a:r>
          </a:p>
        </p:txBody>
      </p:sp>
      <p:sp>
        <p:nvSpPr>
          <p:cNvPr id="138" name="Oval 137">
            <a:extLst>
              <a:ext uri="{FF2B5EF4-FFF2-40B4-BE49-F238E27FC236}">
                <a16:creationId xmlns:a16="http://schemas.microsoft.com/office/drawing/2014/main" id="{498093D5-9CDD-4B79-B876-9B7371887C03}"/>
              </a:ext>
            </a:extLst>
          </p:cNvPr>
          <p:cNvSpPr>
            <a:spLocks noChangeAspect="1" noChangeArrowheads="1"/>
          </p:cNvSpPr>
          <p:nvPr/>
        </p:nvSpPr>
        <p:spPr bwMode="gray">
          <a:xfrm>
            <a:off x="5170022" y="525680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913</a:t>
            </a:r>
          </a:p>
        </p:txBody>
      </p:sp>
      <p:sp>
        <p:nvSpPr>
          <p:cNvPr id="140" name="Oval 139">
            <a:extLst>
              <a:ext uri="{FF2B5EF4-FFF2-40B4-BE49-F238E27FC236}">
                <a16:creationId xmlns:a16="http://schemas.microsoft.com/office/drawing/2014/main" id="{77961BE6-FEFA-419A-97AB-09FF0F9C38DE}"/>
              </a:ext>
            </a:extLst>
          </p:cNvPr>
          <p:cNvSpPr>
            <a:spLocks noChangeAspect="1" noChangeArrowheads="1"/>
          </p:cNvSpPr>
          <p:nvPr/>
        </p:nvSpPr>
        <p:spPr bwMode="gray">
          <a:xfrm>
            <a:off x="5873295" y="403461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ctr">
              <a:buNone/>
              <a:defRPr/>
            </a:pPr>
            <a:r>
              <a:rPr kumimoji="0" lang="nl-NL" sz="1000" i="0" u="none" strike="noStrike" kern="0" cap="none" spc="0" normalizeH="0" baseline="0" noProof="0" dirty="0">
                <a:ln>
                  <a:noFill/>
                </a:ln>
                <a:effectLst/>
                <a:uLnTx/>
                <a:uFillTx/>
                <a:latin typeface="Corbel"/>
                <a:cs typeface="Arial" charset="0"/>
              </a:rPr>
              <a:t>38</a:t>
            </a:r>
          </a:p>
        </p:txBody>
      </p:sp>
      <p:sp>
        <p:nvSpPr>
          <p:cNvPr id="141" name="Oval 140">
            <a:extLst>
              <a:ext uri="{FF2B5EF4-FFF2-40B4-BE49-F238E27FC236}">
                <a16:creationId xmlns:a16="http://schemas.microsoft.com/office/drawing/2014/main" id="{DF1477CB-245D-4C39-ABFA-A6BB3756E56C}"/>
              </a:ext>
            </a:extLst>
          </p:cNvPr>
          <p:cNvSpPr>
            <a:spLocks noChangeAspect="1" noChangeArrowheads="1"/>
          </p:cNvSpPr>
          <p:nvPr/>
        </p:nvSpPr>
        <p:spPr bwMode="gray">
          <a:xfrm>
            <a:off x="5873295" y="4416356"/>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10,1</a:t>
            </a:r>
          </a:p>
        </p:txBody>
      </p:sp>
      <p:sp>
        <p:nvSpPr>
          <p:cNvPr id="142" name="Oval 141">
            <a:extLst>
              <a:ext uri="{FF2B5EF4-FFF2-40B4-BE49-F238E27FC236}">
                <a16:creationId xmlns:a16="http://schemas.microsoft.com/office/drawing/2014/main" id="{8929F19B-B9B2-47F1-8104-4357B0E1577F}"/>
              </a:ext>
            </a:extLst>
          </p:cNvPr>
          <p:cNvSpPr>
            <a:spLocks noChangeAspect="1" noChangeArrowheads="1"/>
          </p:cNvSpPr>
          <p:nvPr/>
        </p:nvSpPr>
        <p:spPr bwMode="gray">
          <a:xfrm>
            <a:off x="5873295" y="4836082"/>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2,5</a:t>
            </a:r>
          </a:p>
        </p:txBody>
      </p:sp>
      <p:sp>
        <p:nvSpPr>
          <p:cNvPr id="143" name="Oval 142">
            <a:extLst>
              <a:ext uri="{FF2B5EF4-FFF2-40B4-BE49-F238E27FC236}">
                <a16:creationId xmlns:a16="http://schemas.microsoft.com/office/drawing/2014/main" id="{29724E39-F566-45F2-95E0-868FFC866CAC}"/>
              </a:ext>
            </a:extLst>
          </p:cNvPr>
          <p:cNvSpPr>
            <a:spLocks noChangeAspect="1" noChangeArrowheads="1"/>
          </p:cNvSpPr>
          <p:nvPr/>
        </p:nvSpPr>
        <p:spPr bwMode="gray">
          <a:xfrm>
            <a:off x="5873295" y="525680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nl-NL" sz="1000" kern="0" dirty="0">
                <a:latin typeface="Corbel"/>
                <a:cs typeface="Arial" charset="0"/>
              </a:rPr>
              <a:t>940</a:t>
            </a:r>
            <a:endParaRPr kumimoji="0" lang="nl-NL" sz="1000" i="0" u="none" strike="noStrike" kern="0" cap="none" spc="0" normalizeH="0" baseline="0" noProof="0" dirty="0">
              <a:ln>
                <a:noFill/>
              </a:ln>
              <a:effectLst/>
              <a:uLnTx/>
              <a:uFillTx/>
              <a:latin typeface="Corbel"/>
              <a:cs typeface="Arial" charset="0"/>
            </a:endParaRPr>
          </a:p>
        </p:txBody>
      </p:sp>
      <p:sp>
        <p:nvSpPr>
          <p:cNvPr id="145" name="Oval 144">
            <a:extLst>
              <a:ext uri="{FF2B5EF4-FFF2-40B4-BE49-F238E27FC236}">
                <a16:creationId xmlns:a16="http://schemas.microsoft.com/office/drawing/2014/main" id="{8ACB414F-4608-461A-B231-BE7065080EF4}"/>
              </a:ext>
            </a:extLst>
          </p:cNvPr>
          <p:cNvSpPr>
            <a:spLocks noChangeAspect="1" noChangeArrowheads="1"/>
          </p:cNvSpPr>
          <p:nvPr/>
        </p:nvSpPr>
        <p:spPr bwMode="gray">
          <a:xfrm>
            <a:off x="6576568" y="403461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ctr">
              <a:buNone/>
              <a:defRPr/>
            </a:pPr>
            <a:r>
              <a:rPr lang="nl-NL" sz="1000" kern="0" dirty="0">
                <a:latin typeface="Corbel"/>
                <a:cs typeface="Arial" charset="0"/>
              </a:rPr>
              <a:t>39</a:t>
            </a:r>
            <a:endParaRPr kumimoji="0" lang="nl-NL" sz="1000" i="0" u="none" strike="noStrike" kern="0" cap="none" spc="0" normalizeH="0" baseline="0" noProof="0" dirty="0">
              <a:ln>
                <a:noFill/>
              </a:ln>
              <a:effectLst/>
              <a:uLnTx/>
              <a:uFillTx/>
              <a:latin typeface="Corbel"/>
              <a:cs typeface="Arial" charset="0"/>
            </a:endParaRPr>
          </a:p>
        </p:txBody>
      </p:sp>
      <p:sp>
        <p:nvSpPr>
          <p:cNvPr id="146" name="Oval 145">
            <a:extLst>
              <a:ext uri="{FF2B5EF4-FFF2-40B4-BE49-F238E27FC236}">
                <a16:creationId xmlns:a16="http://schemas.microsoft.com/office/drawing/2014/main" id="{39D05117-5991-43C2-BB57-60C48F7EAF16}"/>
              </a:ext>
            </a:extLst>
          </p:cNvPr>
          <p:cNvSpPr>
            <a:spLocks noChangeAspect="1" noChangeArrowheads="1"/>
          </p:cNvSpPr>
          <p:nvPr/>
        </p:nvSpPr>
        <p:spPr bwMode="gray">
          <a:xfrm>
            <a:off x="6576568" y="4416356"/>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10,2</a:t>
            </a:r>
          </a:p>
        </p:txBody>
      </p:sp>
      <p:sp>
        <p:nvSpPr>
          <p:cNvPr id="147" name="Oval 146">
            <a:extLst>
              <a:ext uri="{FF2B5EF4-FFF2-40B4-BE49-F238E27FC236}">
                <a16:creationId xmlns:a16="http://schemas.microsoft.com/office/drawing/2014/main" id="{D75A78D6-6C68-408C-A258-36A15982804F}"/>
              </a:ext>
            </a:extLst>
          </p:cNvPr>
          <p:cNvSpPr>
            <a:spLocks noChangeAspect="1" noChangeArrowheads="1"/>
          </p:cNvSpPr>
          <p:nvPr/>
        </p:nvSpPr>
        <p:spPr bwMode="gray">
          <a:xfrm>
            <a:off x="6576568" y="4836082"/>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2,6</a:t>
            </a:r>
          </a:p>
        </p:txBody>
      </p:sp>
      <p:sp>
        <p:nvSpPr>
          <p:cNvPr id="148" name="Oval 147">
            <a:extLst>
              <a:ext uri="{FF2B5EF4-FFF2-40B4-BE49-F238E27FC236}">
                <a16:creationId xmlns:a16="http://schemas.microsoft.com/office/drawing/2014/main" id="{DB0A277C-4718-4243-A9E8-588129A166B5}"/>
              </a:ext>
            </a:extLst>
          </p:cNvPr>
          <p:cNvSpPr>
            <a:spLocks noChangeAspect="1" noChangeArrowheads="1"/>
          </p:cNvSpPr>
          <p:nvPr/>
        </p:nvSpPr>
        <p:spPr bwMode="gray">
          <a:xfrm>
            <a:off x="6576568" y="525680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nl-NL" sz="1000" kern="0" dirty="0">
                <a:latin typeface="Corbel"/>
                <a:cs typeface="Arial" charset="0"/>
              </a:rPr>
              <a:t>968</a:t>
            </a:r>
            <a:endParaRPr kumimoji="0" lang="nl-NL" sz="1000" i="0" u="none" strike="noStrike" kern="0" cap="none" spc="0" normalizeH="0" baseline="0" noProof="0" dirty="0">
              <a:ln>
                <a:noFill/>
              </a:ln>
              <a:effectLst/>
              <a:uLnTx/>
              <a:uFillTx/>
              <a:latin typeface="Corbel"/>
              <a:cs typeface="Arial" charset="0"/>
            </a:endParaRPr>
          </a:p>
        </p:txBody>
      </p:sp>
      <p:sp>
        <p:nvSpPr>
          <p:cNvPr id="150" name="Oval 149">
            <a:extLst>
              <a:ext uri="{FF2B5EF4-FFF2-40B4-BE49-F238E27FC236}">
                <a16:creationId xmlns:a16="http://schemas.microsoft.com/office/drawing/2014/main" id="{D3F56943-97C5-4285-B6D8-D9509D2501E8}"/>
              </a:ext>
            </a:extLst>
          </p:cNvPr>
          <p:cNvSpPr>
            <a:spLocks noChangeAspect="1" noChangeArrowheads="1"/>
          </p:cNvSpPr>
          <p:nvPr/>
        </p:nvSpPr>
        <p:spPr bwMode="gray">
          <a:xfrm>
            <a:off x="7279841" y="403461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ctr">
              <a:buNone/>
              <a:defRPr/>
            </a:pPr>
            <a:r>
              <a:rPr lang="nl-NL" sz="1000" kern="0" dirty="0">
                <a:latin typeface="Corbel"/>
                <a:cs typeface="Arial" charset="0"/>
              </a:rPr>
              <a:t>39</a:t>
            </a:r>
            <a:endParaRPr kumimoji="0" lang="nl-NL" sz="1000" i="0" u="none" strike="noStrike" kern="0" cap="none" spc="0" normalizeH="0" baseline="0" noProof="0" dirty="0">
              <a:ln>
                <a:noFill/>
              </a:ln>
              <a:effectLst/>
              <a:uLnTx/>
              <a:uFillTx/>
              <a:latin typeface="Corbel"/>
              <a:cs typeface="Arial" charset="0"/>
            </a:endParaRPr>
          </a:p>
        </p:txBody>
      </p:sp>
      <p:sp>
        <p:nvSpPr>
          <p:cNvPr id="151" name="Oval 150">
            <a:extLst>
              <a:ext uri="{FF2B5EF4-FFF2-40B4-BE49-F238E27FC236}">
                <a16:creationId xmlns:a16="http://schemas.microsoft.com/office/drawing/2014/main" id="{5BDFECC5-EC0E-4077-8E4B-F72AFA9DC3EA}"/>
              </a:ext>
            </a:extLst>
          </p:cNvPr>
          <p:cNvSpPr>
            <a:spLocks noChangeAspect="1" noChangeArrowheads="1"/>
          </p:cNvSpPr>
          <p:nvPr/>
        </p:nvSpPr>
        <p:spPr bwMode="gray">
          <a:xfrm>
            <a:off x="7279841" y="4416356"/>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10,3</a:t>
            </a:r>
          </a:p>
        </p:txBody>
      </p:sp>
      <p:sp>
        <p:nvSpPr>
          <p:cNvPr id="152" name="Oval 151">
            <a:extLst>
              <a:ext uri="{FF2B5EF4-FFF2-40B4-BE49-F238E27FC236}">
                <a16:creationId xmlns:a16="http://schemas.microsoft.com/office/drawing/2014/main" id="{538317FB-E22D-4B7E-A98B-14D765AB7A4F}"/>
              </a:ext>
            </a:extLst>
          </p:cNvPr>
          <p:cNvSpPr>
            <a:spLocks noChangeAspect="1" noChangeArrowheads="1"/>
          </p:cNvSpPr>
          <p:nvPr/>
        </p:nvSpPr>
        <p:spPr bwMode="gray">
          <a:xfrm>
            <a:off x="7279841" y="4836082"/>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2,6</a:t>
            </a:r>
          </a:p>
        </p:txBody>
      </p:sp>
      <p:sp>
        <p:nvSpPr>
          <p:cNvPr id="153" name="Oval 152">
            <a:extLst>
              <a:ext uri="{FF2B5EF4-FFF2-40B4-BE49-F238E27FC236}">
                <a16:creationId xmlns:a16="http://schemas.microsoft.com/office/drawing/2014/main" id="{21EB2506-E8A2-46B1-9D5B-25E01FA59515}"/>
              </a:ext>
            </a:extLst>
          </p:cNvPr>
          <p:cNvSpPr>
            <a:spLocks noChangeAspect="1" noChangeArrowheads="1"/>
          </p:cNvSpPr>
          <p:nvPr/>
        </p:nvSpPr>
        <p:spPr bwMode="gray">
          <a:xfrm>
            <a:off x="7279841" y="525680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998</a:t>
            </a:r>
          </a:p>
        </p:txBody>
      </p:sp>
      <p:sp>
        <p:nvSpPr>
          <p:cNvPr id="155" name="Oval 154">
            <a:extLst>
              <a:ext uri="{FF2B5EF4-FFF2-40B4-BE49-F238E27FC236}">
                <a16:creationId xmlns:a16="http://schemas.microsoft.com/office/drawing/2014/main" id="{0CEA5206-1DDF-41A0-B71C-DBF1EFECBCE8}"/>
              </a:ext>
            </a:extLst>
          </p:cNvPr>
          <p:cNvSpPr>
            <a:spLocks noChangeAspect="1" noChangeArrowheads="1"/>
          </p:cNvSpPr>
          <p:nvPr/>
        </p:nvSpPr>
        <p:spPr bwMode="gray">
          <a:xfrm>
            <a:off x="7983114" y="403461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ctr">
              <a:buNone/>
              <a:defRPr/>
            </a:pPr>
            <a:r>
              <a:rPr kumimoji="0" lang="nl-NL" sz="1000" i="0" u="none" strike="noStrike" kern="0" cap="none" spc="0" normalizeH="0" baseline="0" noProof="0" dirty="0">
                <a:ln>
                  <a:noFill/>
                </a:ln>
                <a:effectLst/>
                <a:uLnTx/>
                <a:uFillTx/>
                <a:latin typeface="Corbel"/>
                <a:cs typeface="Arial" charset="0"/>
              </a:rPr>
              <a:t>39</a:t>
            </a:r>
          </a:p>
        </p:txBody>
      </p:sp>
      <p:sp>
        <p:nvSpPr>
          <p:cNvPr id="156" name="Oval 155">
            <a:extLst>
              <a:ext uri="{FF2B5EF4-FFF2-40B4-BE49-F238E27FC236}">
                <a16:creationId xmlns:a16="http://schemas.microsoft.com/office/drawing/2014/main" id="{ACA0487F-A1D8-4E1A-82D4-253CECA6C382}"/>
              </a:ext>
            </a:extLst>
          </p:cNvPr>
          <p:cNvSpPr>
            <a:spLocks noChangeAspect="1" noChangeArrowheads="1"/>
          </p:cNvSpPr>
          <p:nvPr/>
        </p:nvSpPr>
        <p:spPr bwMode="gray">
          <a:xfrm>
            <a:off x="7983114" y="4416356"/>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10,3</a:t>
            </a:r>
          </a:p>
        </p:txBody>
      </p:sp>
      <p:sp>
        <p:nvSpPr>
          <p:cNvPr id="157" name="Oval 156">
            <a:extLst>
              <a:ext uri="{FF2B5EF4-FFF2-40B4-BE49-F238E27FC236}">
                <a16:creationId xmlns:a16="http://schemas.microsoft.com/office/drawing/2014/main" id="{5D04743B-D6C2-4E84-8321-E7219B9CDC18}"/>
              </a:ext>
            </a:extLst>
          </p:cNvPr>
          <p:cNvSpPr>
            <a:spLocks noChangeAspect="1" noChangeArrowheads="1"/>
          </p:cNvSpPr>
          <p:nvPr/>
        </p:nvSpPr>
        <p:spPr bwMode="gray">
          <a:xfrm>
            <a:off x="7983114" y="4836082"/>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2,6</a:t>
            </a:r>
          </a:p>
        </p:txBody>
      </p:sp>
      <p:sp>
        <p:nvSpPr>
          <p:cNvPr id="158" name="Oval 157">
            <a:extLst>
              <a:ext uri="{FF2B5EF4-FFF2-40B4-BE49-F238E27FC236}">
                <a16:creationId xmlns:a16="http://schemas.microsoft.com/office/drawing/2014/main" id="{ACFF2EB3-406A-4F75-8D35-7A86CFBEC1DB}"/>
              </a:ext>
            </a:extLst>
          </p:cNvPr>
          <p:cNvSpPr>
            <a:spLocks noChangeAspect="1" noChangeArrowheads="1"/>
          </p:cNvSpPr>
          <p:nvPr/>
        </p:nvSpPr>
        <p:spPr bwMode="gray">
          <a:xfrm>
            <a:off x="7983114" y="525680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1.008</a:t>
            </a:r>
          </a:p>
        </p:txBody>
      </p:sp>
      <p:sp>
        <p:nvSpPr>
          <p:cNvPr id="160" name="Oval 159">
            <a:extLst>
              <a:ext uri="{FF2B5EF4-FFF2-40B4-BE49-F238E27FC236}">
                <a16:creationId xmlns:a16="http://schemas.microsoft.com/office/drawing/2014/main" id="{25371ED5-D3CD-4F6B-B7A4-21BB4531AE63}"/>
              </a:ext>
            </a:extLst>
          </p:cNvPr>
          <p:cNvSpPr>
            <a:spLocks noChangeAspect="1" noChangeArrowheads="1"/>
          </p:cNvSpPr>
          <p:nvPr/>
        </p:nvSpPr>
        <p:spPr bwMode="gray">
          <a:xfrm>
            <a:off x="8686387" y="403461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ctr">
              <a:buNone/>
              <a:defRPr/>
            </a:pPr>
            <a:r>
              <a:rPr lang="nl-NL" sz="1000" kern="0" dirty="0">
                <a:latin typeface="Corbel"/>
                <a:cs typeface="Arial" charset="0"/>
              </a:rPr>
              <a:t>39</a:t>
            </a:r>
            <a:endParaRPr kumimoji="0" lang="nl-NL" sz="1000" i="0" u="none" strike="noStrike" kern="0" cap="none" spc="0" normalizeH="0" baseline="0" noProof="0" dirty="0">
              <a:ln>
                <a:noFill/>
              </a:ln>
              <a:effectLst/>
              <a:uLnTx/>
              <a:uFillTx/>
              <a:latin typeface="Corbel"/>
              <a:cs typeface="Arial" charset="0"/>
            </a:endParaRPr>
          </a:p>
        </p:txBody>
      </p:sp>
      <p:sp>
        <p:nvSpPr>
          <p:cNvPr id="161" name="Oval 160">
            <a:extLst>
              <a:ext uri="{FF2B5EF4-FFF2-40B4-BE49-F238E27FC236}">
                <a16:creationId xmlns:a16="http://schemas.microsoft.com/office/drawing/2014/main" id="{B4E69C17-39F3-4459-926A-62184F006D83}"/>
              </a:ext>
            </a:extLst>
          </p:cNvPr>
          <p:cNvSpPr>
            <a:spLocks noChangeAspect="1" noChangeArrowheads="1"/>
          </p:cNvSpPr>
          <p:nvPr/>
        </p:nvSpPr>
        <p:spPr bwMode="gray">
          <a:xfrm>
            <a:off x="8686387" y="4416356"/>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10,4</a:t>
            </a:r>
          </a:p>
        </p:txBody>
      </p:sp>
      <p:sp>
        <p:nvSpPr>
          <p:cNvPr id="162" name="Oval 161">
            <a:extLst>
              <a:ext uri="{FF2B5EF4-FFF2-40B4-BE49-F238E27FC236}">
                <a16:creationId xmlns:a16="http://schemas.microsoft.com/office/drawing/2014/main" id="{7F53292F-7D87-4315-9C3C-4B10A4DB22E8}"/>
              </a:ext>
            </a:extLst>
          </p:cNvPr>
          <p:cNvSpPr>
            <a:spLocks noChangeAspect="1" noChangeArrowheads="1"/>
          </p:cNvSpPr>
          <p:nvPr/>
        </p:nvSpPr>
        <p:spPr bwMode="gray">
          <a:xfrm>
            <a:off x="8686387" y="4836082"/>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2,6</a:t>
            </a:r>
          </a:p>
        </p:txBody>
      </p:sp>
      <p:sp>
        <p:nvSpPr>
          <p:cNvPr id="163" name="Oval 162">
            <a:extLst>
              <a:ext uri="{FF2B5EF4-FFF2-40B4-BE49-F238E27FC236}">
                <a16:creationId xmlns:a16="http://schemas.microsoft.com/office/drawing/2014/main" id="{408B8B82-5BC0-4C30-B569-5A16EC45DA62}"/>
              </a:ext>
            </a:extLst>
          </p:cNvPr>
          <p:cNvSpPr>
            <a:spLocks noChangeAspect="1" noChangeArrowheads="1"/>
          </p:cNvSpPr>
          <p:nvPr/>
        </p:nvSpPr>
        <p:spPr bwMode="gray">
          <a:xfrm>
            <a:off x="8686387" y="525680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1.020</a:t>
            </a:r>
          </a:p>
        </p:txBody>
      </p:sp>
      <p:sp>
        <p:nvSpPr>
          <p:cNvPr id="165" name="Oval 164">
            <a:extLst>
              <a:ext uri="{FF2B5EF4-FFF2-40B4-BE49-F238E27FC236}">
                <a16:creationId xmlns:a16="http://schemas.microsoft.com/office/drawing/2014/main" id="{1C22ED76-1D7D-4DC2-8756-E1B6F38A19D2}"/>
              </a:ext>
            </a:extLst>
          </p:cNvPr>
          <p:cNvSpPr>
            <a:spLocks noChangeAspect="1" noChangeArrowheads="1"/>
          </p:cNvSpPr>
          <p:nvPr/>
        </p:nvSpPr>
        <p:spPr bwMode="gray">
          <a:xfrm>
            <a:off x="9389660" y="403461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ctr">
              <a:buNone/>
              <a:defRPr/>
            </a:pPr>
            <a:r>
              <a:rPr lang="nl-NL" sz="1000" kern="0" dirty="0">
                <a:latin typeface="Corbel"/>
                <a:cs typeface="Arial" charset="0"/>
              </a:rPr>
              <a:t>39</a:t>
            </a:r>
            <a:endParaRPr kumimoji="0" lang="nl-NL" sz="1000" i="0" u="none" strike="noStrike" kern="0" cap="none" spc="0" normalizeH="0" baseline="0" noProof="0" dirty="0">
              <a:ln>
                <a:noFill/>
              </a:ln>
              <a:effectLst/>
              <a:uLnTx/>
              <a:uFillTx/>
              <a:latin typeface="Corbel"/>
              <a:cs typeface="Arial" charset="0"/>
            </a:endParaRPr>
          </a:p>
        </p:txBody>
      </p:sp>
      <p:sp>
        <p:nvSpPr>
          <p:cNvPr id="166" name="Oval 165">
            <a:extLst>
              <a:ext uri="{FF2B5EF4-FFF2-40B4-BE49-F238E27FC236}">
                <a16:creationId xmlns:a16="http://schemas.microsoft.com/office/drawing/2014/main" id="{C0616927-5FEB-4FCC-894C-F2D2C58CB874}"/>
              </a:ext>
            </a:extLst>
          </p:cNvPr>
          <p:cNvSpPr>
            <a:spLocks noChangeAspect="1" noChangeArrowheads="1"/>
          </p:cNvSpPr>
          <p:nvPr/>
        </p:nvSpPr>
        <p:spPr bwMode="gray">
          <a:xfrm>
            <a:off x="9389660" y="4416356"/>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10,4</a:t>
            </a:r>
          </a:p>
        </p:txBody>
      </p:sp>
      <p:sp>
        <p:nvSpPr>
          <p:cNvPr id="167" name="Oval 166">
            <a:extLst>
              <a:ext uri="{FF2B5EF4-FFF2-40B4-BE49-F238E27FC236}">
                <a16:creationId xmlns:a16="http://schemas.microsoft.com/office/drawing/2014/main" id="{F6A6F261-B43F-43CE-9D43-652FD28DE502}"/>
              </a:ext>
            </a:extLst>
          </p:cNvPr>
          <p:cNvSpPr>
            <a:spLocks noChangeAspect="1" noChangeArrowheads="1"/>
          </p:cNvSpPr>
          <p:nvPr/>
        </p:nvSpPr>
        <p:spPr bwMode="gray">
          <a:xfrm>
            <a:off x="9389660" y="4836082"/>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2,6</a:t>
            </a:r>
          </a:p>
        </p:txBody>
      </p:sp>
      <p:sp>
        <p:nvSpPr>
          <p:cNvPr id="168" name="Oval 167">
            <a:extLst>
              <a:ext uri="{FF2B5EF4-FFF2-40B4-BE49-F238E27FC236}">
                <a16:creationId xmlns:a16="http://schemas.microsoft.com/office/drawing/2014/main" id="{DBD698FD-A98E-4603-8AAB-F817EC0FF557}"/>
              </a:ext>
            </a:extLst>
          </p:cNvPr>
          <p:cNvSpPr>
            <a:spLocks noChangeAspect="1" noChangeArrowheads="1"/>
          </p:cNvSpPr>
          <p:nvPr/>
        </p:nvSpPr>
        <p:spPr bwMode="gray">
          <a:xfrm>
            <a:off x="9389660" y="525680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nl-NL" sz="1000" kern="0" dirty="0">
                <a:latin typeface="Corbel"/>
                <a:cs typeface="Arial" charset="0"/>
              </a:rPr>
              <a:t>1.032</a:t>
            </a:r>
            <a:endParaRPr kumimoji="0" lang="nl-NL" sz="1000" i="0" u="none" strike="noStrike" kern="0" cap="none" spc="0" normalizeH="0" baseline="0" noProof="0" dirty="0">
              <a:ln>
                <a:noFill/>
              </a:ln>
              <a:effectLst/>
              <a:uLnTx/>
              <a:uFillTx/>
              <a:latin typeface="Corbel"/>
              <a:cs typeface="Arial" charset="0"/>
            </a:endParaRPr>
          </a:p>
        </p:txBody>
      </p:sp>
      <p:sp>
        <p:nvSpPr>
          <p:cNvPr id="170" name="Oval 169">
            <a:extLst>
              <a:ext uri="{FF2B5EF4-FFF2-40B4-BE49-F238E27FC236}">
                <a16:creationId xmlns:a16="http://schemas.microsoft.com/office/drawing/2014/main" id="{E7F5D2B1-3857-4112-B3B4-861BD9B5B06A}"/>
              </a:ext>
            </a:extLst>
          </p:cNvPr>
          <p:cNvSpPr>
            <a:spLocks noChangeAspect="1" noChangeArrowheads="1"/>
          </p:cNvSpPr>
          <p:nvPr/>
        </p:nvSpPr>
        <p:spPr bwMode="gray">
          <a:xfrm>
            <a:off x="10092933" y="403461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ctr">
              <a:buNone/>
              <a:defRPr/>
            </a:pPr>
            <a:r>
              <a:rPr lang="nl-NL" sz="1000" kern="0" dirty="0">
                <a:latin typeface="Corbel"/>
                <a:cs typeface="Arial" charset="0"/>
              </a:rPr>
              <a:t>40</a:t>
            </a:r>
            <a:endParaRPr kumimoji="0" lang="nl-NL" sz="1000" i="0" u="none" strike="noStrike" kern="0" cap="none" spc="0" normalizeH="0" baseline="0" noProof="0" dirty="0">
              <a:ln>
                <a:noFill/>
              </a:ln>
              <a:effectLst/>
              <a:uLnTx/>
              <a:uFillTx/>
              <a:latin typeface="Corbel"/>
              <a:cs typeface="Arial" charset="0"/>
            </a:endParaRPr>
          </a:p>
        </p:txBody>
      </p:sp>
      <p:sp>
        <p:nvSpPr>
          <p:cNvPr id="171" name="Oval 170">
            <a:extLst>
              <a:ext uri="{FF2B5EF4-FFF2-40B4-BE49-F238E27FC236}">
                <a16:creationId xmlns:a16="http://schemas.microsoft.com/office/drawing/2014/main" id="{075A7256-3B98-4C5C-820C-8E96A0CFD660}"/>
              </a:ext>
            </a:extLst>
          </p:cNvPr>
          <p:cNvSpPr>
            <a:spLocks noChangeAspect="1" noChangeArrowheads="1"/>
          </p:cNvSpPr>
          <p:nvPr/>
        </p:nvSpPr>
        <p:spPr bwMode="gray">
          <a:xfrm>
            <a:off x="10092933" y="4416356"/>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10,5</a:t>
            </a:r>
          </a:p>
        </p:txBody>
      </p:sp>
      <p:sp>
        <p:nvSpPr>
          <p:cNvPr id="172" name="Oval 171">
            <a:extLst>
              <a:ext uri="{FF2B5EF4-FFF2-40B4-BE49-F238E27FC236}">
                <a16:creationId xmlns:a16="http://schemas.microsoft.com/office/drawing/2014/main" id="{96D0BABF-CB72-49D5-9354-EB510D1D40A2}"/>
              </a:ext>
            </a:extLst>
          </p:cNvPr>
          <p:cNvSpPr>
            <a:spLocks noChangeAspect="1" noChangeArrowheads="1"/>
          </p:cNvSpPr>
          <p:nvPr/>
        </p:nvSpPr>
        <p:spPr bwMode="gray">
          <a:xfrm>
            <a:off x="10092933" y="4836082"/>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2,6</a:t>
            </a:r>
          </a:p>
        </p:txBody>
      </p:sp>
      <p:sp>
        <p:nvSpPr>
          <p:cNvPr id="173" name="Oval 172">
            <a:extLst>
              <a:ext uri="{FF2B5EF4-FFF2-40B4-BE49-F238E27FC236}">
                <a16:creationId xmlns:a16="http://schemas.microsoft.com/office/drawing/2014/main" id="{F03E3425-7C7A-4DD6-9677-1CC1AE687D08}"/>
              </a:ext>
            </a:extLst>
          </p:cNvPr>
          <p:cNvSpPr>
            <a:spLocks noChangeAspect="1" noChangeArrowheads="1"/>
          </p:cNvSpPr>
          <p:nvPr/>
        </p:nvSpPr>
        <p:spPr bwMode="gray">
          <a:xfrm>
            <a:off x="10092933" y="525680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1.046</a:t>
            </a:r>
          </a:p>
        </p:txBody>
      </p:sp>
      <p:sp>
        <p:nvSpPr>
          <p:cNvPr id="175" name="Oval 174">
            <a:extLst>
              <a:ext uri="{FF2B5EF4-FFF2-40B4-BE49-F238E27FC236}">
                <a16:creationId xmlns:a16="http://schemas.microsoft.com/office/drawing/2014/main" id="{672B7CA2-B934-4CCD-841A-3C05C0DA7F33}"/>
              </a:ext>
            </a:extLst>
          </p:cNvPr>
          <p:cNvSpPr>
            <a:spLocks noChangeAspect="1" noChangeArrowheads="1"/>
          </p:cNvSpPr>
          <p:nvPr/>
        </p:nvSpPr>
        <p:spPr bwMode="gray">
          <a:xfrm>
            <a:off x="10796206" y="403461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ctr">
              <a:buNone/>
              <a:defRPr/>
            </a:pPr>
            <a:r>
              <a:rPr lang="nl-NL" sz="1000" kern="0" dirty="0">
                <a:latin typeface="Corbel"/>
                <a:cs typeface="Arial" charset="0"/>
              </a:rPr>
              <a:t>40</a:t>
            </a:r>
            <a:endParaRPr kumimoji="0" lang="nl-NL" sz="1000" i="0" u="none" strike="noStrike" kern="0" cap="none" spc="0" normalizeH="0" baseline="0" noProof="0" dirty="0">
              <a:ln>
                <a:noFill/>
              </a:ln>
              <a:effectLst/>
              <a:uLnTx/>
              <a:uFillTx/>
              <a:latin typeface="Corbel"/>
              <a:cs typeface="Arial" charset="0"/>
            </a:endParaRPr>
          </a:p>
        </p:txBody>
      </p:sp>
      <p:sp>
        <p:nvSpPr>
          <p:cNvPr id="177" name="Oval 176">
            <a:extLst>
              <a:ext uri="{FF2B5EF4-FFF2-40B4-BE49-F238E27FC236}">
                <a16:creationId xmlns:a16="http://schemas.microsoft.com/office/drawing/2014/main" id="{E203BB5C-A50A-4CF7-B923-0F46D8326ECF}"/>
              </a:ext>
            </a:extLst>
          </p:cNvPr>
          <p:cNvSpPr>
            <a:spLocks noChangeAspect="1" noChangeArrowheads="1"/>
          </p:cNvSpPr>
          <p:nvPr/>
        </p:nvSpPr>
        <p:spPr bwMode="gray">
          <a:xfrm>
            <a:off x="10796206" y="4416356"/>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10,5</a:t>
            </a:r>
          </a:p>
        </p:txBody>
      </p:sp>
      <p:sp>
        <p:nvSpPr>
          <p:cNvPr id="178" name="Oval 177">
            <a:extLst>
              <a:ext uri="{FF2B5EF4-FFF2-40B4-BE49-F238E27FC236}">
                <a16:creationId xmlns:a16="http://schemas.microsoft.com/office/drawing/2014/main" id="{A6C18C87-93DB-4E35-90D8-CB7AAA8C3D51}"/>
              </a:ext>
            </a:extLst>
          </p:cNvPr>
          <p:cNvSpPr>
            <a:spLocks noChangeAspect="1" noChangeArrowheads="1"/>
          </p:cNvSpPr>
          <p:nvPr/>
        </p:nvSpPr>
        <p:spPr bwMode="gray">
          <a:xfrm>
            <a:off x="10796206" y="4836082"/>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2,7</a:t>
            </a:r>
          </a:p>
        </p:txBody>
      </p:sp>
      <p:sp>
        <p:nvSpPr>
          <p:cNvPr id="179" name="Oval 178">
            <a:extLst>
              <a:ext uri="{FF2B5EF4-FFF2-40B4-BE49-F238E27FC236}">
                <a16:creationId xmlns:a16="http://schemas.microsoft.com/office/drawing/2014/main" id="{EA0B24D3-5C24-499C-80A4-851053B7C923}"/>
              </a:ext>
            </a:extLst>
          </p:cNvPr>
          <p:cNvSpPr>
            <a:spLocks noChangeAspect="1" noChangeArrowheads="1"/>
          </p:cNvSpPr>
          <p:nvPr/>
        </p:nvSpPr>
        <p:spPr bwMode="gray">
          <a:xfrm>
            <a:off x="10796206" y="5256801"/>
            <a:ext cx="504000" cy="241417"/>
          </a:xfrm>
          <a:prstGeom prst="ellipse">
            <a:avLst/>
          </a:prstGeom>
          <a:solidFill>
            <a:schemeClr val="accent2">
              <a:lumMod val="20000"/>
              <a:lumOff val="80000"/>
            </a:schemeClr>
          </a:solidFill>
          <a:ln w="12700">
            <a:noFill/>
            <a:round/>
            <a:headEnd/>
            <a:tailEnd/>
          </a:ln>
        </p:spPr>
        <p:txBody>
          <a:bodyPr wrap="none"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i="0" u="none" strike="noStrike" kern="0" cap="none" spc="0" normalizeH="0" baseline="0" noProof="0" dirty="0">
                <a:ln>
                  <a:noFill/>
                </a:ln>
                <a:effectLst/>
                <a:uLnTx/>
                <a:uFillTx/>
                <a:latin typeface="Corbel"/>
                <a:cs typeface="Arial" charset="0"/>
              </a:rPr>
              <a:t>1.061</a:t>
            </a:r>
          </a:p>
        </p:txBody>
      </p:sp>
      <p:sp>
        <p:nvSpPr>
          <p:cNvPr id="264" name="Footer Placeholder 4">
            <a:extLst>
              <a:ext uri="{FF2B5EF4-FFF2-40B4-BE49-F238E27FC236}">
                <a16:creationId xmlns:a16="http://schemas.microsoft.com/office/drawing/2014/main" id="{6D2D8E9E-DCC2-4942-BE64-2A0E77E59577}"/>
              </a:ext>
            </a:extLst>
          </p:cNvPr>
          <p:cNvSpPr txBox="1">
            <a:spLocks/>
          </p:cNvSpPr>
          <p:nvPr/>
        </p:nvSpPr>
        <p:spPr>
          <a:xfrm>
            <a:off x="658813" y="6673013"/>
            <a:ext cx="10857109" cy="185502"/>
          </a:xfrm>
          <a:prstGeom prst="rect">
            <a:avLst/>
          </a:prstGeom>
        </p:spPr>
        <p:txBody>
          <a:bodyPr/>
          <a:lst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buNone/>
            </a:pPr>
            <a:endParaRPr kumimoji="0" lang="nl-NL" sz="800" b="0" i="0" u="none" strike="noStrike" kern="1200" cap="none" spc="0" normalizeH="0" baseline="0" noProof="0" dirty="0">
              <a:ln>
                <a:noFill/>
              </a:ln>
              <a:solidFill>
                <a:srgbClr val="000000"/>
              </a:solidFill>
              <a:effectLst/>
              <a:uLnTx/>
              <a:uFillTx/>
              <a:latin typeface="Corbel"/>
            </a:endParaRPr>
          </a:p>
        </p:txBody>
      </p:sp>
      <p:sp>
        <p:nvSpPr>
          <p:cNvPr id="182" name="Right Brace 181">
            <a:extLst>
              <a:ext uri="{FF2B5EF4-FFF2-40B4-BE49-F238E27FC236}">
                <a16:creationId xmlns:a16="http://schemas.microsoft.com/office/drawing/2014/main" id="{02294582-9342-4B14-A9C6-AAAB9EB8B4B2}"/>
              </a:ext>
            </a:extLst>
          </p:cNvPr>
          <p:cNvSpPr/>
          <p:nvPr/>
        </p:nvSpPr>
        <p:spPr>
          <a:xfrm rot="16200000">
            <a:off x="7487470" y="-1967393"/>
            <a:ext cx="99225" cy="7526251"/>
          </a:xfrm>
          <a:prstGeom prst="rightBrace">
            <a:avLst/>
          </a:prstGeom>
          <a:ln>
            <a:solidFill>
              <a:schemeClr val="accent6">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sp>
        <p:nvSpPr>
          <p:cNvPr id="144" name="Rectangle 143">
            <a:extLst>
              <a:ext uri="{FF2B5EF4-FFF2-40B4-BE49-F238E27FC236}">
                <a16:creationId xmlns:a16="http://schemas.microsoft.com/office/drawing/2014/main" id="{70F3F3E2-59CE-4271-AB51-69944456E8BD}"/>
              </a:ext>
            </a:extLst>
          </p:cNvPr>
          <p:cNvSpPr/>
          <p:nvPr/>
        </p:nvSpPr>
        <p:spPr>
          <a:xfrm>
            <a:off x="9709928" y="1267037"/>
            <a:ext cx="1820272" cy="252000"/>
          </a:xfrm>
          <a:prstGeom prst="rect">
            <a:avLst/>
          </a:prstGeom>
          <a:solidFill>
            <a:schemeClr val="bg1">
              <a:lumMod val="95000"/>
            </a:schemeClr>
          </a:solidFill>
          <a:ln>
            <a:solidFill>
              <a:schemeClr val="bg1">
                <a:lumMod val="50000"/>
              </a:schemeClr>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b="1" dirty="0"/>
              <a:t>INDICATIEF</a:t>
            </a:r>
            <a:endParaRPr kumimoji="0" lang="nl-NL" sz="10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49" name="Footer Placeholder 8">
            <a:extLst>
              <a:ext uri="{FF2B5EF4-FFF2-40B4-BE49-F238E27FC236}">
                <a16:creationId xmlns:a16="http://schemas.microsoft.com/office/drawing/2014/main" id="{9AA05ACD-D887-4CFB-AC65-B3436D0EBE31}"/>
              </a:ext>
            </a:extLst>
          </p:cNvPr>
          <p:cNvSpPr txBox="1">
            <a:spLocks/>
          </p:cNvSpPr>
          <p:nvPr/>
        </p:nvSpPr>
        <p:spPr>
          <a:xfrm>
            <a:off x="661800" y="6624637"/>
            <a:ext cx="10868400" cy="122400"/>
          </a:xfrm>
          <a:prstGeom prst="rect">
            <a:avLst/>
          </a:prstGeom>
        </p:spPr>
        <p:txBody>
          <a:bodyPr vert="horz" lIns="36000" tIns="36000" rIns="36000" bIns="36000" rtlCol="0" anchor="ctr"/>
          <a:lstStyle>
            <a:defPPr>
              <a:defRPr lang="nl-NL"/>
            </a:defPPr>
            <a:lvl1pPr marL="0" indent="0" algn="l" defTabSz="685800" rtl="0" eaLnBrk="1" latinLnBrk="0" hangingPunct="1">
              <a:lnSpc>
                <a:spcPct val="90000"/>
              </a:lnSpc>
              <a:spcBef>
                <a:spcPts val="375"/>
              </a:spcBef>
              <a:buClr>
                <a:schemeClr val="dk2"/>
              </a:buClr>
              <a:buFont typeface="Wingdings" panose="05000000000000000000" pitchFamily="2" charset="2"/>
              <a:buNone/>
              <a:defRPr sz="800" kern="1200">
                <a:solidFill>
                  <a:srgbClr val="000000"/>
                </a:solidFill>
                <a:latin typeface="+mn-lt"/>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indent="0">
              <a:buNone/>
              <a:defRPr/>
            </a:pPr>
            <a:r>
              <a:rPr lang="nl-NL" sz="800" dirty="0">
                <a:solidFill>
                  <a:srgbClr val="000000"/>
                </a:solidFill>
                <a:latin typeface="Corbel"/>
              </a:rPr>
              <a:t>Bron</a:t>
            </a:r>
            <a:r>
              <a:rPr lang="nl-NL" sz="800">
                <a:solidFill>
                  <a:srgbClr val="000000"/>
                </a:solidFill>
                <a:latin typeface="Corbel"/>
              </a:rPr>
              <a:t>: It's Public </a:t>
            </a:r>
            <a:r>
              <a:rPr lang="nl-NL" sz="800" dirty="0">
                <a:solidFill>
                  <a:srgbClr val="000000"/>
                </a:solidFill>
                <a:latin typeface="Corbel"/>
              </a:rPr>
              <a:t>analyse o.b.v. project bij betreffende gemeente</a:t>
            </a:r>
          </a:p>
        </p:txBody>
      </p:sp>
    </p:spTree>
    <p:extLst>
      <p:ext uri="{BB962C8B-B14F-4D97-AF65-F5344CB8AC3E}">
        <p14:creationId xmlns:p14="http://schemas.microsoft.com/office/powerpoint/2010/main" val="22242592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80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183B23A-38CD-4DE8-A96C-7C7BC7C07ADF}"/>
              </a:ext>
            </a:extLst>
          </p:cNvPr>
          <p:cNvGraphicFramePr>
            <a:graphicFrameLocks noChangeAspect="1"/>
          </p:cNvGraphicFramePr>
          <p:nvPr>
            <p:custDataLst>
              <p:tags r:id="rId2"/>
            </p:custDataLst>
            <p:extLst>
              <p:ext uri="{D42A27DB-BD31-4B8C-83A1-F6EECF244321}">
                <p14:modId xmlns:p14="http://schemas.microsoft.com/office/powerpoint/2010/main" val="3916155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8" name="think-cell Slide" r:id="rId5" imgW="425" imgH="424" progId="TCLayout.ActiveDocument.1">
                  <p:embed/>
                </p:oleObj>
              </mc:Choice>
              <mc:Fallback>
                <p:oleObj name="think-cell Slide" r:id="rId5" imgW="425" imgH="424" progId="TCLayout.ActiveDocument.1">
                  <p:embed/>
                  <p:pic>
                    <p:nvPicPr>
                      <p:cNvPr id="2" name="Object 1" hidden="1">
                        <a:extLst>
                          <a:ext uri="{FF2B5EF4-FFF2-40B4-BE49-F238E27FC236}">
                            <a16:creationId xmlns:a16="http://schemas.microsoft.com/office/drawing/2014/main" id="{8183B23A-38CD-4DE8-A96C-7C7BC7C07A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02" name="Google Shape;802;p17"/>
          <p:cNvSpPr txBox="1">
            <a:spLocks noGrp="1"/>
          </p:cNvSpPr>
          <p:nvPr>
            <p:ph type="title"/>
          </p:nvPr>
        </p:nvSpPr>
        <p:spPr>
          <a:xfrm>
            <a:off x="666747" y="266699"/>
            <a:ext cx="10866441" cy="930276"/>
          </a:xfrm>
          <a:prstGeom prst="rect">
            <a:avLst/>
          </a:prstGeom>
          <a:noFill/>
          <a:ln>
            <a:noFill/>
          </a:ln>
        </p:spPr>
        <p:txBody>
          <a:bodyPr spcFirstLastPara="1" wrap="square" lIns="36000" tIns="36000" rIns="36000" bIns="36000" anchor="b" anchorCtr="0">
            <a:noAutofit/>
          </a:bodyPr>
          <a:lstStyle/>
          <a:p>
            <a:r>
              <a:rPr lang="nl-NL" dirty="0"/>
              <a:t>Collectief Wmo-vervoer wordt verschillend ingevuld door gemeenten </a:t>
            </a:r>
          </a:p>
        </p:txBody>
      </p:sp>
      <p:sp>
        <p:nvSpPr>
          <p:cNvPr id="803" name="Google Shape;803;p17"/>
          <p:cNvSpPr txBox="1">
            <a:spLocks noGrp="1"/>
          </p:cNvSpPr>
          <p:nvPr>
            <p:ph type="sldNum" idx="12"/>
          </p:nvPr>
        </p:nvSpPr>
        <p:spPr>
          <a:xfrm>
            <a:off x="10510048" y="6619875"/>
            <a:ext cx="1023140" cy="163513"/>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pPr marL="0" lvl="0" indent="0" algn="r">
                <a:lnSpc>
                  <a:spcPct val="90000"/>
                </a:lnSpc>
                <a:spcBef>
                  <a:spcPts val="0"/>
                </a:spcBef>
                <a:spcAft>
                  <a:spcPts val="0"/>
                </a:spcAft>
                <a:buSzPts val="1000"/>
                <a:buNone/>
              </a:pPr>
              <a:t>33</a:t>
            </a:fld>
            <a:endParaRPr lang="nl-NL" dirty="0"/>
          </a:p>
        </p:txBody>
      </p:sp>
      <p:sp>
        <p:nvSpPr>
          <p:cNvPr id="806" name="Google Shape;806;p17"/>
          <p:cNvSpPr txBox="1">
            <a:spLocks noGrp="1"/>
          </p:cNvSpPr>
          <p:nvPr>
            <p:ph type="body" idx="3"/>
          </p:nvPr>
        </p:nvSpPr>
        <p:spPr>
          <a:xfrm>
            <a:off x="666750" y="1228725"/>
            <a:ext cx="10872000" cy="247650"/>
          </a:xfrm>
          <a:prstGeom prst="rect">
            <a:avLst/>
          </a:prstGeom>
          <a:noFill/>
          <a:ln>
            <a:noFill/>
          </a:ln>
        </p:spPr>
        <p:txBody>
          <a:bodyPr spcFirstLastPara="1" wrap="square" lIns="72000" tIns="72000" rIns="72000" bIns="72000" anchor="t" anchorCtr="0">
            <a:noAutofit/>
          </a:bodyPr>
          <a:lstStyle/>
          <a:p>
            <a:pPr marL="0" lvl="0" indent="0" algn="l">
              <a:lnSpc>
                <a:spcPct val="90000"/>
              </a:lnSpc>
              <a:spcBef>
                <a:spcPts val="0"/>
              </a:spcBef>
              <a:spcAft>
                <a:spcPts val="0"/>
              </a:spcAft>
              <a:buSzPts val="1400"/>
              <a:buNone/>
            </a:pPr>
            <a:endParaRPr lang="nl-NL" dirty="0"/>
          </a:p>
        </p:txBody>
      </p:sp>
      <p:graphicFrame>
        <p:nvGraphicFramePr>
          <p:cNvPr id="807" name="Google Shape;807;p17"/>
          <p:cNvGraphicFramePr/>
          <p:nvPr>
            <p:extLst>
              <p:ext uri="{D42A27DB-BD31-4B8C-83A1-F6EECF244321}">
                <p14:modId xmlns:p14="http://schemas.microsoft.com/office/powerpoint/2010/main" val="2092675929"/>
              </p:ext>
            </p:extLst>
          </p:nvPr>
        </p:nvGraphicFramePr>
        <p:xfrm>
          <a:off x="658810" y="1898469"/>
          <a:ext cx="10822975" cy="4415332"/>
        </p:xfrm>
        <a:graphic>
          <a:graphicData uri="http://schemas.openxmlformats.org/drawingml/2006/table">
            <a:tbl>
              <a:tblPr firstRow="1" bandRow="1">
                <a:noFill/>
              </a:tblPr>
              <a:tblGrid>
                <a:gridCol w="2164595">
                  <a:extLst>
                    <a:ext uri="{9D8B030D-6E8A-4147-A177-3AD203B41FA5}">
                      <a16:colId xmlns:a16="http://schemas.microsoft.com/office/drawing/2014/main" val="20000"/>
                    </a:ext>
                  </a:extLst>
                </a:gridCol>
                <a:gridCol w="2164595">
                  <a:extLst>
                    <a:ext uri="{9D8B030D-6E8A-4147-A177-3AD203B41FA5}">
                      <a16:colId xmlns:a16="http://schemas.microsoft.com/office/drawing/2014/main" val="20001"/>
                    </a:ext>
                  </a:extLst>
                </a:gridCol>
                <a:gridCol w="2164595">
                  <a:extLst>
                    <a:ext uri="{9D8B030D-6E8A-4147-A177-3AD203B41FA5}">
                      <a16:colId xmlns:a16="http://schemas.microsoft.com/office/drawing/2014/main" val="20002"/>
                    </a:ext>
                  </a:extLst>
                </a:gridCol>
                <a:gridCol w="2164595">
                  <a:extLst>
                    <a:ext uri="{9D8B030D-6E8A-4147-A177-3AD203B41FA5}">
                      <a16:colId xmlns:a16="http://schemas.microsoft.com/office/drawing/2014/main" val="20003"/>
                    </a:ext>
                  </a:extLst>
                </a:gridCol>
                <a:gridCol w="2164595">
                  <a:extLst>
                    <a:ext uri="{9D8B030D-6E8A-4147-A177-3AD203B41FA5}">
                      <a16:colId xmlns:a16="http://schemas.microsoft.com/office/drawing/2014/main" val="20004"/>
                    </a:ext>
                  </a:extLst>
                </a:gridCol>
              </a:tblGrid>
              <a:tr h="362395">
                <a:tc>
                  <a:txBody>
                    <a:bodyPr/>
                    <a:lstStyle/>
                    <a:p>
                      <a:pPr marL="0" marR="0" lvl="0" indent="0" algn="ctr" rtl="0">
                        <a:spcBef>
                          <a:spcPts val="0"/>
                        </a:spcBef>
                        <a:spcAft>
                          <a:spcPts val="0"/>
                        </a:spcAft>
                        <a:buNone/>
                      </a:pPr>
                      <a:endParaRPr lang="nl-NL" sz="1350" u="none" strike="noStrike" cap="none" dirty="0">
                        <a:solidFill>
                          <a:schemeClr val="lt1"/>
                        </a:solidFill>
                      </a:endParaRPr>
                    </a:p>
                  </a:txBody>
                  <a:tcPr marL="91450" marR="91450" marT="45725" marB="45725" anchor="ctr">
                    <a:lnL w="9525" cap="flat" cmpd="sng">
                      <a:solidFill>
                        <a:srgbClr val="000000">
                          <a:alpha val="0"/>
                        </a:srgbClr>
                      </a:solidFill>
                      <a:prstDash val="solid"/>
                      <a:round/>
                      <a:headEnd type="none" w="sm" len="sm"/>
                      <a:tailEnd type="none" w="sm" len="sm"/>
                    </a:lnL>
                    <a:lnR w="76200" cap="flat" cmpd="sng" algn="ctr">
                      <a:solidFill>
                        <a:srgbClr val="6A6A6A"/>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noFill/>
                  </a:tcPr>
                </a:tc>
                <a:tc>
                  <a:txBody>
                    <a:bodyPr/>
                    <a:lstStyle/>
                    <a:p>
                      <a:pPr marL="0" marR="0" lvl="0" indent="0" algn="ctr" rtl="0">
                        <a:spcBef>
                          <a:spcPts val="0"/>
                        </a:spcBef>
                        <a:spcAft>
                          <a:spcPts val="0"/>
                        </a:spcAft>
                        <a:buNone/>
                      </a:pPr>
                      <a:r>
                        <a:rPr lang="nl-NL" sz="1200" b="1" u="none" strike="noStrike" cap="none" dirty="0">
                          <a:solidFill>
                            <a:srgbClr val="FFFFFF"/>
                          </a:solidFill>
                        </a:rPr>
                        <a:t>Amsterdam</a:t>
                      </a:r>
                      <a:endParaRPr lang="nl-NL" sz="1200" b="1" dirty="0">
                        <a:solidFill>
                          <a:srgbClr val="FFFFFF"/>
                        </a:solidFill>
                      </a:endParaRPr>
                    </a:p>
                  </a:txBody>
                  <a:tcPr marL="91450" marR="91450" marT="45725" marB="45725" anchor="ctr">
                    <a:lnL w="76200" cap="flat" cmpd="sng" algn="ctr">
                      <a:solidFill>
                        <a:srgbClr val="6A6A6A"/>
                      </a:solidFill>
                      <a:prstDash val="solid"/>
                      <a:round/>
                      <a:headEnd type="none" w="med" len="med"/>
                      <a:tailEnd type="none" w="med" len="med"/>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lgn="ctr">
                      <a:solidFill>
                        <a:schemeClr val="bg1"/>
                      </a:solidFill>
                      <a:prstDash val="solid"/>
                      <a:round/>
                      <a:headEnd type="none" w="med" len="med"/>
                      <a:tailEnd type="none" w="med" len="med"/>
                    </a:lnB>
                    <a:solidFill>
                      <a:srgbClr val="6A6A6A"/>
                    </a:solidFill>
                  </a:tcPr>
                </a:tc>
                <a:tc>
                  <a:txBody>
                    <a:bodyPr/>
                    <a:lstStyle/>
                    <a:p>
                      <a:pPr marL="0" marR="0" lvl="0" indent="0" algn="ctr" rtl="0">
                        <a:spcBef>
                          <a:spcPts val="0"/>
                        </a:spcBef>
                        <a:spcAft>
                          <a:spcPts val="0"/>
                        </a:spcAft>
                        <a:buNone/>
                      </a:pPr>
                      <a:r>
                        <a:rPr lang="nl-NL" sz="1200" b="1" u="none" strike="noStrike" cap="none" dirty="0">
                          <a:solidFill>
                            <a:srgbClr val="FFFFFF"/>
                          </a:solidFill>
                        </a:rPr>
                        <a:t>Rotterdam </a:t>
                      </a:r>
                      <a:endParaRPr lang="nl-NL" sz="1200" b="1" dirty="0">
                        <a:solidFill>
                          <a:srgbClr val="FFFFFF"/>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lgn="ctr">
                      <a:solidFill>
                        <a:schemeClr val="bg1"/>
                      </a:solidFill>
                      <a:prstDash val="solid"/>
                      <a:round/>
                      <a:headEnd type="none" w="med" len="med"/>
                      <a:tailEnd type="none" w="med" len="med"/>
                    </a:lnB>
                    <a:solidFill>
                      <a:srgbClr val="6A6A6A"/>
                    </a:solidFill>
                  </a:tcPr>
                </a:tc>
                <a:tc>
                  <a:txBody>
                    <a:bodyPr/>
                    <a:lstStyle/>
                    <a:p>
                      <a:pPr marL="0" marR="0" lvl="0" indent="0" algn="ctr" rtl="0">
                        <a:spcBef>
                          <a:spcPts val="0"/>
                        </a:spcBef>
                        <a:spcAft>
                          <a:spcPts val="0"/>
                        </a:spcAft>
                        <a:buNone/>
                      </a:pPr>
                      <a:r>
                        <a:rPr lang="nl-NL" sz="1200" b="1" u="none" strike="noStrike" cap="none" dirty="0">
                          <a:solidFill>
                            <a:srgbClr val="FFFFFF"/>
                          </a:solidFill>
                        </a:rPr>
                        <a:t>Den Haag </a:t>
                      </a:r>
                      <a:endParaRPr lang="nl-NL" sz="1200" b="1" dirty="0">
                        <a:solidFill>
                          <a:srgbClr val="FFFFFF"/>
                        </a:solidFill>
                      </a:endParaRPr>
                    </a:p>
                  </a:txBody>
                  <a:tcPr marL="91450" marR="91450" marT="45725" marB="45725" anchor="ctr">
                    <a:lnL w="9525" cap="flat" cmpd="sng">
                      <a:solidFill>
                        <a:srgbClr val="BFBFBF"/>
                      </a:solidFill>
                      <a:prstDash val="solid"/>
                      <a:round/>
                      <a:headEnd type="none" w="sm" len="sm"/>
                      <a:tailEnd type="none" w="sm" len="sm"/>
                    </a:lnL>
                    <a:lnR w="9525" cap="flat" cmpd="sng" algn="ctr">
                      <a:solidFill>
                        <a:schemeClr val="bg1"/>
                      </a:solidFill>
                      <a:prstDash val="solid"/>
                      <a:round/>
                      <a:headEnd type="none" w="med" len="med"/>
                      <a:tailEnd type="none" w="med" len="med"/>
                    </a:lnR>
                    <a:lnT w="9525" cap="flat" cmpd="sng">
                      <a:solidFill>
                        <a:srgbClr val="BFBFBF"/>
                      </a:solidFill>
                      <a:prstDash val="solid"/>
                      <a:round/>
                      <a:headEnd type="none" w="sm" len="sm"/>
                      <a:tailEnd type="none" w="sm" len="sm"/>
                    </a:lnT>
                    <a:lnB w="9525" cap="flat" cmpd="sng" algn="ctr">
                      <a:solidFill>
                        <a:schemeClr val="bg1"/>
                      </a:solidFill>
                      <a:prstDash val="solid"/>
                      <a:round/>
                      <a:headEnd type="none" w="med" len="med"/>
                      <a:tailEnd type="none" w="med" len="med"/>
                    </a:lnB>
                    <a:solidFill>
                      <a:srgbClr val="6A6A6A"/>
                    </a:solidFill>
                  </a:tcPr>
                </a:tc>
                <a:tc>
                  <a:txBody>
                    <a:bodyPr/>
                    <a:lstStyle/>
                    <a:p>
                      <a:pPr marL="0" marR="0" lvl="0" indent="0" algn="ctr" rtl="0">
                        <a:spcBef>
                          <a:spcPts val="0"/>
                        </a:spcBef>
                        <a:spcAft>
                          <a:spcPts val="0"/>
                        </a:spcAft>
                        <a:buNone/>
                      </a:pPr>
                      <a:r>
                        <a:rPr lang="nl-NL" sz="1200" b="1" u="none" strike="noStrike" cap="none" dirty="0">
                          <a:solidFill>
                            <a:srgbClr val="FFFFFF"/>
                          </a:solidFill>
                        </a:rPr>
                        <a:t>Utrecht</a:t>
                      </a:r>
                      <a:endParaRPr lang="nl-NL" sz="1200" b="1" dirty="0">
                        <a:solidFill>
                          <a:srgbClr val="FFFFFF"/>
                        </a:solidFill>
                      </a:endParaRPr>
                    </a:p>
                  </a:txBody>
                  <a:tcPr marL="91450" marR="91450" marT="45725" marB="45725"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6A6A6A"/>
                    </a:solidFill>
                  </a:tcPr>
                </a:tc>
                <a:extLst>
                  <a:ext uri="{0D108BD9-81ED-4DB2-BD59-A6C34878D82A}">
                    <a16:rowId xmlns:a16="http://schemas.microsoft.com/office/drawing/2014/main" val="10000"/>
                  </a:ext>
                </a:extLst>
              </a:tr>
              <a:tr h="1350979">
                <a:tc>
                  <a:txBody>
                    <a:bodyPr/>
                    <a:lstStyle/>
                    <a:p>
                      <a:pPr marL="0" marR="0" lvl="0" indent="0" algn="l" rtl="0">
                        <a:lnSpc>
                          <a:spcPct val="100000"/>
                        </a:lnSpc>
                        <a:spcBef>
                          <a:spcPts val="0"/>
                        </a:spcBef>
                        <a:spcAft>
                          <a:spcPts val="0"/>
                        </a:spcAft>
                        <a:buClr>
                          <a:schemeClr val="dk1"/>
                        </a:buClr>
                        <a:buSzPts val="1000"/>
                        <a:buFont typeface="Arial"/>
                        <a:buNone/>
                      </a:pPr>
                      <a:r>
                        <a:rPr lang="nl-NL" sz="1200" b="0" i="1" u="none" strike="noStrike" cap="none" dirty="0">
                          <a:latin typeface="Corbel"/>
                          <a:ea typeface="Corbel"/>
                          <a:cs typeface="Corbel"/>
                          <a:sym typeface="Corbel"/>
                        </a:rPr>
                        <a:t>Wie heeft er recht op Wmo-vervoer?</a:t>
                      </a:r>
                      <a:endParaRPr lang="nl-NL" sz="1200" dirty="0"/>
                    </a:p>
                  </a:txBody>
                  <a:tcPr marL="648000" marR="68575" marT="0" marB="0" anchor="ctr">
                    <a:lnL w="9525" cap="flat" cmpd="sng">
                      <a:solidFill>
                        <a:srgbClr val="000000">
                          <a:alpha val="0"/>
                        </a:srgbClr>
                      </a:solidFill>
                      <a:prstDash val="solid"/>
                      <a:round/>
                      <a:headEnd type="none" w="sm" len="sm"/>
                      <a:tailEnd type="none" w="sm" len="sm"/>
                    </a:lnL>
                    <a:lnR w="76200" cap="flat" cmpd="sng" algn="ctr">
                      <a:solidFill>
                        <a:schemeClr val="tx2"/>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lgn="ctr">
                      <a:solidFill>
                        <a:srgbClr val="DBDBDB"/>
                      </a:solidFill>
                      <a:prstDash val="solid"/>
                      <a:round/>
                      <a:headEnd type="none" w="med" len="med"/>
                      <a:tailEnd type="none" w="med" len="med"/>
                    </a:lnB>
                    <a:solidFill>
                      <a:schemeClr val="lt1"/>
                    </a:solidFill>
                  </a:tcPr>
                </a:tc>
                <a:tc>
                  <a:txBody>
                    <a:bodyPr/>
                    <a:lstStyle/>
                    <a:p>
                      <a:pPr marL="0" marR="0" lvl="0" indent="0" algn="l" rtl="0">
                        <a:lnSpc>
                          <a:spcPct val="100000"/>
                        </a:lnSpc>
                        <a:spcBef>
                          <a:spcPts val="0"/>
                        </a:spcBef>
                        <a:spcAft>
                          <a:spcPts val="0"/>
                        </a:spcAft>
                        <a:buClr>
                          <a:schemeClr val="dk1"/>
                        </a:buClr>
                        <a:buSzPts val="1000"/>
                        <a:buFont typeface="Arial"/>
                        <a:buNone/>
                      </a:pPr>
                      <a:r>
                        <a:rPr lang="nl-NL" sz="1200" noProof="0" dirty="0"/>
                        <a:t>Alle inwoners 75+ mogen ook gebruikmaken van Wmo-vervoer</a:t>
                      </a:r>
                    </a:p>
                  </a:txBody>
                  <a:tcPr marL="90000" marR="90000" marT="90000" marB="90000" anchor="ctr">
                    <a:lnL w="76200" cap="flat" cmpd="sng" algn="ctr">
                      <a:solidFill>
                        <a:schemeClr val="tx2"/>
                      </a:solidFill>
                      <a:prstDash val="solid"/>
                      <a:round/>
                      <a:headEnd type="none" w="med" len="med"/>
                      <a:tailEnd type="none" w="med" len="med"/>
                    </a:lnL>
                    <a:lnR w="76200" cap="flat" cmpd="sng" algn="ctr">
                      <a:solidFill>
                        <a:schemeClr val="tx2"/>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nl-NL" sz="1200" noProof="0" dirty="0"/>
                        <a:t>Alle inwoners van 75+ mogen ook gebruikmaken van Wmo-vervoer na 19.00 ‘s avonds</a:t>
                      </a:r>
                    </a:p>
                  </a:txBody>
                  <a:tcPr marL="90000" marR="90000" marT="46800" marB="46800" anchor="ctr">
                    <a:lnL w="76200" cap="flat" cmpd="sng" algn="ctr">
                      <a:solidFill>
                        <a:schemeClr val="tx2"/>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rtl="0">
                        <a:lnSpc>
                          <a:spcPct val="100000"/>
                        </a:lnSpc>
                        <a:spcBef>
                          <a:spcPts val="0"/>
                        </a:spcBef>
                        <a:spcAft>
                          <a:spcPts val="0"/>
                        </a:spcAft>
                        <a:buClr>
                          <a:schemeClr val="dk1"/>
                        </a:buClr>
                        <a:buSzPts val="1000"/>
                        <a:buFont typeface="Corbel"/>
                        <a:buNone/>
                      </a:pPr>
                      <a:r>
                        <a:rPr lang="nl-NL" sz="1200" i="1" noProof="0" dirty="0">
                          <a:solidFill>
                            <a:srgbClr val="6A6A6A"/>
                          </a:solidFill>
                        </a:rPr>
                        <a:t>Inwoners met Wmo-indicatie </a:t>
                      </a:r>
                    </a:p>
                  </a:txBody>
                  <a:tcPr marL="90000" marR="90000" marT="46800" marB="468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200" i="1" noProof="0" dirty="0">
                          <a:solidFill>
                            <a:srgbClr val="6A6A6A"/>
                          </a:solidFill>
                        </a:rPr>
                        <a:t>Inwoners met Wmo-indicatie </a:t>
                      </a:r>
                      <a:br>
                        <a:rPr lang="nl-NL" sz="1200" i="1" noProof="0" dirty="0">
                          <a:solidFill>
                            <a:srgbClr val="6A6A6A"/>
                          </a:solidFill>
                        </a:rPr>
                      </a:br>
                      <a:r>
                        <a:rPr lang="nl-NL" sz="1200" i="1" noProof="0" dirty="0">
                          <a:solidFill>
                            <a:srgbClr val="6A6A6A"/>
                          </a:solidFill>
                        </a:rPr>
                        <a:t>(+ OV-reizigers voor hoger tarief)</a:t>
                      </a:r>
                    </a:p>
                  </a:txBody>
                  <a:tcPr marL="90000" marR="90000" marT="46800" marB="468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1350979">
                <a:tc>
                  <a:txBody>
                    <a:bodyPr/>
                    <a:lstStyle/>
                    <a:p>
                      <a:pPr marL="0" marR="0" lvl="0" indent="0" algn="l" rtl="0">
                        <a:lnSpc>
                          <a:spcPct val="100000"/>
                        </a:lnSpc>
                        <a:spcBef>
                          <a:spcPts val="0"/>
                        </a:spcBef>
                        <a:spcAft>
                          <a:spcPts val="0"/>
                        </a:spcAft>
                        <a:buClr>
                          <a:schemeClr val="dk1"/>
                        </a:buClr>
                        <a:buSzPts val="1000"/>
                        <a:buFont typeface="Arial"/>
                        <a:buNone/>
                      </a:pPr>
                      <a:r>
                        <a:rPr lang="nl-NL" sz="1200" b="0" i="1" u="none" strike="noStrike" cap="none" dirty="0">
                          <a:solidFill>
                            <a:schemeClr val="dk1"/>
                          </a:solidFill>
                          <a:latin typeface="Corbel"/>
                          <a:ea typeface="Corbel"/>
                          <a:cs typeface="Corbel"/>
                          <a:sym typeface="Corbel"/>
                        </a:rPr>
                        <a:t>Wat is de eigen bijdrage?</a:t>
                      </a:r>
                      <a:endParaRPr lang="nl-NL" sz="1200" dirty="0"/>
                    </a:p>
                  </a:txBody>
                  <a:tcPr marL="648000" marR="68575" marT="0" marB="0" anchor="ctr">
                    <a:lnL w="9525" cap="flat" cmpd="sng">
                      <a:solidFill>
                        <a:srgbClr val="000000">
                          <a:alpha val="0"/>
                        </a:srgbClr>
                      </a:solidFill>
                      <a:prstDash val="solid"/>
                      <a:round/>
                      <a:headEnd type="none" w="sm" len="sm"/>
                      <a:tailEnd type="none" w="sm" len="sm"/>
                    </a:lnL>
                    <a:lnR w="9525" cap="flat" cmpd="sng" algn="ctr">
                      <a:solidFill>
                        <a:schemeClr val="bg1"/>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chemeClr val="lt1"/>
                    </a:solidFill>
                  </a:tcPr>
                </a:tc>
                <a:tc>
                  <a:txBody>
                    <a:bodyPr/>
                    <a:lstStyle/>
                    <a:p>
                      <a:pPr marL="0" marR="0" lvl="0" indent="0" algn="l" rtl="0">
                        <a:lnSpc>
                          <a:spcPct val="100000"/>
                        </a:lnSpc>
                        <a:spcBef>
                          <a:spcPts val="0"/>
                        </a:spcBef>
                        <a:spcAft>
                          <a:spcPts val="0"/>
                        </a:spcAft>
                        <a:buClr>
                          <a:schemeClr val="dk1"/>
                        </a:buClr>
                        <a:buSzPts val="1000"/>
                        <a:buFont typeface="Wingdings" panose="05000000000000000000" pitchFamily="2" charset="2"/>
                        <a:buNone/>
                      </a:pPr>
                      <a:r>
                        <a:rPr lang="nl-NL" sz="1200" u="none" strike="noStrike" cap="none" noProof="0" dirty="0">
                          <a:solidFill>
                            <a:schemeClr val="dk1"/>
                          </a:solidFill>
                          <a:latin typeface="Corbel"/>
                          <a:ea typeface="Corbel"/>
                          <a:cs typeface="Corbel"/>
                          <a:sym typeface="Corbel"/>
                        </a:rPr>
                        <a:t>Opstaptarief € 0,98 + € 0,17/km </a:t>
                      </a:r>
                      <a:br>
                        <a:rPr lang="nl-NL" sz="1200" u="none" strike="noStrike" cap="none" noProof="0" dirty="0">
                          <a:solidFill>
                            <a:schemeClr val="dk1"/>
                          </a:solidFill>
                          <a:latin typeface="Corbel"/>
                          <a:ea typeface="Corbel"/>
                          <a:cs typeface="Corbel"/>
                          <a:sym typeface="Corbel"/>
                        </a:rPr>
                      </a:br>
                      <a:r>
                        <a:rPr lang="nl-NL" sz="1200" i="1" u="none" strike="noStrike" cap="none" noProof="0" dirty="0">
                          <a:solidFill>
                            <a:schemeClr val="dk1"/>
                          </a:solidFill>
                          <a:latin typeface="Corbel"/>
                          <a:ea typeface="Corbel"/>
                          <a:cs typeface="Corbel"/>
                          <a:sym typeface="Corbel"/>
                        </a:rPr>
                        <a:t>(10% korting 18.00 t/m 01.00 op weekdagen)</a:t>
                      </a:r>
                      <a:endParaRPr lang="nl-NL" sz="1200" i="1" noProof="0" dirty="0"/>
                    </a:p>
                  </a:txBody>
                  <a:tcPr marL="90000" marR="90000" marT="46800" marB="468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nl-NL" sz="1200" u="none" strike="noStrike" cap="none" noProof="0" dirty="0">
                          <a:solidFill>
                            <a:schemeClr val="dk1"/>
                          </a:solidFill>
                        </a:rPr>
                        <a:t>Per strip € 0,40 of € 0,64 </a:t>
                      </a:r>
                      <a:r>
                        <a:rPr lang="nl-NL" sz="1200" i="1" u="none" strike="noStrike" cap="none" noProof="0" dirty="0">
                          <a:solidFill>
                            <a:schemeClr val="dk1"/>
                          </a:solidFill>
                        </a:rPr>
                        <a:t>(afhankelijk van leeftijd)</a:t>
                      </a:r>
                      <a:endParaRPr lang="nl-NL" sz="1200" i="1" noProof="0" dirty="0"/>
                    </a:p>
                  </a:txBody>
                  <a:tcPr marL="90000" marR="90000" marT="46800" marB="468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Font typeface="Wingdings" panose="05000000000000000000" pitchFamily="2" charset="2"/>
                        <a:buNone/>
                      </a:pPr>
                      <a:r>
                        <a:rPr lang="nl-NL" sz="1200" u="none" strike="noStrike" cap="none" noProof="0" dirty="0">
                          <a:solidFill>
                            <a:schemeClr val="dk1"/>
                          </a:solidFill>
                        </a:rPr>
                        <a:t>Vaste bijdrage € 28,- per jaar.</a:t>
                      </a:r>
                      <a:endParaRPr lang="nl-NL" sz="1200" noProof="0" dirty="0"/>
                    </a:p>
                  </a:txBody>
                  <a:tcPr marL="90000" marR="90000" marT="46800" marB="468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Font typeface="Wingdings" panose="05000000000000000000" pitchFamily="2" charset="2"/>
                        <a:buNone/>
                      </a:pPr>
                      <a:r>
                        <a:rPr lang="nl-NL" sz="1200" u="none" strike="noStrike" cap="none" noProof="0" dirty="0">
                          <a:solidFill>
                            <a:schemeClr val="dk1"/>
                          </a:solidFill>
                        </a:rPr>
                        <a:t>Opstap- en zonetarief: € 0,80.</a:t>
                      </a:r>
                      <a:endParaRPr lang="nl-NL" sz="1200" noProof="0" dirty="0"/>
                    </a:p>
                  </a:txBody>
                  <a:tcPr marL="90000" marR="90000" marT="46800" marB="468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1350979">
                <a:tc>
                  <a:txBody>
                    <a:bodyPr/>
                    <a:lstStyle/>
                    <a:p>
                      <a:pPr marL="0" marR="0" lvl="0" indent="0" algn="l" rtl="0">
                        <a:lnSpc>
                          <a:spcPct val="100000"/>
                        </a:lnSpc>
                        <a:spcBef>
                          <a:spcPts val="0"/>
                        </a:spcBef>
                        <a:spcAft>
                          <a:spcPts val="0"/>
                        </a:spcAft>
                        <a:buClr>
                          <a:schemeClr val="dk1"/>
                        </a:buClr>
                        <a:buSzPts val="1000"/>
                        <a:buFont typeface="Arial"/>
                        <a:buNone/>
                      </a:pPr>
                      <a:r>
                        <a:rPr lang="nl-NL" sz="1200" b="0" i="1" u="none" strike="noStrike" cap="none" dirty="0">
                          <a:solidFill>
                            <a:schemeClr val="dk1"/>
                          </a:solidFill>
                          <a:latin typeface="Corbel"/>
                          <a:ea typeface="Corbel"/>
                          <a:cs typeface="Corbel"/>
                          <a:sym typeface="Corbel"/>
                        </a:rPr>
                        <a:t>Er is wel/geen limiet?</a:t>
                      </a:r>
                      <a:endParaRPr lang="nl-NL" sz="1200" dirty="0"/>
                    </a:p>
                  </a:txBody>
                  <a:tcPr marL="648000" marR="68575" marT="0" marB="0" anchor="ctr">
                    <a:lnL w="9525" cap="flat" cmpd="sng">
                      <a:solidFill>
                        <a:srgbClr val="000000">
                          <a:alpha val="0"/>
                        </a:srgbClr>
                      </a:solidFill>
                      <a:prstDash val="solid"/>
                      <a:round/>
                      <a:headEnd type="none" w="sm" len="sm"/>
                      <a:tailEnd type="none" w="sm" len="sm"/>
                    </a:lnL>
                    <a:lnR w="9525" cap="flat" cmpd="sng" algn="ctr">
                      <a:solidFill>
                        <a:schemeClr val="bg1"/>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chemeClr val="lt1"/>
                    </a:solidFill>
                  </a:tcPr>
                </a:tc>
                <a:tc>
                  <a:txBody>
                    <a:bodyPr/>
                    <a:lstStyle/>
                    <a:p>
                      <a:pPr marL="0" marR="0" lvl="0" indent="0" algn="l" rtl="0">
                        <a:lnSpc>
                          <a:spcPct val="100000"/>
                        </a:lnSpc>
                        <a:spcBef>
                          <a:spcPts val="0"/>
                        </a:spcBef>
                        <a:spcAft>
                          <a:spcPts val="0"/>
                        </a:spcAft>
                        <a:buClr>
                          <a:schemeClr val="dk1"/>
                        </a:buClr>
                        <a:buSzPts val="1000"/>
                        <a:buFont typeface="Arial"/>
                        <a:buNone/>
                      </a:pPr>
                      <a:r>
                        <a:rPr lang="nl-NL" sz="1200" i="1" noProof="0" dirty="0">
                          <a:solidFill>
                            <a:srgbClr val="6A6A6A"/>
                          </a:solidFill>
                        </a:rPr>
                        <a:t>Geen maximum</a:t>
                      </a:r>
                    </a:p>
                  </a:txBody>
                  <a:tcPr marL="90000" marR="90000" marT="46800" marB="46800" anchor="ctr">
                    <a:lnL w="9525" cap="flat" cmpd="sng" algn="ctr">
                      <a:solidFill>
                        <a:schemeClr val="bg1"/>
                      </a:solidFill>
                      <a:prstDash val="solid"/>
                      <a:round/>
                      <a:headEnd type="none" w="med" len="med"/>
                      <a:tailEnd type="none" w="med" len="med"/>
                    </a:lnL>
                    <a:lnR w="76200" cap="flat" cmpd="sng" algn="ctr">
                      <a:solidFill>
                        <a:srgbClr val="BF211E"/>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200" u="none" strike="noStrike" cap="none" noProof="0" dirty="0">
                          <a:solidFill>
                            <a:schemeClr val="dk1"/>
                          </a:solidFill>
                        </a:rPr>
                        <a:t>Max. 1.500 km / </a:t>
                      </a:r>
                      <a:br>
                        <a:rPr lang="nl-NL" sz="1200" u="none" strike="noStrike" cap="none" noProof="0" dirty="0">
                          <a:solidFill>
                            <a:schemeClr val="dk1"/>
                          </a:solidFill>
                        </a:rPr>
                      </a:br>
                      <a:r>
                        <a:rPr lang="nl-NL" sz="1200" u="none" strike="noStrike" cap="none" noProof="0" dirty="0">
                          <a:solidFill>
                            <a:schemeClr val="dk1"/>
                          </a:solidFill>
                        </a:rPr>
                        <a:t>312 ritten per jaar.</a:t>
                      </a:r>
                    </a:p>
                  </a:txBody>
                  <a:tcPr marL="90000" marR="90000" marT="46800" marB="46800" anchor="ctr">
                    <a:lnL w="76200" cap="flat" cmpd="sng" algn="ctr">
                      <a:solidFill>
                        <a:srgbClr val="BF211E"/>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nl-NL" sz="1200" i="1" noProof="0" dirty="0">
                          <a:solidFill>
                            <a:srgbClr val="6A6A6A"/>
                          </a:solidFill>
                        </a:rPr>
                        <a:t>Geen maximum</a:t>
                      </a:r>
                      <a:endParaRPr lang="nl-NL" sz="1200" i="1" u="none" strike="noStrike" cap="none" noProof="0" dirty="0">
                        <a:solidFill>
                          <a:srgbClr val="6A6A6A"/>
                        </a:solidFill>
                      </a:endParaRPr>
                    </a:p>
                  </a:txBody>
                  <a:tcPr marL="90000" marR="90000" marT="46800" marB="468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nl-NL" sz="1200" i="1" noProof="0" dirty="0">
                          <a:solidFill>
                            <a:srgbClr val="6A6A6A"/>
                          </a:solidFill>
                        </a:rPr>
                        <a:t>Geen maximum</a:t>
                      </a:r>
                      <a:endParaRPr lang="nl-NL" sz="1200" i="1" u="none" strike="noStrike" cap="none" noProof="0" dirty="0">
                        <a:solidFill>
                          <a:srgbClr val="6A6A6A"/>
                        </a:solidFill>
                      </a:endParaRPr>
                    </a:p>
                  </a:txBody>
                  <a:tcPr marL="90000" marR="90000" marT="46800" marB="468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bl>
          </a:graphicData>
        </a:graphic>
      </p:graphicFrame>
      <p:pic>
        <p:nvPicPr>
          <p:cNvPr id="43" name="Google Shape;823;p18" descr="Route (Two Pins With A Path)">
            <a:extLst>
              <a:ext uri="{FF2B5EF4-FFF2-40B4-BE49-F238E27FC236}">
                <a16:creationId xmlns:a16="http://schemas.microsoft.com/office/drawing/2014/main" id="{F3614419-10D9-427C-9C47-666E164A3DE8}"/>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722618" y="5374412"/>
            <a:ext cx="509726" cy="509726"/>
          </a:xfrm>
          <a:prstGeom prst="rect">
            <a:avLst/>
          </a:prstGeom>
          <a:noFill/>
          <a:ln>
            <a:noFill/>
          </a:ln>
        </p:spPr>
      </p:pic>
      <p:pic>
        <p:nvPicPr>
          <p:cNvPr id="39" name="Graphic 38" descr="Man with cane with solid fill">
            <a:extLst>
              <a:ext uri="{FF2B5EF4-FFF2-40B4-BE49-F238E27FC236}">
                <a16:creationId xmlns:a16="http://schemas.microsoft.com/office/drawing/2014/main" id="{04EEADB9-8B10-47B7-92D5-2053BD0707E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22417" y="2644078"/>
            <a:ext cx="510128" cy="510128"/>
          </a:xfrm>
          <a:prstGeom prst="rect">
            <a:avLst/>
          </a:prstGeom>
        </p:spPr>
      </p:pic>
      <p:grpSp>
        <p:nvGrpSpPr>
          <p:cNvPr id="26" name="Group 25">
            <a:extLst>
              <a:ext uri="{FF2B5EF4-FFF2-40B4-BE49-F238E27FC236}">
                <a16:creationId xmlns:a16="http://schemas.microsoft.com/office/drawing/2014/main" id="{326898F2-BDD9-4ED2-91B2-4CDCB039BC54}"/>
              </a:ext>
            </a:extLst>
          </p:cNvPr>
          <p:cNvGrpSpPr/>
          <p:nvPr/>
        </p:nvGrpSpPr>
        <p:grpSpPr>
          <a:xfrm>
            <a:off x="9520090" y="1633678"/>
            <a:ext cx="2387565" cy="132699"/>
            <a:chOff x="386246" y="6155779"/>
            <a:chExt cx="2387565" cy="132699"/>
          </a:xfrm>
        </p:grpSpPr>
        <p:sp>
          <p:nvSpPr>
            <p:cNvPr id="27" name="Rectangle 26">
              <a:extLst>
                <a:ext uri="{FF2B5EF4-FFF2-40B4-BE49-F238E27FC236}">
                  <a16:creationId xmlns:a16="http://schemas.microsoft.com/office/drawing/2014/main" id="{A6FAA714-B702-45B5-87C6-96BC4F78E821}"/>
                </a:ext>
              </a:extLst>
            </p:cNvPr>
            <p:cNvSpPr/>
            <p:nvPr/>
          </p:nvSpPr>
          <p:spPr>
            <a:xfrm>
              <a:off x="1434758" y="6188437"/>
              <a:ext cx="82704" cy="87085"/>
            </a:xfrm>
            <a:prstGeom prst="rect">
              <a:avLst/>
            </a:prstGeom>
            <a:solidFill>
              <a:srgbClr val="BF211E"/>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8" name="TextBox 27">
              <a:extLst>
                <a:ext uri="{FF2B5EF4-FFF2-40B4-BE49-F238E27FC236}">
                  <a16:creationId xmlns:a16="http://schemas.microsoft.com/office/drawing/2014/main" id="{25789ADB-A545-4285-B893-F726CC0F7481}"/>
                </a:ext>
              </a:extLst>
            </p:cNvPr>
            <p:cNvSpPr txBox="1"/>
            <p:nvPr/>
          </p:nvSpPr>
          <p:spPr>
            <a:xfrm>
              <a:off x="1565150" y="6155779"/>
              <a:ext cx="1208661" cy="119743"/>
            </a:xfrm>
            <a:prstGeom prst="rect">
              <a:avLst/>
            </a:prstGeom>
          </p:spPr>
          <p:txBody>
            <a:bodyPr vert="horz" wrap="square" lIns="0" tIns="0" rIns="0" bIns="0" rtlCol="0">
              <a:noAutofit/>
            </a:bodyPr>
            <a:lstStyle/>
            <a:p>
              <a:pPr marL="0" indent="0" algn="l">
                <a:buNone/>
              </a:pPr>
              <a:r>
                <a:rPr lang="nl-NL" sz="1000" noProof="0" dirty="0">
                  <a:latin typeface="+mn-lt"/>
                </a:rPr>
                <a:t>Relatief streng</a:t>
              </a:r>
            </a:p>
          </p:txBody>
        </p:sp>
        <p:sp>
          <p:nvSpPr>
            <p:cNvPr id="31" name="Rectangle 30">
              <a:extLst>
                <a:ext uri="{FF2B5EF4-FFF2-40B4-BE49-F238E27FC236}">
                  <a16:creationId xmlns:a16="http://schemas.microsoft.com/office/drawing/2014/main" id="{0705BC6F-F774-4071-9F46-5D0B0F3295A6}"/>
                </a:ext>
              </a:extLst>
            </p:cNvPr>
            <p:cNvSpPr/>
            <p:nvPr/>
          </p:nvSpPr>
          <p:spPr>
            <a:xfrm>
              <a:off x="386246" y="6188437"/>
              <a:ext cx="82704" cy="87085"/>
            </a:xfrm>
            <a:prstGeom prst="rect">
              <a:avLst/>
            </a:prstGeom>
            <a:solidFill>
              <a:srgbClr val="22777B"/>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2" name="TextBox 31">
              <a:extLst>
                <a:ext uri="{FF2B5EF4-FFF2-40B4-BE49-F238E27FC236}">
                  <a16:creationId xmlns:a16="http://schemas.microsoft.com/office/drawing/2014/main" id="{32DFAA1C-32F0-49DD-A1DB-40F4FAC7D482}"/>
                </a:ext>
              </a:extLst>
            </p:cNvPr>
            <p:cNvSpPr txBox="1"/>
            <p:nvPr/>
          </p:nvSpPr>
          <p:spPr>
            <a:xfrm>
              <a:off x="516639" y="6155779"/>
              <a:ext cx="895598" cy="132699"/>
            </a:xfrm>
            <a:prstGeom prst="rect">
              <a:avLst/>
            </a:prstGeom>
          </p:spPr>
          <p:txBody>
            <a:bodyPr vert="horz" wrap="square" lIns="0" tIns="0" rIns="0" bIns="0" rtlCol="0">
              <a:noAutofit/>
            </a:bodyPr>
            <a:lstStyle/>
            <a:p>
              <a:pPr marL="0" indent="0" algn="l">
                <a:buNone/>
              </a:pPr>
              <a:r>
                <a:rPr lang="en-GB" sz="1000" noProof="0" dirty="0" err="1">
                  <a:latin typeface="+mn-lt"/>
                </a:rPr>
                <a:t>Relatief</a:t>
              </a:r>
              <a:r>
                <a:rPr lang="en-GB" sz="1000" noProof="0" dirty="0">
                  <a:latin typeface="+mn-lt"/>
                </a:rPr>
                <a:t> </a:t>
              </a:r>
              <a:r>
                <a:rPr lang="en-GB" sz="1000" noProof="0" dirty="0" err="1">
                  <a:latin typeface="+mn-lt"/>
                </a:rPr>
                <a:t>coulant</a:t>
              </a:r>
              <a:endParaRPr lang="nl-NL" sz="1000" noProof="0" dirty="0">
                <a:latin typeface="+mn-lt"/>
              </a:endParaRPr>
            </a:p>
          </p:txBody>
        </p:sp>
      </p:grpSp>
      <p:grpSp>
        <p:nvGrpSpPr>
          <p:cNvPr id="7" name="Group 6">
            <a:extLst>
              <a:ext uri="{FF2B5EF4-FFF2-40B4-BE49-F238E27FC236}">
                <a16:creationId xmlns:a16="http://schemas.microsoft.com/office/drawing/2014/main" id="{F0F5BB92-0D09-4D30-8E5E-188A89B3A7AF}"/>
              </a:ext>
            </a:extLst>
          </p:cNvPr>
          <p:cNvGrpSpPr/>
          <p:nvPr/>
        </p:nvGrpSpPr>
        <p:grpSpPr>
          <a:xfrm>
            <a:off x="722417" y="4009245"/>
            <a:ext cx="510128" cy="510128"/>
            <a:chOff x="709812" y="4061987"/>
            <a:chExt cx="510128" cy="510128"/>
          </a:xfrm>
        </p:grpSpPr>
        <p:pic>
          <p:nvPicPr>
            <p:cNvPr id="4" name="Graphic 3" descr="Piggy Bank with solid fill">
              <a:extLst>
                <a:ext uri="{FF2B5EF4-FFF2-40B4-BE49-F238E27FC236}">
                  <a16:creationId xmlns:a16="http://schemas.microsoft.com/office/drawing/2014/main" id="{2F1AAB13-FF9B-4043-8517-F35EB5D7B36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flipH="1">
              <a:off x="709812" y="4061987"/>
              <a:ext cx="510128" cy="510128"/>
            </a:xfrm>
            <a:prstGeom prst="rect">
              <a:avLst/>
            </a:prstGeom>
          </p:spPr>
        </p:pic>
        <p:pic>
          <p:nvPicPr>
            <p:cNvPr id="6" name="Graphic 5" descr="Euro with solid fill">
              <a:extLst>
                <a:ext uri="{FF2B5EF4-FFF2-40B4-BE49-F238E27FC236}">
                  <a16:creationId xmlns:a16="http://schemas.microsoft.com/office/drawing/2014/main" id="{9A696CA4-FC2F-4AF8-849F-97C789FE1DF9}"/>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880019" y="4221710"/>
              <a:ext cx="191135" cy="191135"/>
            </a:xfrm>
            <a:prstGeom prst="rect">
              <a:avLst/>
            </a:prstGeom>
          </p:spPr>
        </p:pic>
      </p:grpSp>
      <p:sp>
        <p:nvSpPr>
          <p:cNvPr id="19" name="Footer Placeholder 8">
            <a:extLst>
              <a:ext uri="{FF2B5EF4-FFF2-40B4-BE49-F238E27FC236}">
                <a16:creationId xmlns:a16="http://schemas.microsoft.com/office/drawing/2014/main" id="{32BBED8C-9198-4518-B13C-90AF8F5B9F35}"/>
              </a:ext>
            </a:extLst>
          </p:cNvPr>
          <p:cNvSpPr txBox="1">
            <a:spLocks/>
          </p:cNvSpPr>
          <p:nvPr/>
        </p:nvSpPr>
        <p:spPr>
          <a:xfrm>
            <a:off x="661800" y="6624637"/>
            <a:ext cx="10868400" cy="122400"/>
          </a:xfrm>
          <a:prstGeom prst="rect">
            <a:avLst/>
          </a:prstGeom>
        </p:spPr>
        <p:txBody>
          <a:bodyPr vert="horz" lIns="36000" tIns="0" rIns="36000" bIns="0" rtlCol="0" anchor="b"/>
          <a:lstStyle>
            <a:defPPr>
              <a:defRPr lang="nl-NL"/>
            </a:defPPr>
            <a:lvl1pPr marL="0" indent="0">
              <a:buNone/>
              <a:defRPr sz="800">
                <a:latin typeface="+mn-lt"/>
              </a:defRPr>
            </a:lvl1pPr>
            <a:lvl2pPr marL="914400" lvl="1" indent="-342900" algn="l" defTabSz="685800" rtl="0" eaLnBrk="1" latinLnBrk="0" hangingPunct="1">
              <a:lnSpc>
                <a:spcPct val="90000"/>
              </a:lnSpc>
              <a:spcBef>
                <a:spcPts val="375"/>
              </a:spcBef>
              <a:spcAft>
                <a:spcPts val="0"/>
              </a:spcAft>
              <a:buClr>
                <a:schemeClr val="dk2"/>
              </a:buClr>
              <a:buSzPts val="1800"/>
              <a:buFontTx/>
              <a:buChar char="-"/>
              <a:defRPr sz="1400" kern="1200">
                <a:solidFill>
                  <a:srgbClr val="000000"/>
                </a:solidFill>
                <a:latin typeface="Corbel" panose="020B0503020204020204" pitchFamily="34" charset="0"/>
                <a:ea typeface="+mn-ea"/>
                <a:cs typeface="+mn-cs"/>
              </a:defRPr>
            </a:lvl2pPr>
            <a:lvl3pPr marL="1371600" lvl="2" indent="-342900" algn="l" defTabSz="685800" rtl="0" eaLnBrk="1" latinLnBrk="0" hangingPunct="1">
              <a:lnSpc>
                <a:spcPct val="90000"/>
              </a:lnSpc>
              <a:spcBef>
                <a:spcPts val="375"/>
              </a:spcBef>
              <a:spcAft>
                <a:spcPts val="0"/>
              </a:spcAft>
              <a:buClr>
                <a:schemeClr val="dk2"/>
              </a:buClr>
              <a:buSzPts val="1800"/>
              <a:buFontTx/>
              <a:buChar char="-"/>
              <a:defRPr sz="1400" kern="1200">
                <a:solidFill>
                  <a:srgbClr val="000000"/>
                </a:solidFill>
                <a:latin typeface="Corbel" panose="020B0503020204020204" pitchFamily="34" charset="0"/>
                <a:ea typeface="+mn-ea"/>
                <a:cs typeface="+mn-cs"/>
              </a:defRPr>
            </a:lvl3pPr>
            <a:lvl4pPr marL="1828800" lvl="3" indent="-342900" algn="l" defTabSz="685800" rtl="0" eaLnBrk="1" latinLnBrk="0" hangingPunct="1">
              <a:lnSpc>
                <a:spcPct val="90000"/>
              </a:lnSpc>
              <a:spcBef>
                <a:spcPts val="375"/>
              </a:spcBef>
              <a:spcAft>
                <a:spcPts val="0"/>
              </a:spcAft>
              <a:buClr>
                <a:schemeClr val="dk2"/>
              </a:buClr>
              <a:buSzPts val="1800"/>
              <a:buFontTx/>
              <a:buChar char="-"/>
              <a:defRPr sz="1400" kern="1200">
                <a:solidFill>
                  <a:srgbClr val="000000"/>
                </a:solidFill>
                <a:latin typeface="Corbel" panose="020B0503020204020204" pitchFamily="34" charset="0"/>
                <a:ea typeface="+mn-ea"/>
                <a:cs typeface="+mn-cs"/>
              </a:defRPr>
            </a:lvl4pPr>
            <a:lvl5pPr marL="2286000" lvl="4" indent="-342900" algn="l" rtl="0" eaLnBrk="1" fontAlgn="base" hangingPunct="1">
              <a:spcBef>
                <a:spcPts val="0"/>
              </a:spcBef>
              <a:spcAft>
                <a:spcPts val="0"/>
              </a:spcAft>
              <a:buClr>
                <a:schemeClr val="tx2"/>
              </a:buClr>
              <a:buSzPts val="1800"/>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743200" lvl="5" indent="-228600" algn="l" defTabSz="914400" rtl="0" eaLnBrk="1" latinLnBrk="0" hangingPunct="1">
              <a:spcBef>
                <a:spcPts val="0"/>
              </a:spcBef>
              <a:spcAft>
                <a:spcPts val="0"/>
              </a:spcAft>
              <a:buSzPts val="1400"/>
              <a:buNone/>
              <a:defRPr kern="1200">
                <a:solidFill>
                  <a:schemeClr val="tx1"/>
                </a:solidFill>
                <a:latin typeface="Corbel" panose="020B0604020202020204" pitchFamily="34" charset="0"/>
                <a:ea typeface="+mn-ea"/>
                <a:cs typeface="Corbel" panose="020B0604020202020204" pitchFamily="34" charset="0"/>
              </a:defRPr>
            </a:lvl6pPr>
            <a:lvl7pPr marL="3200400" lvl="6" indent="-228600" algn="l" defTabSz="914400" rtl="0" eaLnBrk="1" latinLnBrk="0" hangingPunct="1">
              <a:spcBef>
                <a:spcPts val="0"/>
              </a:spcBef>
              <a:spcAft>
                <a:spcPts val="0"/>
              </a:spcAft>
              <a:buSzPts val="1400"/>
              <a:buNone/>
              <a:defRPr kern="1200">
                <a:solidFill>
                  <a:schemeClr val="tx1"/>
                </a:solidFill>
                <a:latin typeface="Corbel" panose="020B0604020202020204" pitchFamily="34" charset="0"/>
                <a:ea typeface="+mn-ea"/>
                <a:cs typeface="Corbel" panose="020B0604020202020204" pitchFamily="34" charset="0"/>
              </a:defRPr>
            </a:lvl7pPr>
            <a:lvl8pPr marL="3657600" lvl="7" indent="-228600" algn="l" defTabSz="914400" rtl="0" eaLnBrk="1" latinLnBrk="0" hangingPunct="1">
              <a:spcBef>
                <a:spcPts val="0"/>
              </a:spcBef>
              <a:spcAft>
                <a:spcPts val="0"/>
              </a:spcAft>
              <a:buSzPts val="1400"/>
              <a:buNone/>
              <a:defRPr kern="1200">
                <a:solidFill>
                  <a:schemeClr val="tx1"/>
                </a:solidFill>
                <a:latin typeface="Corbel" panose="020B0604020202020204" pitchFamily="34" charset="0"/>
                <a:ea typeface="+mn-ea"/>
                <a:cs typeface="Corbel" panose="020B0604020202020204" pitchFamily="34" charset="0"/>
              </a:defRPr>
            </a:lvl8pPr>
            <a:lvl9pPr marL="4114800" lvl="8" indent="-228600" algn="l" defTabSz="914400" rtl="0" eaLnBrk="1" latinLnBrk="0" hangingPunct="1">
              <a:spcBef>
                <a:spcPts val="0"/>
              </a:spcBef>
              <a:spcAft>
                <a:spcPts val="0"/>
              </a:spcAft>
              <a:buSzPts val="1400"/>
              <a:buNone/>
              <a:defRPr kern="1200">
                <a:solidFill>
                  <a:schemeClr val="tx1"/>
                </a:solidFill>
                <a:latin typeface="Corbel" panose="020B0604020202020204" pitchFamily="34" charset="0"/>
                <a:ea typeface="+mn-ea"/>
                <a:cs typeface="Corbel" panose="020B0604020202020204" pitchFamily="34" charset="0"/>
              </a:defRPr>
            </a:lvl9pPr>
          </a:lstStyle>
          <a:p>
            <a:pPr marL="0" lvl="0" indent="0" algn="l">
              <a:lnSpc>
                <a:spcPct val="90000"/>
              </a:lnSpc>
              <a:spcBef>
                <a:spcPts val="0"/>
              </a:spcBef>
              <a:spcAft>
                <a:spcPts val="0"/>
              </a:spcAft>
              <a:buSzPts val="800"/>
              <a:buNone/>
            </a:pPr>
            <a:r>
              <a:rPr lang="nl-NL" dirty="0"/>
              <a:t>Bron: Websites &amp; jaarverslagen gemeenten; websites vervoerders; Goudappel Coffeng, ‘Verkenning Landschap Sociaal Vervoer’, 24 april 2020; Annotatie raadscommissie (9 of 10 sept. 2020)</a:t>
            </a:r>
          </a:p>
        </p:txBody>
      </p:sp>
    </p:spTree>
    <p:extLst>
      <p:ext uri="{BB962C8B-B14F-4D97-AF65-F5344CB8AC3E}">
        <p14:creationId xmlns:p14="http://schemas.microsoft.com/office/powerpoint/2010/main" val="42094365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9563E54-4F19-4F0E-BBCA-4C5EDB4E7C62}"/>
              </a:ext>
            </a:extLst>
          </p:cNvPr>
          <p:cNvGraphicFramePr>
            <a:graphicFrameLocks noChangeAspect="1"/>
          </p:cNvGraphicFramePr>
          <p:nvPr>
            <p:custDataLst>
              <p:tags r:id="rId2"/>
            </p:custDataLst>
            <p:extLst>
              <p:ext uri="{D42A27DB-BD31-4B8C-83A1-F6EECF244321}">
                <p14:modId xmlns:p14="http://schemas.microsoft.com/office/powerpoint/2010/main" val="3651803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2" name="think-cell Slide" r:id="rId7" imgW="425" imgH="424" progId="TCLayout.ActiveDocument.1">
                  <p:embed/>
                </p:oleObj>
              </mc:Choice>
              <mc:Fallback>
                <p:oleObj name="think-cell Slide" r:id="rId7" imgW="425" imgH="424" progId="TCLayout.ActiveDocument.1">
                  <p:embed/>
                  <p:pic>
                    <p:nvPicPr>
                      <p:cNvPr id="22" name="Object 21" hidden="1">
                        <a:extLst>
                          <a:ext uri="{FF2B5EF4-FFF2-40B4-BE49-F238E27FC236}">
                            <a16:creationId xmlns:a16="http://schemas.microsoft.com/office/drawing/2014/main" id="{A9563E54-4F19-4F0E-BBCA-4C5EDB4E7C6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Slide Number Placeholder 7">
            <a:extLst>
              <a:ext uri="{FF2B5EF4-FFF2-40B4-BE49-F238E27FC236}">
                <a16:creationId xmlns:a16="http://schemas.microsoft.com/office/drawing/2014/main" id="{AC281464-FEB4-4900-AA2B-B17CFB55AB9A}"/>
              </a:ext>
            </a:extLst>
          </p:cNvPr>
          <p:cNvSpPr>
            <a:spLocks noGrp="1"/>
          </p:cNvSpPr>
          <p:nvPr>
            <p:ph type="sldNum" idx="12"/>
          </p:nvPr>
        </p:nvSpPr>
        <p:spPr/>
        <p:txBody>
          <a:bodyPr/>
          <a:lstStyle/>
          <a:p>
            <a:fld id="{00000000-1234-1234-1234-123412341234}" type="slidenum">
              <a:rPr lang="nl-NL" smtClean="0"/>
              <a:pPr/>
              <a:t>34</a:t>
            </a:fld>
            <a:endParaRPr lang="nl-NL" dirty="0"/>
          </a:p>
        </p:txBody>
      </p:sp>
      <p:sp>
        <p:nvSpPr>
          <p:cNvPr id="9" name="Text Placeholder 8">
            <a:extLst>
              <a:ext uri="{FF2B5EF4-FFF2-40B4-BE49-F238E27FC236}">
                <a16:creationId xmlns:a16="http://schemas.microsoft.com/office/drawing/2014/main" id="{DDDEBBF4-3A27-4E49-9527-B9C25414F2F3}"/>
              </a:ext>
            </a:extLst>
          </p:cNvPr>
          <p:cNvSpPr>
            <a:spLocks noGrp="1"/>
          </p:cNvSpPr>
          <p:nvPr>
            <p:ph type="body" idx="6"/>
          </p:nvPr>
        </p:nvSpPr>
        <p:spPr>
          <a:noFill/>
          <a:ln>
            <a:noFill/>
          </a:ln>
        </p:spPr>
        <p:txBody>
          <a:bodyPr spcFirstLastPara="1" vert="horz" wrap="square" lIns="7200" tIns="0" rIns="0" bIns="0" rtlCol="0" anchor="t" anchorCtr="0">
            <a:noAutofit/>
          </a:bodyPr>
          <a:lstStyle/>
          <a:p>
            <a:pPr marL="0" indent="0"/>
            <a:r>
              <a:rPr lang="nl-NL" dirty="0"/>
              <a:t>Gebruikers Wmo-vervoer in de G4-steden, 2019</a:t>
            </a:r>
          </a:p>
        </p:txBody>
      </p:sp>
      <p:sp>
        <p:nvSpPr>
          <p:cNvPr id="10" name="Title 9">
            <a:extLst>
              <a:ext uri="{FF2B5EF4-FFF2-40B4-BE49-F238E27FC236}">
                <a16:creationId xmlns:a16="http://schemas.microsoft.com/office/drawing/2014/main" id="{F7C13DA1-C5B8-43F1-BE0B-7EC828BB502C}"/>
              </a:ext>
            </a:extLst>
          </p:cNvPr>
          <p:cNvSpPr>
            <a:spLocks noGrp="1"/>
          </p:cNvSpPr>
          <p:nvPr>
            <p:ph type="title"/>
          </p:nvPr>
        </p:nvSpPr>
        <p:spPr/>
        <p:txBody>
          <a:bodyPr vert="horz"/>
          <a:lstStyle/>
          <a:p>
            <a:r>
              <a:rPr lang="nl-NL" dirty="0"/>
              <a:t>G4-steden liggen redelijk dicht bij elkaar wat betreft het aantal gebruikers, maar Amsterdam heeft relatief het meeste gebruikers</a:t>
            </a:r>
          </a:p>
        </p:txBody>
      </p:sp>
      <p:graphicFrame>
        <p:nvGraphicFramePr>
          <p:cNvPr id="101" name="Chart 100">
            <a:extLst>
              <a:ext uri="{FF2B5EF4-FFF2-40B4-BE49-F238E27FC236}">
                <a16:creationId xmlns:a16="http://schemas.microsoft.com/office/drawing/2014/main" id="{000067C9-3FB8-45B1-996B-576A627019D8}"/>
              </a:ext>
            </a:extLst>
          </p:cNvPr>
          <p:cNvGraphicFramePr/>
          <p:nvPr>
            <p:custDataLst>
              <p:tags r:id="rId3"/>
            </p:custDataLst>
            <p:extLst>
              <p:ext uri="{D42A27DB-BD31-4B8C-83A1-F6EECF244321}">
                <p14:modId xmlns:p14="http://schemas.microsoft.com/office/powerpoint/2010/main" val="3196700823"/>
              </p:ext>
            </p:extLst>
          </p:nvPr>
        </p:nvGraphicFramePr>
        <p:xfrm>
          <a:off x="579438" y="2078038"/>
          <a:ext cx="5457825" cy="3843337"/>
        </p:xfrm>
        <a:graphic>
          <a:graphicData uri="http://schemas.openxmlformats.org/drawingml/2006/chart">
            <c:chart xmlns:c="http://schemas.openxmlformats.org/drawingml/2006/chart" xmlns:r="http://schemas.openxmlformats.org/officeDocument/2006/relationships" r:id="rId9"/>
          </a:graphicData>
        </a:graphic>
      </p:graphicFrame>
      <p:pic>
        <p:nvPicPr>
          <p:cNvPr id="81" name="Google Shape;764;p15" descr="Afbeeldingsresultaat voor Utrecht logo">
            <a:extLst>
              <a:ext uri="{FF2B5EF4-FFF2-40B4-BE49-F238E27FC236}">
                <a16:creationId xmlns:a16="http://schemas.microsoft.com/office/drawing/2014/main" id="{B0983985-36ED-4357-8777-A348F0CF5838}"/>
              </a:ext>
            </a:extLst>
          </p:cNvPr>
          <p:cNvPicPr preferRelativeResize="0"/>
          <p:nvPr/>
        </p:nvPicPr>
        <p:blipFill rotWithShape="1">
          <a:blip r:embed="rId10" cstate="print">
            <a:alphaModFix/>
            <a:extLst>
              <a:ext uri="{28A0092B-C50C-407E-A947-70E740481C1C}">
                <a14:useLocalDpi xmlns:a14="http://schemas.microsoft.com/office/drawing/2010/main"/>
              </a:ext>
            </a:extLst>
          </a:blip>
          <a:srcRect l="18685" r="14974"/>
          <a:stretch/>
        </p:blipFill>
        <p:spPr>
          <a:xfrm>
            <a:off x="5012843" y="5865223"/>
            <a:ext cx="581865" cy="476706"/>
          </a:xfrm>
          <a:prstGeom prst="rect">
            <a:avLst/>
          </a:prstGeom>
          <a:noFill/>
          <a:ln>
            <a:noFill/>
          </a:ln>
        </p:spPr>
      </p:pic>
      <p:pic>
        <p:nvPicPr>
          <p:cNvPr id="82" name="Google Shape;765;p15" descr="Afbeeldingsresultaat voor Den Haag logo">
            <a:extLst>
              <a:ext uri="{FF2B5EF4-FFF2-40B4-BE49-F238E27FC236}">
                <a16:creationId xmlns:a16="http://schemas.microsoft.com/office/drawing/2014/main" id="{454BFDA4-A7C2-47D1-94D4-5EF7973641C3}"/>
              </a:ext>
            </a:extLst>
          </p:cNvPr>
          <p:cNvPicPr preferRelativeResize="0"/>
          <p:nvPr/>
        </p:nvPicPr>
        <p:blipFill rotWithShape="1">
          <a:blip r:embed="rId11" cstate="print">
            <a:alphaModFix/>
            <a:extLst>
              <a:ext uri="{28A0092B-C50C-407E-A947-70E740481C1C}">
                <a14:useLocalDpi xmlns:a14="http://schemas.microsoft.com/office/drawing/2010/main"/>
              </a:ext>
            </a:extLst>
          </a:blip>
          <a:srcRect/>
          <a:stretch/>
        </p:blipFill>
        <p:spPr>
          <a:xfrm>
            <a:off x="3683610" y="5835982"/>
            <a:ext cx="557488" cy="535188"/>
          </a:xfrm>
          <a:prstGeom prst="rect">
            <a:avLst/>
          </a:prstGeom>
          <a:noFill/>
          <a:ln>
            <a:noFill/>
          </a:ln>
        </p:spPr>
      </p:pic>
      <p:pic>
        <p:nvPicPr>
          <p:cNvPr id="83" name="Google Shape;766;p15" descr="Afbeeldingsresultaat voor gemeente rotterdam">
            <a:extLst>
              <a:ext uri="{FF2B5EF4-FFF2-40B4-BE49-F238E27FC236}">
                <a16:creationId xmlns:a16="http://schemas.microsoft.com/office/drawing/2014/main" id="{7AE20351-BFE5-45F6-BE85-E7F799C4ADEC}"/>
              </a:ext>
            </a:extLst>
          </p:cNvPr>
          <p:cNvPicPr preferRelativeResize="0"/>
          <p:nvPr/>
        </p:nvPicPr>
        <p:blipFill rotWithShape="1">
          <a:blip r:embed="rId12" cstate="print">
            <a:alphaModFix/>
            <a:extLst>
              <a:ext uri="{28A0092B-C50C-407E-A947-70E740481C1C}">
                <a14:useLocalDpi xmlns:a14="http://schemas.microsoft.com/office/drawing/2010/main"/>
              </a:ext>
            </a:extLst>
          </a:blip>
          <a:srcRect/>
          <a:stretch/>
        </p:blipFill>
        <p:spPr>
          <a:xfrm>
            <a:off x="2278719" y="5887152"/>
            <a:ext cx="716863" cy="432849"/>
          </a:xfrm>
          <a:prstGeom prst="rect">
            <a:avLst/>
          </a:prstGeom>
          <a:noFill/>
          <a:ln>
            <a:noFill/>
          </a:ln>
        </p:spPr>
      </p:pic>
      <p:pic>
        <p:nvPicPr>
          <p:cNvPr id="84" name="Google Shape;767;p15" descr="Afbeeldingsresultaat voor gemeente amsterdam logo">
            <a:extLst>
              <a:ext uri="{FF2B5EF4-FFF2-40B4-BE49-F238E27FC236}">
                <a16:creationId xmlns:a16="http://schemas.microsoft.com/office/drawing/2014/main" id="{0D09A581-ADCD-4EAC-8020-23AF016C15CB}"/>
              </a:ext>
            </a:extLst>
          </p:cNvPr>
          <p:cNvPicPr preferRelativeResize="0"/>
          <p:nvPr/>
        </p:nvPicPr>
        <p:blipFill rotWithShape="1">
          <a:blip r:embed="rId13" cstate="print">
            <a:alphaModFix/>
            <a:extLst>
              <a:ext uri="{28A0092B-C50C-407E-A947-70E740481C1C}">
                <a14:useLocalDpi xmlns:a14="http://schemas.microsoft.com/office/drawing/2010/main"/>
              </a:ext>
            </a:extLst>
          </a:blip>
          <a:srcRect/>
          <a:stretch/>
        </p:blipFill>
        <p:spPr>
          <a:xfrm>
            <a:off x="982409" y="5969415"/>
            <a:ext cx="595582" cy="268322"/>
          </a:xfrm>
          <a:prstGeom prst="rect">
            <a:avLst/>
          </a:prstGeom>
          <a:noFill/>
          <a:ln>
            <a:noFill/>
          </a:ln>
        </p:spPr>
      </p:pic>
      <p:sp>
        <p:nvSpPr>
          <p:cNvPr id="104" name="Google Shape;759;p15">
            <a:extLst>
              <a:ext uri="{FF2B5EF4-FFF2-40B4-BE49-F238E27FC236}">
                <a16:creationId xmlns:a16="http://schemas.microsoft.com/office/drawing/2014/main" id="{CE8A80A1-5612-4194-9B2B-F96E1E0FCAA6}"/>
              </a:ext>
            </a:extLst>
          </p:cNvPr>
          <p:cNvSpPr txBox="1">
            <a:spLocks/>
          </p:cNvSpPr>
          <p:nvPr/>
        </p:nvSpPr>
        <p:spPr>
          <a:xfrm>
            <a:off x="662780" y="1699963"/>
            <a:ext cx="5292000" cy="360000"/>
          </a:xfrm>
          <a:prstGeom prst="rect">
            <a:avLst/>
          </a:prstGeom>
          <a:noFill/>
          <a:ln>
            <a:noFill/>
          </a:ln>
        </p:spPr>
        <p:txBody>
          <a:bodyPr spcFirstLastPara="1" vert="horz" wrap="square" lIns="7200" tIns="0" rIns="0" bIns="0" rtlCol="0" anchor="ctr" anchorCtr="0">
            <a:noAutofit/>
          </a:bodyPr>
          <a:lstStyle>
            <a:lvl1pPr marL="457200" lvl="0" indent="-228600" algn="l" defTabSz="685800" rtl="0" eaLnBrk="1" latinLnBrk="0" hangingPunct="1">
              <a:lnSpc>
                <a:spcPct val="90000"/>
              </a:lnSpc>
              <a:spcBef>
                <a:spcPts val="375"/>
              </a:spcBef>
              <a:spcAft>
                <a:spcPts val="0"/>
              </a:spcAft>
              <a:buClr>
                <a:schemeClr val="dk2"/>
              </a:buClr>
              <a:buSzPts val="1400"/>
              <a:buFont typeface="Wingdings" panose="05000000000000000000" pitchFamily="2" charset="2"/>
              <a:buNone/>
              <a:defRPr sz="1400" b="1" kern="1200">
                <a:solidFill>
                  <a:schemeClr val="dk1"/>
                </a:solidFill>
                <a:latin typeface="Corbel" panose="020B0503020204020204" pitchFamily="34" charset="0"/>
                <a:ea typeface="+mn-ea"/>
                <a:cs typeface="+mn-cs"/>
              </a:defRPr>
            </a:lvl1pPr>
            <a:lvl2pPr marL="914400" lvl="1" indent="-342900" algn="l" defTabSz="685800" rtl="0" eaLnBrk="1" latinLnBrk="0" hangingPunct="1">
              <a:lnSpc>
                <a:spcPct val="90000"/>
              </a:lnSpc>
              <a:spcBef>
                <a:spcPts val="375"/>
              </a:spcBef>
              <a:spcAft>
                <a:spcPts val="0"/>
              </a:spcAft>
              <a:buClr>
                <a:schemeClr val="dk2"/>
              </a:buClr>
              <a:buSzPts val="1800"/>
              <a:buFontTx/>
              <a:buChar char="-"/>
              <a:defRPr sz="1400" kern="1200">
                <a:solidFill>
                  <a:srgbClr val="000000"/>
                </a:solidFill>
                <a:latin typeface="Corbel" panose="020B0503020204020204" pitchFamily="34" charset="0"/>
                <a:ea typeface="+mn-ea"/>
                <a:cs typeface="+mn-cs"/>
              </a:defRPr>
            </a:lvl2pPr>
            <a:lvl3pPr marL="1371600" lvl="2" indent="-342900" algn="l" defTabSz="685800" rtl="0" eaLnBrk="1" latinLnBrk="0" hangingPunct="1">
              <a:lnSpc>
                <a:spcPct val="90000"/>
              </a:lnSpc>
              <a:spcBef>
                <a:spcPts val="375"/>
              </a:spcBef>
              <a:spcAft>
                <a:spcPts val="0"/>
              </a:spcAft>
              <a:buClr>
                <a:schemeClr val="dk2"/>
              </a:buClr>
              <a:buSzPts val="1800"/>
              <a:buFontTx/>
              <a:buChar char="-"/>
              <a:defRPr sz="1400" kern="1200">
                <a:solidFill>
                  <a:srgbClr val="000000"/>
                </a:solidFill>
                <a:latin typeface="Corbel" panose="020B0503020204020204" pitchFamily="34" charset="0"/>
                <a:ea typeface="+mn-ea"/>
                <a:cs typeface="+mn-cs"/>
              </a:defRPr>
            </a:lvl3pPr>
            <a:lvl4pPr marL="1828800" lvl="3" indent="-342900" algn="l" defTabSz="685800" rtl="0" eaLnBrk="1" latinLnBrk="0" hangingPunct="1">
              <a:lnSpc>
                <a:spcPct val="90000"/>
              </a:lnSpc>
              <a:spcBef>
                <a:spcPts val="375"/>
              </a:spcBef>
              <a:spcAft>
                <a:spcPts val="0"/>
              </a:spcAft>
              <a:buClr>
                <a:schemeClr val="dk2"/>
              </a:buClr>
              <a:buSzPts val="1800"/>
              <a:buFontTx/>
              <a:buChar char="-"/>
              <a:defRPr sz="1400" kern="1200">
                <a:solidFill>
                  <a:srgbClr val="000000"/>
                </a:solidFill>
                <a:latin typeface="Corbel" panose="020B0503020204020204" pitchFamily="34" charset="0"/>
                <a:ea typeface="+mn-ea"/>
                <a:cs typeface="+mn-cs"/>
              </a:defRPr>
            </a:lvl4pPr>
            <a:lvl5pPr marL="2286000" lvl="4" indent="-342900" algn="l" rtl="0" eaLnBrk="1" fontAlgn="base" hangingPunct="1">
              <a:spcBef>
                <a:spcPts val="0"/>
              </a:spcBef>
              <a:spcAft>
                <a:spcPts val="0"/>
              </a:spcAft>
              <a:buClr>
                <a:schemeClr val="tx2"/>
              </a:buClr>
              <a:buSzPts val="1800"/>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743200" lvl="5" indent="-228600" algn="l" defTabSz="914400" rtl="0" eaLnBrk="1" latinLnBrk="0" hangingPunct="1">
              <a:spcBef>
                <a:spcPts val="0"/>
              </a:spcBef>
              <a:spcAft>
                <a:spcPts val="0"/>
              </a:spcAft>
              <a:buSzPts val="1400"/>
              <a:buNone/>
              <a:defRPr kern="1200">
                <a:solidFill>
                  <a:schemeClr val="tx1"/>
                </a:solidFill>
                <a:latin typeface="Corbel" panose="020B0604020202020204" pitchFamily="34" charset="0"/>
                <a:ea typeface="+mn-ea"/>
                <a:cs typeface="Corbel" panose="020B0604020202020204" pitchFamily="34" charset="0"/>
              </a:defRPr>
            </a:lvl6pPr>
            <a:lvl7pPr marL="3200400" lvl="6" indent="-228600" algn="l" defTabSz="914400" rtl="0" eaLnBrk="1" latinLnBrk="0" hangingPunct="1">
              <a:spcBef>
                <a:spcPts val="0"/>
              </a:spcBef>
              <a:spcAft>
                <a:spcPts val="0"/>
              </a:spcAft>
              <a:buSzPts val="1400"/>
              <a:buNone/>
              <a:defRPr kern="1200">
                <a:solidFill>
                  <a:schemeClr val="tx1"/>
                </a:solidFill>
                <a:latin typeface="Corbel" panose="020B0604020202020204" pitchFamily="34" charset="0"/>
                <a:ea typeface="+mn-ea"/>
                <a:cs typeface="Corbel" panose="020B0604020202020204" pitchFamily="34" charset="0"/>
              </a:defRPr>
            </a:lvl7pPr>
            <a:lvl8pPr marL="3657600" lvl="7" indent="-228600" algn="l" defTabSz="914400" rtl="0" eaLnBrk="1" latinLnBrk="0" hangingPunct="1">
              <a:spcBef>
                <a:spcPts val="0"/>
              </a:spcBef>
              <a:spcAft>
                <a:spcPts val="0"/>
              </a:spcAft>
              <a:buSzPts val="1400"/>
              <a:buNone/>
              <a:defRPr kern="1200">
                <a:solidFill>
                  <a:schemeClr val="tx1"/>
                </a:solidFill>
                <a:latin typeface="Corbel" panose="020B0604020202020204" pitchFamily="34" charset="0"/>
                <a:ea typeface="+mn-ea"/>
                <a:cs typeface="Corbel" panose="020B0604020202020204" pitchFamily="34" charset="0"/>
              </a:defRPr>
            </a:lvl8pPr>
            <a:lvl9pPr marL="4114800" lvl="8" indent="-228600" algn="l" defTabSz="914400" rtl="0" eaLnBrk="1" latinLnBrk="0" hangingPunct="1">
              <a:spcBef>
                <a:spcPts val="0"/>
              </a:spcBef>
              <a:spcAft>
                <a:spcPts val="0"/>
              </a:spcAft>
              <a:buSzPts val="1400"/>
              <a:buNone/>
              <a:defRPr kern="1200">
                <a:solidFill>
                  <a:schemeClr val="tx1"/>
                </a:solidFill>
                <a:latin typeface="Corbel" panose="020B0604020202020204" pitchFamily="34" charset="0"/>
                <a:ea typeface="+mn-ea"/>
                <a:cs typeface="Corbel" panose="020B0604020202020204" pitchFamily="34" charset="0"/>
              </a:defRPr>
            </a:lvl9pPr>
          </a:lstStyle>
          <a:p>
            <a:pPr marL="0" indent="0">
              <a:spcBef>
                <a:spcPts val="0"/>
              </a:spcBef>
            </a:pPr>
            <a:r>
              <a:rPr lang="nl-NL" dirty="0"/>
              <a:t>% gebruikers Wmo-vervoer t.o.v. totaal inwoners</a:t>
            </a:r>
          </a:p>
        </p:txBody>
      </p:sp>
      <p:sp>
        <p:nvSpPr>
          <p:cNvPr id="105" name="Rectangle 104">
            <a:extLst>
              <a:ext uri="{FF2B5EF4-FFF2-40B4-BE49-F238E27FC236}">
                <a16:creationId xmlns:a16="http://schemas.microsoft.com/office/drawing/2014/main" id="{709605D9-AAC6-408B-B6FB-B0B06A4337FA}"/>
              </a:ext>
            </a:extLst>
          </p:cNvPr>
          <p:cNvSpPr/>
          <p:nvPr/>
        </p:nvSpPr>
        <p:spPr>
          <a:xfrm>
            <a:off x="2017682" y="5134041"/>
            <a:ext cx="1266825" cy="714376"/>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i="1" dirty="0"/>
              <a:t>Geen data</a:t>
            </a:r>
          </a:p>
        </p:txBody>
      </p:sp>
      <p:graphicFrame>
        <p:nvGraphicFramePr>
          <p:cNvPr id="125" name="Chart 124">
            <a:extLst>
              <a:ext uri="{FF2B5EF4-FFF2-40B4-BE49-F238E27FC236}">
                <a16:creationId xmlns:a16="http://schemas.microsoft.com/office/drawing/2014/main" id="{BC7DE4CB-B821-49BD-8529-78F211D04740}"/>
              </a:ext>
            </a:extLst>
          </p:cNvPr>
          <p:cNvGraphicFramePr/>
          <p:nvPr>
            <p:custDataLst>
              <p:tags r:id="rId4"/>
            </p:custDataLst>
            <p:extLst>
              <p:ext uri="{D42A27DB-BD31-4B8C-83A1-F6EECF244321}">
                <p14:modId xmlns:p14="http://schemas.microsoft.com/office/powerpoint/2010/main" val="3959014100"/>
              </p:ext>
            </p:extLst>
          </p:nvPr>
        </p:nvGraphicFramePr>
        <p:xfrm>
          <a:off x="6157913" y="2078038"/>
          <a:ext cx="5457825" cy="3843337"/>
        </p:xfrm>
        <a:graphic>
          <a:graphicData uri="http://schemas.openxmlformats.org/drawingml/2006/chart">
            <c:chart xmlns:c="http://schemas.openxmlformats.org/drawingml/2006/chart" xmlns:r="http://schemas.openxmlformats.org/officeDocument/2006/relationships" r:id="rId14"/>
          </a:graphicData>
        </a:graphic>
      </p:graphicFrame>
      <p:sp>
        <p:nvSpPr>
          <p:cNvPr id="126" name="Rectangle 125">
            <a:extLst>
              <a:ext uri="{FF2B5EF4-FFF2-40B4-BE49-F238E27FC236}">
                <a16:creationId xmlns:a16="http://schemas.microsoft.com/office/drawing/2014/main" id="{1B457AF0-BED6-46D8-BDA8-C5F5814EF189}"/>
              </a:ext>
            </a:extLst>
          </p:cNvPr>
          <p:cNvSpPr/>
          <p:nvPr/>
        </p:nvSpPr>
        <p:spPr>
          <a:xfrm>
            <a:off x="7616396" y="5134041"/>
            <a:ext cx="1266825" cy="714376"/>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i="1" dirty="0"/>
              <a:t>Geen data</a:t>
            </a:r>
          </a:p>
        </p:txBody>
      </p:sp>
      <p:pic>
        <p:nvPicPr>
          <p:cNvPr id="127" name="Google Shape;764;p15" descr="Afbeeldingsresultaat voor Utrecht logo">
            <a:extLst>
              <a:ext uri="{FF2B5EF4-FFF2-40B4-BE49-F238E27FC236}">
                <a16:creationId xmlns:a16="http://schemas.microsoft.com/office/drawing/2014/main" id="{88A9101A-C59A-4D95-A2A0-A64F70D3D1D2}"/>
              </a:ext>
            </a:extLst>
          </p:cNvPr>
          <p:cNvPicPr preferRelativeResize="0"/>
          <p:nvPr/>
        </p:nvPicPr>
        <p:blipFill rotWithShape="1">
          <a:blip r:embed="rId10" cstate="print">
            <a:alphaModFix/>
            <a:extLst>
              <a:ext uri="{28A0092B-C50C-407E-A947-70E740481C1C}">
                <a14:useLocalDpi xmlns:a14="http://schemas.microsoft.com/office/drawing/2010/main"/>
              </a:ext>
            </a:extLst>
          </a:blip>
          <a:srcRect l="18685" r="14974"/>
          <a:stretch/>
        </p:blipFill>
        <p:spPr>
          <a:xfrm>
            <a:off x="10627726" y="5865223"/>
            <a:ext cx="581865" cy="476706"/>
          </a:xfrm>
          <a:prstGeom prst="rect">
            <a:avLst/>
          </a:prstGeom>
          <a:noFill/>
          <a:ln>
            <a:noFill/>
          </a:ln>
        </p:spPr>
      </p:pic>
      <p:pic>
        <p:nvPicPr>
          <p:cNvPr id="128" name="Google Shape;765;p15" descr="Afbeeldingsresultaat voor Den Haag logo">
            <a:extLst>
              <a:ext uri="{FF2B5EF4-FFF2-40B4-BE49-F238E27FC236}">
                <a16:creationId xmlns:a16="http://schemas.microsoft.com/office/drawing/2014/main" id="{2B1FE728-F1D0-4A37-91EE-764413B4E4BD}"/>
              </a:ext>
            </a:extLst>
          </p:cNvPr>
          <p:cNvPicPr preferRelativeResize="0"/>
          <p:nvPr/>
        </p:nvPicPr>
        <p:blipFill rotWithShape="1">
          <a:blip r:embed="rId11" cstate="print">
            <a:alphaModFix/>
            <a:extLst>
              <a:ext uri="{28A0092B-C50C-407E-A947-70E740481C1C}">
                <a14:useLocalDpi xmlns:a14="http://schemas.microsoft.com/office/drawing/2010/main"/>
              </a:ext>
            </a:extLst>
          </a:blip>
          <a:srcRect/>
          <a:stretch/>
        </p:blipFill>
        <p:spPr>
          <a:xfrm>
            <a:off x="9298493" y="5835982"/>
            <a:ext cx="557488" cy="535188"/>
          </a:xfrm>
          <a:prstGeom prst="rect">
            <a:avLst/>
          </a:prstGeom>
          <a:noFill/>
          <a:ln>
            <a:noFill/>
          </a:ln>
        </p:spPr>
      </p:pic>
      <p:pic>
        <p:nvPicPr>
          <p:cNvPr id="129" name="Google Shape;766;p15" descr="Afbeeldingsresultaat voor gemeente rotterdam">
            <a:extLst>
              <a:ext uri="{FF2B5EF4-FFF2-40B4-BE49-F238E27FC236}">
                <a16:creationId xmlns:a16="http://schemas.microsoft.com/office/drawing/2014/main" id="{C7FEB4D5-A7FF-48F7-AC87-EEBA03EF4650}"/>
              </a:ext>
            </a:extLst>
          </p:cNvPr>
          <p:cNvPicPr preferRelativeResize="0"/>
          <p:nvPr/>
        </p:nvPicPr>
        <p:blipFill rotWithShape="1">
          <a:blip r:embed="rId12" cstate="print">
            <a:alphaModFix/>
            <a:extLst>
              <a:ext uri="{28A0092B-C50C-407E-A947-70E740481C1C}">
                <a14:useLocalDpi xmlns:a14="http://schemas.microsoft.com/office/drawing/2010/main"/>
              </a:ext>
            </a:extLst>
          </a:blip>
          <a:srcRect/>
          <a:stretch/>
        </p:blipFill>
        <p:spPr>
          <a:xfrm>
            <a:off x="7893602" y="5887152"/>
            <a:ext cx="716863" cy="432849"/>
          </a:xfrm>
          <a:prstGeom prst="rect">
            <a:avLst/>
          </a:prstGeom>
          <a:noFill/>
          <a:ln>
            <a:noFill/>
          </a:ln>
        </p:spPr>
      </p:pic>
      <p:pic>
        <p:nvPicPr>
          <p:cNvPr id="130" name="Google Shape;767;p15" descr="Afbeeldingsresultaat voor gemeente amsterdam logo">
            <a:extLst>
              <a:ext uri="{FF2B5EF4-FFF2-40B4-BE49-F238E27FC236}">
                <a16:creationId xmlns:a16="http://schemas.microsoft.com/office/drawing/2014/main" id="{EB36C514-5AA9-4C58-A636-6B924C74B189}"/>
              </a:ext>
            </a:extLst>
          </p:cNvPr>
          <p:cNvPicPr preferRelativeResize="0"/>
          <p:nvPr/>
        </p:nvPicPr>
        <p:blipFill rotWithShape="1">
          <a:blip r:embed="rId13" cstate="print">
            <a:alphaModFix/>
            <a:extLst>
              <a:ext uri="{28A0092B-C50C-407E-A947-70E740481C1C}">
                <a14:useLocalDpi xmlns:a14="http://schemas.microsoft.com/office/drawing/2010/main"/>
              </a:ext>
            </a:extLst>
          </a:blip>
          <a:srcRect/>
          <a:stretch/>
        </p:blipFill>
        <p:spPr>
          <a:xfrm>
            <a:off x="6597292" y="5969415"/>
            <a:ext cx="595582" cy="268322"/>
          </a:xfrm>
          <a:prstGeom prst="rect">
            <a:avLst/>
          </a:prstGeom>
          <a:noFill/>
          <a:ln>
            <a:noFill/>
          </a:ln>
        </p:spPr>
      </p:pic>
      <p:sp>
        <p:nvSpPr>
          <p:cNvPr id="131" name="Google Shape;758;p15">
            <a:extLst>
              <a:ext uri="{FF2B5EF4-FFF2-40B4-BE49-F238E27FC236}">
                <a16:creationId xmlns:a16="http://schemas.microsoft.com/office/drawing/2014/main" id="{0D9DF80C-DE67-4C02-8724-B633CDC33389}"/>
              </a:ext>
            </a:extLst>
          </p:cNvPr>
          <p:cNvSpPr txBox="1">
            <a:spLocks/>
          </p:cNvSpPr>
          <p:nvPr/>
        </p:nvSpPr>
        <p:spPr>
          <a:xfrm>
            <a:off x="6237221" y="1699963"/>
            <a:ext cx="5292000" cy="360000"/>
          </a:xfrm>
          <a:prstGeom prst="rect">
            <a:avLst/>
          </a:prstGeom>
          <a:noFill/>
          <a:ln>
            <a:noFill/>
          </a:ln>
        </p:spPr>
        <p:txBody>
          <a:bodyPr spcFirstLastPara="1" vert="horz" wrap="square" lIns="7200" tIns="0" rIns="0" bIns="0" rtlCol="0" anchor="ctr" anchorCtr="0">
            <a:noAutofit/>
          </a:bodyPr>
          <a:lstStyle>
            <a:lvl1pPr marL="457200" lvl="0" indent="-228600" algn="l" defTabSz="685800" rtl="0" eaLnBrk="1" latinLnBrk="0" hangingPunct="1">
              <a:lnSpc>
                <a:spcPct val="90000"/>
              </a:lnSpc>
              <a:spcBef>
                <a:spcPts val="375"/>
              </a:spcBef>
              <a:spcAft>
                <a:spcPts val="0"/>
              </a:spcAft>
              <a:buClr>
                <a:schemeClr val="dk2"/>
              </a:buClr>
              <a:buSzPts val="1400"/>
              <a:buFont typeface="Wingdings" panose="05000000000000000000" pitchFamily="2" charset="2"/>
              <a:buNone/>
              <a:defRPr sz="1400" b="1" kern="1200">
                <a:solidFill>
                  <a:schemeClr val="dk1"/>
                </a:solidFill>
                <a:latin typeface="Corbel" panose="020B0503020204020204" pitchFamily="34" charset="0"/>
                <a:ea typeface="+mn-ea"/>
                <a:cs typeface="+mn-cs"/>
              </a:defRPr>
            </a:lvl1pPr>
            <a:lvl2pPr marL="914400" lvl="1" indent="-342900" algn="l" defTabSz="685800" rtl="0" eaLnBrk="1" latinLnBrk="0" hangingPunct="1">
              <a:lnSpc>
                <a:spcPct val="90000"/>
              </a:lnSpc>
              <a:spcBef>
                <a:spcPts val="375"/>
              </a:spcBef>
              <a:spcAft>
                <a:spcPts val="0"/>
              </a:spcAft>
              <a:buClr>
                <a:schemeClr val="dk2"/>
              </a:buClr>
              <a:buSzPts val="1800"/>
              <a:buFontTx/>
              <a:buChar char="-"/>
              <a:defRPr sz="1400" kern="1200">
                <a:solidFill>
                  <a:srgbClr val="000000"/>
                </a:solidFill>
                <a:latin typeface="Corbel" panose="020B0503020204020204" pitchFamily="34" charset="0"/>
                <a:ea typeface="+mn-ea"/>
                <a:cs typeface="+mn-cs"/>
              </a:defRPr>
            </a:lvl2pPr>
            <a:lvl3pPr marL="1371600" lvl="2" indent="-342900" algn="l" defTabSz="685800" rtl="0" eaLnBrk="1" latinLnBrk="0" hangingPunct="1">
              <a:lnSpc>
                <a:spcPct val="90000"/>
              </a:lnSpc>
              <a:spcBef>
                <a:spcPts val="375"/>
              </a:spcBef>
              <a:spcAft>
                <a:spcPts val="0"/>
              </a:spcAft>
              <a:buClr>
                <a:schemeClr val="dk2"/>
              </a:buClr>
              <a:buSzPts val="1800"/>
              <a:buFontTx/>
              <a:buChar char="-"/>
              <a:defRPr sz="1400" kern="1200">
                <a:solidFill>
                  <a:srgbClr val="000000"/>
                </a:solidFill>
                <a:latin typeface="Corbel" panose="020B0503020204020204" pitchFamily="34" charset="0"/>
                <a:ea typeface="+mn-ea"/>
                <a:cs typeface="+mn-cs"/>
              </a:defRPr>
            </a:lvl3pPr>
            <a:lvl4pPr marL="1828800" lvl="3" indent="-342900" algn="l" defTabSz="685800" rtl="0" eaLnBrk="1" latinLnBrk="0" hangingPunct="1">
              <a:lnSpc>
                <a:spcPct val="90000"/>
              </a:lnSpc>
              <a:spcBef>
                <a:spcPts val="375"/>
              </a:spcBef>
              <a:spcAft>
                <a:spcPts val="0"/>
              </a:spcAft>
              <a:buClr>
                <a:schemeClr val="dk2"/>
              </a:buClr>
              <a:buSzPts val="1800"/>
              <a:buFontTx/>
              <a:buChar char="-"/>
              <a:defRPr sz="1400" kern="1200">
                <a:solidFill>
                  <a:srgbClr val="000000"/>
                </a:solidFill>
                <a:latin typeface="Corbel" panose="020B0503020204020204" pitchFamily="34" charset="0"/>
                <a:ea typeface="+mn-ea"/>
                <a:cs typeface="+mn-cs"/>
              </a:defRPr>
            </a:lvl4pPr>
            <a:lvl5pPr marL="2286000" lvl="4" indent="-342900" algn="l" rtl="0" eaLnBrk="1" fontAlgn="base" hangingPunct="1">
              <a:spcBef>
                <a:spcPts val="0"/>
              </a:spcBef>
              <a:spcAft>
                <a:spcPts val="0"/>
              </a:spcAft>
              <a:buClr>
                <a:schemeClr val="tx2"/>
              </a:buClr>
              <a:buSzPts val="1800"/>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743200" lvl="5" indent="-228600" algn="l" defTabSz="914400" rtl="0" eaLnBrk="1" latinLnBrk="0" hangingPunct="1">
              <a:spcBef>
                <a:spcPts val="0"/>
              </a:spcBef>
              <a:spcAft>
                <a:spcPts val="0"/>
              </a:spcAft>
              <a:buSzPts val="1400"/>
              <a:buNone/>
              <a:defRPr kern="1200">
                <a:solidFill>
                  <a:schemeClr val="tx1"/>
                </a:solidFill>
                <a:latin typeface="Corbel" panose="020B0604020202020204" pitchFamily="34" charset="0"/>
                <a:ea typeface="+mn-ea"/>
                <a:cs typeface="Corbel" panose="020B0604020202020204" pitchFamily="34" charset="0"/>
              </a:defRPr>
            </a:lvl6pPr>
            <a:lvl7pPr marL="3200400" lvl="6" indent="-228600" algn="l" defTabSz="914400" rtl="0" eaLnBrk="1" latinLnBrk="0" hangingPunct="1">
              <a:spcBef>
                <a:spcPts val="0"/>
              </a:spcBef>
              <a:spcAft>
                <a:spcPts val="0"/>
              </a:spcAft>
              <a:buSzPts val="1400"/>
              <a:buNone/>
              <a:defRPr kern="1200">
                <a:solidFill>
                  <a:schemeClr val="tx1"/>
                </a:solidFill>
                <a:latin typeface="Corbel" panose="020B0604020202020204" pitchFamily="34" charset="0"/>
                <a:ea typeface="+mn-ea"/>
                <a:cs typeface="Corbel" panose="020B0604020202020204" pitchFamily="34" charset="0"/>
              </a:defRPr>
            </a:lvl7pPr>
            <a:lvl8pPr marL="3657600" lvl="7" indent="-228600" algn="l" defTabSz="914400" rtl="0" eaLnBrk="1" latinLnBrk="0" hangingPunct="1">
              <a:spcBef>
                <a:spcPts val="0"/>
              </a:spcBef>
              <a:spcAft>
                <a:spcPts val="0"/>
              </a:spcAft>
              <a:buSzPts val="1400"/>
              <a:buNone/>
              <a:defRPr kern="1200">
                <a:solidFill>
                  <a:schemeClr val="tx1"/>
                </a:solidFill>
                <a:latin typeface="Corbel" panose="020B0604020202020204" pitchFamily="34" charset="0"/>
                <a:ea typeface="+mn-ea"/>
                <a:cs typeface="Corbel" panose="020B0604020202020204" pitchFamily="34" charset="0"/>
              </a:defRPr>
            </a:lvl8pPr>
            <a:lvl9pPr marL="4114800" lvl="8" indent="-228600" algn="l" defTabSz="914400" rtl="0" eaLnBrk="1" latinLnBrk="0" hangingPunct="1">
              <a:spcBef>
                <a:spcPts val="0"/>
              </a:spcBef>
              <a:spcAft>
                <a:spcPts val="0"/>
              </a:spcAft>
              <a:buSzPts val="1400"/>
              <a:buNone/>
              <a:defRPr kern="1200">
                <a:solidFill>
                  <a:schemeClr val="tx1"/>
                </a:solidFill>
                <a:latin typeface="Corbel" panose="020B0604020202020204" pitchFamily="34" charset="0"/>
                <a:ea typeface="+mn-ea"/>
                <a:cs typeface="Corbel" panose="020B0604020202020204" pitchFamily="34" charset="0"/>
              </a:defRPr>
            </a:lvl9pPr>
          </a:lstStyle>
          <a:p>
            <a:pPr marL="0" indent="0">
              <a:spcBef>
                <a:spcPts val="0"/>
              </a:spcBef>
            </a:pPr>
            <a:r>
              <a:rPr lang="nl-NL" dirty="0"/>
              <a:t>% gebruikers Wmo-vervoer t.o.v. 65+ inwoners </a:t>
            </a:r>
          </a:p>
        </p:txBody>
      </p:sp>
      <p:sp>
        <p:nvSpPr>
          <p:cNvPr id="23" name="Footer Placeholder 8">
            <a:extLst>
              <a:ext uri="{FF2B5EF4-FFF2-40B4-BE49-F238E27FC236}">
                <a16:creationId xmlns:a16="http://schemas.microsoft.com/office/drawing/2014/main" id="{187A7DDA-6D03-4EA1-970F-0C571C91EE43}"/>
              </a:ext>
            </a:extLst>
          </p:cNvPr>
          <p:cNvSpPr txBox="1">
            <a:spLocks/>
          </p:cNvSpPr>
          <p:nvPr/>
        </p:nvSpPr>
        <p:spPr>
          <a:xfrm>
            <a:off x="661800" y="6624637"/>
            <a:ext cx="10868400" cy="122400"/>
          </a:xfrm>
          <a:prstGeom prst="rect">
            <a:avLst/>
          </a:prstGeom>
        </p:spPr>
        <p:txBody>
          <a:bodyPr vert="horz" lIns="36000" tIns="0" rIns="36000" bIns="0" rtlCol="0" anchor="b"/>
          <a:lstStyle>
            <a:defPPr>
              <a:defRPr lang="nl-NL"/>
            </a:defPPr>
            <a:lvl1pPr marL="0" indent="0">
              <a:buNone/>
              <a:defRPr sz="800">
                <a:latin typeface="+mn-lt"/>
              </a:defRPr>
            </a:lvl1pPr>
            <a:lvl2pPr marL="914400" lvl="1" indent="-342900" algn="l" defTabSz="685800" rtl="0" eaLnBrk="1" latinLnBrk="0" hangingPunct="1">
              <a:lnSpc>
                <a:spcPct val="90000"/>
              </a:lnSpc>
              <a:spcBef>
                <a:spcPts val="375"/>
              </a:spcBef>
              <a:spcAft>
                <a:spcPts val="0"/>
              </a:spcAft>
              <a:buClr>
                <a:schemeClr val="dk2"/>
              </a:buClr>
              <a:buSzPts val="1800"/>
              <a:buFontTx/>
              <a:buChar char="-"/>
              <a:defRPr sz="1400" kern="1200">
                <a:solidFill>
                  <a:srgbClr val="000000"/>
                </a:solidFill>
                <a:latin typeface="Corbel" panose="020B0503020204020204" pitchFamily="34" charset="0"/>
                <a:ea typeface="+mn-ea"/>
                <a:cs typeface="+mn-cs"/>
              </a:defRPr>
            </a:lvl2pPr>
            <a:lvl3pPr marL="1371600" lvl="2" indent="-342900" algn="l" defTabSz="685800" rtl="0" eaLnBrk="1" latinLnBrk="0" hangingPunct="1">
              <a:lnSpc>
                <a:spcPct val="90000"/>
              </a:lnSpc>
              <a:spcBef>
                <a:spcPts val="375"/>
              </a:spcBef>
              <a:spcAft>
                <a:spcPts val="0"/>
              </a:spcAft>
              <a:buClr>
                <a:schemeClr val="dk2"/>
              </a:buClr>
              <a:buSzPts val="1800"/>
              <a:buFontTx/>
              <a:buChar char="-"/>
              <a:defRPr sz="1400" kern="1200">
                <a:solidFill>
                  <a:srgbClr val="000000"/>
                </a:solidFill>
                <a:latin typeface="Corbel" panose="020B0503020204020204" pitchFamily="34" charset="0"/>
                <a:ea typeface="+mn-ea"/>
                <a:cs typeface="+mn-cs"/>
              </a:defRPr>
            </a:lvl3pPr>
            <a:lvl4pPr marL="1828800" lvl="3" indent="-342900" algn="l" defTabSz="685800" rtl="0" eaLnBrk="1" latinLnBrk="0" hangingPunct="1">
              <a:lnSpc>
                <a:spcPct val="90000"/>
              </a:lnSpc>
              <a:spcBef>
                <a:spcPts val="375"/>
              </a:spcBef>
              <a:spcAft>
                <a:spcPts val="0"/>
              </a:spcAft>
              <a:buClr>
                <a:schemeClr val="dk2"/>
              </a:buClr>
              <a:buSzPts val="1800"/>
              <a:buFontTx/>
              <a:buChar char="-"/>
              <a:defRPr sz="1400" kern="1200">
                <a:solidFill>
                  <a:srgbClr val="000000"/>
                </a:solidFill>
                <a:latin typeface="Corbel" panose="020B0503020204020204" pitchFamily="34" charset="0"/>
                <a:ea typeface="+mn-ea"/>
                <a:cs typeface="+mn-cs"/>
              </a:defRPr>
            </a:lvl4pPr>
            <a:lvl5pPr marL="2286000" lvl="4" indent="-342900" algn="l" rtl="0" eaLnBrk="1" fontAlgn="base" hangingPunct="1">
              <a:spcBef>
                <a:spcPts val="0"/>
              </a:spcBef>
              <a:spcAft>
                <a:spcPts val="0"/>
              </a:spcAft>
              <a:buClr>
                <a:schemeClr val="tx2"/>
              </a:buClr>
              <a:buSzPts val="1800"/>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743200" lvl="5" indent="-228600" algn="l" defTabSz="914400" rtl="0" eaLnBrk="1" latinLnBrk="0" hangingPunct="1">
              <a:spcBef>
                <a:spcPts val="0"/>
              </a:spcBef>
              <a:spcAft>
                <a:spcPts val="0"/>
              </a:spcAft>
              <a:buSzPts val="1400"/>
              <a:buNone/>
              <a:defRPr kern="1200">
                <a:solidFill>
                  <a:schemeClr val="tx1"/>
                </a:solidFill>
                <a:latin typeface="Corbel" panose="020B0604020202020204" pitchFamily="34" charset="0"/>
                <a:ea typeface="+mn-ea"/>
                <a:cs typeface="Corbel" panose="020B0604020202020204" pitchFamily="34" charset="0"/>
              </a:defRPr>
            </a:lvl6pPr>
            <a:lvl7pPr marL="3200400" lvl="6" indent="-228600" algn="l" defTabSz="914400" rtl="0" eaLnBrk="1" latinLnBrk="0" hangingPunct="1">
              <a:spcBef>
                <a:spcPts val="0"/>
              </a:spcBef>
              <a:spcAft>
                <a:spcPts val="0"/>
              </a:spcAft>
              <a:buSzPts val="1400"/>
              <a:buNone/>
              <a:defRPr kern="1200">
                <a:solidFill>
                  <a:schemeClr val="tx1"/>
                </a:solidFill>
                <a:latin typeface="Corbel" panose="020B0604020202020204" pitchFamily="34" charset="0"/>
                <a:ea typeface="+mn-ea"/>
                <a:cs typeface="Corbel" panose="020B0604020202020204" pitchFamily="34" charset="0"/>
              </a:defRPr>
            </a:lvl7pPr>
            <a:lvl8pPr marL="3657600" lvl="7" indent="-228600" algn="l" defTabSz="914400" rtl="0" eaLnBrk="1" latinLnBrk="0" hangingPunct="1">
              <a:spcBef>
                <a:spcPts val="0"/>
              </a:spcBef>
              <a:spcAft>
                <a:spcPts val="0"/>
              </a:spcAft>
              <a:buSzPts val="1400"/>
              <a:buNone/>
              <a:defRPr kern="1200">
                <a:solidFill>
                  <a:schemeClr val="tx1"/>
                </a:solidFill>
                <a:latin typeface="Corbel" panose="020B0604020202020204" pitchFamily="34" charset="0"/>
                <a:ea typeface="+mn-ea"/>
                <a:cs typeface="Corbel" panose="020B0604020202020204" pitchFamily="34" charset="0"/>
              </a:defRPr>
            </a:lvl8pPr>
            <a:lvl9pPr marL="4114800" lvl="8" indent="-228600" algn="l" defTabSz="914400" rtl="0" eaLnBrk="1" latinLnBrk="0" hangingPunct="1">
              <a:spcBef>
                <a:spcPts val="0"/>
              </a:spcBef>
              <a:spcAft>
                <a:spcPts val="0"/>
              </a:spcAft>
              <a:buSzPts val="1400"/>
              <a:buNone/>
              <a:defRPr kern="1200">
                <a:solidFill>
                  <a:schemeClr val="tx1"/>
                </a:solidFill>
                <a:latin typeface="Corbel" panose="020B0604020202020204" pitchFamily="34" charset="0"/>
                <a:ea typeface="+mn-ea"/>
                <a:cs typeface="Corbel" panose="020B0604020202020204" pitchFamily="34" charset="0"/>
              </a:defRPr>
            </a:lvl9pPr>
          </a:lstStyle>
          <a:p>
            <a:r>
              <a:rPr lang="nl-NL" sz="800" dirty="0">
                <a:solidFill>
                  <a:srgbClr val="000000"/>
                </a:solidFill>
                <a:latin typeface="Corbel"/>
                <a:ea typeface="Corbel"/>
                <a:cs typeface="Corbel"/>
                <a:sym typeface="Corbel"/>
              </a:rPr>
              <a:t>Bron: Website gemeente Amsterdam;  Jaarverslag gemeente Den Haag 2019 – Zorg, welzijn, jeugd en volksgezondheid; Raadsbrief Utrecht ‘Ontwikkelingen Regiotaxi’ (18 dec. 2019); Utrecht in Cijfers; Den Haag in Cijfers; Onderzoek 010; bevolkingscijfers van OIS</a:t>
            </a:r>
            <a:r>
              <a:rPr lang="nl-NL" sz="800">
                <a:solidFill>
                  <a:srgbClr val="000000"/>
                </a:solidFill>
                <a:latin typeface="Corbel"/>
                <a:ea typeface="Corbel"/>
                <a:cs typeface="Corbel"/>
                <a:sym typeface="Corbel"/>
              </a:rPr>
              <a:t>; It's Public </a:t>
            </a:r>
            <a:r>
              <a:rPr lang="nl-NL" sz="800" dirty="0">
                <a:solidFill>
                  <a:srgbClr val="000000"/>
                </a:solidFill>
                <a:latin typeface="Corbel"/>
                <a:ea typeface="Corbel"/>
                <a:cs typeface="Corbel"/>
                <a:sym typeface="Corbel"/>
              </a:rPr>
              <a:t>analyse</a:t>
            </a:r>
          </a:p>
        </p:txBody>
      </p:sp>
    </p:spTree>
    <p:extLst>
      <p:ext uri="{BB962C8B-B14F-4D97-AF65-F5344CB8AC3E}">
        <p14:creationId xmlns:p14="http://schemas.microsoft.com/office/powerpoint/2010/main" val="8117620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BF57E5D-3F5C-40F9-BF90-CC6B7800C2A5}"/>
              </a:ext>
            </a:extLst>
          </p:cNvPr>
          <p:cNvGraphicFramePr>
            <a:graphicFrameLocks noChangeAspect="1"/>
          </p:cNvGraphicFramePr>
          <p:nvPr>
            <p:custDataLst>
              <p:tags r:id="rId2"/>
            </p:custDataLst>
            <p:extLst>
              <p:ext uri="{D42A27DB-BD31-4B8C-83A1-F6EECF244321}">
                <p14:modId xmlns:p14="http://schemas.microsoft.com/office/powerpoint/2010/main" val="4039608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6" name="think-cell Slide" r:id="rId4" imgW="425" imgH="424" progId="TCLayout.ActiveDocument.1">
                  <p:embed/>
                </p:oleObj>
              </mc:Choice>
              <mc:Fallback>
                <p:oleObj name="think-cell Slide" r:id="rId4" imgW="425" imgH="424" progId="TCLayout.ActiveDocument.1">
                  <p:embed/>
                  <p:pic>
                    <p:nvPicPr>
                      <p:cNvPr id="11" name="Object 10" hidden="1">
                        <a:extLst>
                          <a:ext uri="{FF2B5EF4-FFF2-40B4-BE49-F238E27FC236}">
                            <a16:creationId xmlns:a16="http://schemas.microsoft.com/office/drawing/2014/main" id="{EBF57E5D-3F5C-40F9-BF90-CC6B7800C2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Slide Number Placeholder 7">
            <a:extLst>
              <a:ext uri="{FF2B5EF4-FFF2-40B4-BE49-F238E27FC236}">
                <a16:creationId xmlns:a16="http://schemas.microsoft.com/office/drawing/2014/main" id="{ECD18CB8-6D95-4991-B1AF-F527D326B27B}"/>
              </a:ext>
            </a:extLst>
          </p:cNvPr>
          <p:cNvSpPr>
            <a:spLocks noGrp="1"/>
          </p:cNvSpPr>
          <p:nvPr>
            <p:ph type="sldNum" idx="12"/>
          </p:nvPr>
        </p:nvSpPr>
        <p:spPr/>
        <p:txBody>
          <a:bodyPr/>
          <a:lstStyle/>
          <a:p>
            <a:fld id="{00000000-1234-1234-1234-123412341234}" type="slidenum">
              <a:rPr lang="nl-NL" smtClean="0"/>
              <a:pPr/>
              <a:t>35</a:t>
            </a:fld>
            <a:endParaRPr lang="nl-NL" dirty="0"/>
          </a:p>
        </p:txBody>
      </p:sp>
      <p:sp>
        <p:nvSpPr>
          <p:cNvPr id="10" name="Title 9">
            <a:extLst>
              <a:ext uri="{FF2B5EF4-FFF2-40B4-BE49-F238E27FC236}">
                <a16:creationId xmlns:a16="http://schemas.microsoft.com/office/drawing/2014/main" id="{EB5CF384-C733-4321-847A-130839E7D05E}"/>
              </a:ext>
            </a:extLst>
          </p:cNvPr>
          <p:cNvSpPr>
            <a:spLocks noGrp="1"/>
          </p:cNvSpPr>
          <p:nvPr>
            <p:ph type="title"/>
          </p:nvPr>
        </p:nvSpPr>
        <p:spPr/>
        <p:txBody>
          <a:bodyPr vert="horz"/>
          <a:lstStyle/>
          <a:p>
            <a:r>
              <a:rPr lang="nl-NL" dirty="0"/>
              <a:t>Er zijn diverse initiatieven om OV-gebruik te stimuleren onder kwetsbare doelgroepen (1/2)</a:t>
            </a:r>
          </a:p>
        </p:txBody>
      </p:sp>
      <p:graphicFrame>
        <p:nvGraphicFramePr>
          <p:cNvPr id="16" name="Table 15">
            <a:extLst>
              <a:ext uri="{FF2B5EF4-FFF2-40B4-BE49-F238E27FC236}">
                <a16:creationId xmlns:a16="http://schemas.microsoft.com/office/drawing/2014/main" id="{BDF0B0C1-31F2-44E9-8E60-29162D618CF6}"/>
              </a:ext>
            </a:extLst>
          </p:cNvPr>
          <p:cNvGraphicFramePr>
            <a:graphicFrameLocks noGrp="1"/>
          </p:cNvGraphicFramePr>
          <p:nvPr>
            <p:extLst>
              <p:ext uri="{D42A27DB-BD31-4B8C-83A1-F6EECF244321}">
                <p14:modId xmlns:p14="http://schemas.microsoft.com/office/powerpoint/2010/main" val="1934471915"/>
              </p:ext>
            </p:extLst>
          </p:nvPr>
        </p:nvGraphicFramePr>
        <p:xfrm>
          <a:off x="658813" y="1636346"/>
          <a:ext cx="10869462" cy="4611592"/>
        </p:xfrm>
        <a:graphic>
          <a:graphicData uri="http://schemas.openxmlformats.org/drawingml/2006/table">
            <a:tbl>
              <a:tblPr>
                <a:tableStyleId>{073A0DAA-6AF3-43AB-8588-CEC1D06C72B9}</a:tableStyleId>
              </a:tblPr>
              <a:tblGrid>
                <a:gridCol w="2603862">
                  <a:extLst>
                    <a:ext uri="{9D8B030D-6E8A-4147-A177-3AD203B41FA5}">
                      <a16:colId xmlns:a16="http://schemas.microsoft.com/office/drawing/2014/main" val="555127900"/>
                    </a:ext>
                  </a:extLst>
                </a:gridCol>
                <a:gridCol w="6620400">
                  <a:extLst>
                    <a:ext uri="{9D8B030D-6E8A-4147-A177-3AD203B41FA5}">
                      <a16:colId xmlns:a16="http://schemas.microsoft.com/office/drawing/2014/main" val="898196788"/>
                    </a:ext>
                  </a:extLst>
                </a:gridCol>
                <a:gridCol w="1645200">
                  <a:extLst>
                    <a:ext uri="{9D8B030D-6E8A-4147-A177-3AD203B41FA5}">
                      <a16:colId xmlns:a16="http://schemas.microsoft.com/office/drawing/2014/main" val="2589180261"/>
                    </a:ext>
                  </a:extLst>
                </a:gridCol>
              </a:tblGrid>
              <a:tr h="284998">
                <a:tc>
                  <a:txBody>
                    <a:bodyPr/>
                    <a:lstStyle/>
                    <a:p>
                      <a:pPr algn="ctr" fontAlgn="b"/>
                      <a:r>
                        <a:rPr lang="nl-NL" sz="1000" b="1" i="0" u="none" strike="noStrike" dirty="0">
                          <a:solidFill>
                            <a:srgbClr val="FFFFFF"/>
                          </a:solidFill>
                          <a:effectLst/>
                          <a:latin typeface="+mj-lt"/>
                        </a:rPr>
                        <a:t>Titel van intiatief</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tc>
                  <a:txBody>
                    <a:bodyPr/>
                    <a:lstStyle/>
                    <a:p>
                      <a:pPr algn="ctr" fontAlgn="b"/>
                      <a:r>
                        <a:rPr lang="nl-NL" sz="1000" b="1" i="0" u="none" strike="noStrike" dirty="0">
                          <a:solidFill>
                            <a:srgbClr val="FFFFFF"/>
                          </a:solidFill>
                          <a:effectLst/>
                          <a:latin typeface="+mj-lt"/>
                        </a:rPr>
                        <a:t>Omschrijving</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tc>
                  <a:txBody>
                    <a:bodyPr/>
                    <a:lstStyle/>
                    <a:p>
                      <a:pPr algn="ctr" fontAlgn="b"/>
                      <a:r>
                        <a:rPr lang="nl-NL" sz="1000" b="1" i="0" u="none" strike="noStrike" dirty="0">
                          <a:solidFill>
                            <a:srgbClr val="FFFFFF"/>
                          </a:solidFill>
                          <a:effectLst/>
                          <a:latin typeface="+mj-lt"/>
                        </a:rPr>
                        <a:t>Categorie</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extLst>
                  <a:ext uri="{0D108BD9-81ED-4DB2-BD59-A6C34878D82A}">
                    <a16:rowId xmlns:a16="http://schemas.microsoft.com/office/drawing/2014/main" val="1244285712"/>
                  </a:ext>
                </a:extLst>
              </a:tr>
              <a:tr h="284998">
                <a:tc>
                  <a:txBody>
                    <a:bodyPr/>
                    <a:lstStyle/>
                    <a:p>
                      <a:pPr algn="l" fontAlgn="b"/>
                      <a:r>
                        <a:rPr lang="nl-NL" sz="1000" b="0" i="0" u="none" strike="noStrike" dirty="0">
                          <a:solidFill>
                            <a:srgbClr val="000000"/>
                          </a:solidFill>
                          <a:effectLst/>
                          <a:latin typeface="+mj-lt"/>
                        </a:rPr>
                        <a:t>Reizigerspanel</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l" fontAlgn="b"/>
                      <a:r>
                        <a:rPr lang="nl-NL" sz="1000" b="0" i="0" u="none" strike="noStrike" dirty="0">
                          <a:solidFill>
                            <a:srgbClr val="000000"/>
                          </a:solidFill>
                          <a:effectLst/>
                          <a:latin typeface="+mj-lt"/>
                        </a:rPr>
                        <a:t>Inrichten van een panel van mensen met beperking om ideeën voor verbeteringen te genereren en beleid te toetsen.</a:t>
                      </a:r>
                      <a:endParaRPr lang="nl-NL" sz="1000" b="0" i="0" u="none" strike="noStrike" dirty="0">
                        <a:solidFill>
                          <a:srgbClr val="000000"/>
                        </a:solidFill>
                        <a:effectLst/>
                        <a:highlight>
                          <a:srgbClr val="FFFF00"/>
                        </a:highlight>
                        <a:latin typeface="+mj-lt"/>
                      </a:endParaRP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tc>
                  <a:txBody>
                    <a:bodyPr/>
                    <a:lstStyle/>
                    <a:p>
                      <a:pPr algn="l" fontAlgn="b"/>
                      <a:r>
                        <a:rPr lang="nl-NL" sz="1000" b="0" i="0" u="none" strike="noStrike" dirty="0">
                          <a:solidFill>
                            <a:srgbClr val="000000"/>
                          </a:solidFill>
                          <a:effectLst/>
                          <a:latin typeface="+mj-lt"/>
                        </a:rPr>
                        <a:t>Informatie verzamelen</a:t>
                      </a:r>
                    </a:p>
                  </a:txBody>
                  <a:tcPr marL="36000" marR="36000" marT="36000" marB="36000" anchor="b">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extLst>
                  <a:ext uri="{0D108BD9-81ED-4DB2-BD59-A6C34878D82A}">
                    <a16:rowId xmlns:a16="http://schemas.microsoft.com/office/drawing/2014/main" val="2564946749"/>
                  </a:ext>
                </a:extLst>
              </a:tr>
              <a:tr h="284998">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nl-NL" sz="1000" u="none" strike="noStrike" kern="1200" dirty="0">
                          <a:solidFill>
                            <a:schemeClr val="dk1"/>
                          </a:solidFill>
                          <a:effectLst/>
                          <a:latin typeface="+mn-lt"/>
                          <a:ea typeface="+mn-ea"/>
                          <a:cs typeface="+mn-cs"/>
                        </a:rPr>
                        <a:t>Signaleren ontoegankelijkheid</a:t>
                      </a:r>
                      <a:endParaRPr lang="nl-NL" sz="1000" b="0" i="0" u="none" strike="noStrike" kern="1200" dirty="0">
                        <a:solidFill>
                          <a:srgbClr val="000000"/>
                        </a:solidFill>
                        <a:effectLst/>
                        <a:latin typeface="+mn-lt"/>
                        <a:ea typeface="+mn-ea"/>
                        <a:cs typeface="+mn-cs"/>
                      </a:endParaRP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l" fontAlgn="b"/>
                      <a:r>
                        <a:rPr lang="nl-NL" sz="1000" b="0" i="0" u="none" strike="noStrike" dirty="0">
                          <a:solidFill>
                            <a:srgbClr val="000000"/>
                          </a:solidFill>
                          <a:effectLst/>
                          <a:latin typeface="+mj-lt"/>
                        </a:rPr>
                        <a:t>Inzetten handhavers of OV-personeel om ontoegankelijkheid te signaleren en vast te leggen in een systeem.</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tc>
                  <a:txBody>
                    <a:bodyPr/>
                    <a:lstStyle/>
                    <a:p>
                      <a:pPr algn="l" fontAlgn="b"/>
                      <a:r>
                        <a:rPr lang="nl-NL" sz="1000" b="0" i="0" u="none" strike="noStrike" dirty="0">
                          <a:solidFill>
                            <a:srgbClr val="000000"/>
                          </a:solidFill>
                          <a:effectLst/>
                          <a:latin typeface="+mj-lt"/>
                        </a:rPr>
                        <a:t>Informatie verzamelen</a:t>
                      </a:r>
                    </a:p>
                  </a:txBody>
                  <a:tcPr marL="36000" marR="36000" marT="36000" marB="36000" anchor="b">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extLst>
                  <a:ext uri="{0D108BD9-81ED-4DB2-BD59-A6C34878D82A}">
                    <a16:rowId xmlns:a16="http://schemas.microsoft.com/office/drawing/2014/main" val="1604933556"/>
                  </a:ext>
                </a:extLst>
              </a:tr>
              <a:tr h="284998">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nl-NL" sz="1000" b="0" i="0" u="none" strike="noStrike" kern="1200" dirty="0">
                          <a:solidFill>
                            <a:srgbClr val="000000"/>
                          </a:solidFill>
                          <a:effectLst/>
                          <a:latin typeface="+mn-lt"/>
                          <a:ea typeface="+mn-ea"/>
                          <a:cs typeface="+mn-cs"/>
                        </a:rPr>
                        <a:t>Stadsmapping</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l" fontAlgn="b"/>
                      <a:r>
                        <a:rPr lang="nl-NL" sz="1000" b="0" i="0" u="none" strike="noStrike" dirty="0">
                          <a:solidFill>
                            <a:srgbClr val="000000"/>
                          </a:solidFill>
                          <a:effectLst/>
                          <a:latin typeface="+mj-lt"/>
                        </a:rPr>
                        <a:t>Reguliere reizigers vragen om door de ogen van mensen met een beperking te kijken naar de leefomgeving en met die blik de toegankelijkheid van hun buurt in kaart te brengen middels gamification en/of stadswandelingen.</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tc>
                  <a:txBody>
                    <a:bodyPr/>
                    <a:lstStyle/>
                    <a:p>
                      <a:pPr algn="l" fontAlgn="b"/>
                      <a:r>
                        <a:rPr lang="nl-NL" sz="1000" b="0" i="0" u="none" strike="noStrike" dirty="0">
                          <a:solidFill>
                            <a:srgbClr val="000000"/>
                          </a:solidFill>
                          <a:effectLst/>
                          <a:latin typeface="+mj-lt"/>
                        </a:rPr>
                        <a:t>Informatie verzamelen</a:t>
                      </a:r>
                    </a:p>
                  </a:txBody>
                  <a:tcPr marL="36000" marR="36000" marT="36000" marB="36000" anchor="b">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extLst>
                  <a:ext uri="{0D108BD9-81ED-4DB2-BD59-A6C34878D82A}">
                    <a16:rowId xmlns:a16="http://schemas.microsoft.com/office/drawing/2014/main" val="3166352227"/>
                  </a:ext>
                </a:extLst>
              </a:tr>
              <a:tr h="284998">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nl-NL" sz="1000" u="none" strike="noStrike" kern="1200" dirty="0">
                          <a:solidFill>
                            <a:schemeClr val="dk1"/>
                          </a:solidFill>
                          <a:effectLst/>
                          <a:latin typeface="+mn-lt"/>
                          <a:ea typeface="+mn-ea"/>
                          <a:cs typeface="+mn-cs"/>
                        </a:rPr>
                        <a:t>AI objectherkenning</a:t>
                      </a:r>
                      <a:endParaRPr lang="nl-NL" sz="1000" b="0" i="0" u="none" strike="noStrike" kern="1200" dirty="0">
                        <a:solidFill>
                          <a:srgbClr val="000000"/>
                        </a:solidFill>
                        <a:effectLst/>
                        <a:latin typeface="+mn-lt"/>
                        <a:ea typeface="+mn-ea"/>
                        <a:cs typeface="+mn-cs"/>
                      </a:endParaRP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l" fontAlgn="b"/>
                      <a:r>
                        <a:rPr lang="nl-NL" sz="1000" b="0" i="0" u="none" strike="noStrike" dirty="0">
                          <a:solidFill>
                            <a:srgbClr val="000000"/>
                          </a:solidFill>
                          <a:effectLst/>
                          <a:latin typeface="+mj-lt"/>
                        </a:rPr>
                        <a:t>Artificial intelligence inzetten om blindegeleidelijnen, stoepjes en drempels in de stad in kaart te brengen.</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tc>
                  <a:txBody>
                    <a:bodyPr/>
                    <a:lstStyle/>
                    <a:p>
                      <a:pPr algn="l" fontAlgn="b"/>
                      <a:r>
                        <a:rPr lang="nl-NL" sz="1000" b="0" i="0" u="none" strike="noStrike" dirty="0">
                          <a:solidFill>
                            <a:srgbClr val="000000"/>
                          </a:solidFill>
                          <a:effectLst/>
                          <a:latin typeface="+mj-lt"/>
                        </a:rPr>
                        <a:t>Informatie  verzamelen</a:t>
                      </a:r>
                    </a:p>
                  </a:txBody>
                  <a:tcPr marL="36000" marR="36000" marT="36000" marB="36000" anchor="b">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extLst>
                  <a:ext uri="{0D108BD9-81ED-4DB2-BD59-A6C34878D82A}">
                    <a16:rowId xmlns:a16="http://schemas.microsoft.com/office/drawing/2014/main" val="545138841"/>
                  </a:ext>
                </a:extLst>
              </a:tr>
              <a:tr h="284998">
                <a:tc>
                  <a:txBody>
                    <a:bodyPr/>
                    <a:lstStyle/>
                    <a:p>
                      <a:pPr algn="l" fontAlgn="b"/>
                      <a:r>
                        <a:rPr lang="nl-NL" sz="1000" u="none" strike="noStrike" dirty="0">
                          <a:effectLst/>
                          <a:latin typeface="+mj-lt"/>
                        </a:rPr>
                        <a:t>Ontwerpchallenge</a:t>
                      </a:r>
                      <a:endParaRPr lang="nl-NL" sz="1000" b="0" i="0" u="none" strike="noStrike" dirty="0">
                        <a:solidFill>
                          <a:srgbClr val="000000"/>
                        </a:solidFill>
                        <a:effectLst/>
                        <a:latin typeface="+mj-lt"/>
                      </a:endParaRP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l" fontAlgn="b"/>
                      <a:r>
                        <a:rPr lang="nl-NL" sz="1000" b="0" i="0" u="none" strike="noStrike" dirty="0">
                          <a:solidFill>
                            <a:srgbClr val="000000"/>
                          </a:solidFill>
                          <a:effectLst/>
                          <a:latin typeface="+mj-lt"/>
                        </a:rPr>
                        <a:t>Organiseren van een ontwerpchallenge voor het verbeteren van de toegankelijkheid van de overstap van halte naar voertuigen.</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tc>
                  <a:txBody>
                    <a:bodyPr/>
                    <a:lstStyle/>
                    <a:p>
                      <a:pPr algn="l" fontAlgn="b"/>
                      <a:r>
                        <a:rPr lang="nl-NL" sz="1000" b="0" i="0" u="none" strike="noStrike" dirty="0">
                          <a:solidFill>
                            <a:srgbClr val="000000"/>
                          </a:solidFill>
                          <a:effectLst/>
                          <a:latin typeface="+mj-lt"/>
                        </a:rPr>
                        <a:t>Informatie verzamelen</a:t>
                      </a:r>
                    </a:p>
                  </a:txBody>
                  <a:tcPr marL="36000" marR="36000" marT="36000" marB="36000" anchor="b">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extLst>
                  <a:ext uri="{0D108BD9-81ED-4DB2-BD59-A6C34878D82A}">
                    <a16:rowId xmlns:a16="http://schemas.microsoft.com/office/drawing/2014/main" val="4209425550"/>
                  </a:ext>
                </a:extLst>
              </a:tr>
              <a:tr h="284998">
                <a:tc>
                  <a:txBody>
                    <a:bodyPr/>
                    <a:lstStyle/>
                    <a:p>
                      <a:pPr algn="l" fontAlgn="b"/>
                      <a:r>
                        <a:rPr lang="nl-NL" sz="1000" b="0" i="0" u="none" strike="noStrike" dirty="0">
                          <a:solidFill>
                            <a:srgbClr val="000000"/>
                          </a:solidFill>
                          <a:effectLst/>
                          <a:latin typeface="+mj-lt"/>
                        </a:rPr>
                        <a:t>GPS-tracking rolstoelen</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l" fontAlgn="b"/>
                      <a:r>
                        <a:rPr lang="nl-NL" sz="1000" b="0" i="0" u="none" strike="noStrike" dirty="0">
                          <a:solidFill>
                            <a:srgbClr val="000000"/>
                          </a:solidFill>
                          <a:effectLst/>
                          <a:latin typeface="+mj-lt"/>
                        </a:rPr>
                        <a:t>Inzetten van gps-tracking om de route van rolstoelgebruikers door de stad te volgen en om zo heatmaps van toegankelijke wegen te creëren.</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tc>
                  <a:txBody>
                    <a:bodyPr/>
                    <a:lstStyle/>
                    <a:p>
                      <a:pPr algn="l" fontAlgn="b"/>
                      <a:r>
                        <a:rPr lang="nl-NL" sz="1000" b="0" i="0" u="none" strike="noStrike" dirty="0">
                          <a:solidFill>
                            <a:srgbClr val="000000"/>
                          </a:solidFill>
                          <a:effectLst/>
                          <a:latin typeface="+mj-lt"/>
                        </a:rPr>
                        <a:t>Informatie verzamelen</a:t>
                      </a:r>
                    </a:p>
                  </a:txBody>
                  <a:tcPr marL="36000" marR="36000" marT="36000" marB="36000" anchor="b">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extLst>
                  <a:ext uri="{0D108BD9-81ED-4DB2-BD59-A6C34878D82A}">
                    <a16:rowId xmlns:a16="http://schemas.microsoft.com/office/drawing/2014/main" val="1133279243"/>
                  </a:ext>
                </a:extLst>
              </a:tr>
              <a:tr h="284998">
                <a:tc>
                  <a:txBody>
                    <a:bodyPr/>
                    <a:lstStyle/>
                    <a:p>
                      <a:pPr algn="l" fontAlgn="b"/>
                      <a:r>
                        <a:rPr lang="nl-NL" sz="1000" u="none" strike="noStrike" dirty="0">
                          <a:effectLst/>
                          <a:latin typeface="+mj-lt"/>
                        </a:rPr>
                        <a:t>Open toegankelijkheidsdatabase</a:t>
                      </a:r>
                      <a:endParaRPr lang="nl-NL" sz="1000" b="0" i="0" u="none" strike="noStrike" dirty="0">
                        <a:solidFill>
                          <a:srgbClr val="000000"/>
                        </a:solidFill>
                        <a:effectLst/>
                        <a:latin typeface="+mj-lt"/>
                      </a:endParaRP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l" fontAlgn="b"/>
                      <a:r>
                        <a:rPr lang="nl-NL" sz="1000" b="0" i="0" u="none" strike="noStrike" dirty="0">
                          <a:solidFill>
                            <a:srgbClr val="000000"/>
                          </a:solidFill>
                          <a:effectLst/>
                          <a:latin typeface="+mj-lt"/>
                        </a:rPr>
                        <a:t>Creëren van database met toegankelijkheidsinformatie over vervoer en openbare ruimte o.b.v. universele norm A11yJSON die door derden kan worden aangevuld en als basis dient voor applicaties voor beleidsmakers en gebruikers.</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tc>
                  <a:txBody>
                    <a:bodyPr/>
                    <a:lstStyle/>
                    <a:p>
                      <a:pPr algn="l" fontAlgn="b"/>
                      <a:r>
                        <a:rPr lang="nl-NL" sz="1000" b="0" i="0" u="none" strike="noStrike" dirty="0">
                          <a:solidFill>
                            <a:srgbClr val="000000"/>
                          </a:solidFill>
                          <a:effectLst/>
                          <a:latin typeface="+mj-lt"/>
                        </a:rPr>
                        <a:t>Informatievoorziening</a:t>
                      </a:r>
                    </a:p>
                  </a:txBody>
                  <a:tcPr marL="36000" marR="36000" marT="36000" marB="36000" anchor="b">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extLst>
                  <a:ext uri="{0D108BD9-81ED-4DB2-BD59-A6C34878D82A}">
                    <a16:rowId xmlns:a16="http://schemas.microsoft.com/office/drawing/2014/main" val="4167269099"/>
                  </a:ext>
                </a:extLst>
              </a:tr>
              <a:tr h="284998">
                <a:tc>
                  <a:txBody>
                    <a:bodyPr/>
                    <a:lstStyle/>
                    <a:p>
                      <a:pPr algn="l" fontAlgn="b"/>
                      <a:r>
                        <a:rPr lang="nl-NL" sz="1000" u="none" strike="noStrike" dirty="0">
                          <a:effectLst/>
                          <a:latin typeface="+mj-lt"/>
                        </a:rPr>
                        <a:t>App met toegankelijkheidsinformatie</a:t>
                      </a:r>
                      <a:endParaRPr lang="nl-NL" sz="1000" b="0" i="0" u="none" strike="noStrike" dirty="0">
                        <a:solidFill>
                          <a:srgbClr val="000000"/>
                        </a:solidFill>
                        <a:effectLst/>
                        <a:latin typeface="+mj-lt"/>
                      </a:endParaRP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l" fontAlgn="b"/>
                      <a:r>
                        <a:rPr lang="nl-NL" sz="1000" b="0" i="0" u="none" strike="noStrike" dirty="0">
                          <a:solidFill>
                            <a:srgbClr val="000000"/>
                          </a:solidFill>
                          <a:effectLst/>
                          <a:latin typeface="+mj-lt"/>
                        </a:rPr>
                        <a:t>Ontwikkelen van apps die (gepersonaliseerde) informatie verschaffen over haltes en voertuigen (of zelfs openbare ruimte) en waarop eventueel de route kan worden gepland voor verschillende vervoersmodaliteiten. Bijv. </a:t>
                      </a:r>
                      <a:r>
                        <a:rPr lang="nl-NL" sz="1000" b="1" i="0" u="none" strike="noStrike" dirty="0">
                          <a:solidFill>
                            <a:srgbClr val="22777B"/>
                          </a:solidFill>
                          <a:effectLst/>
                          <a:latin typeface="+mj-lt"/>
                          <a:hlinkClick r:id="rId6">
                            <a:extLst>
                              <a:ext uri="{A12FA001-AC4F-418D-AE19-62706E023703}">
                                <ahyp:hlinkClr xmlns:ahyp="http://schemas.microsoft.com/office/drawing/2018/hyperlinkcolor" val="tx"/>
                              </a:ext>
                            </a:extLst>
                          </a:hlinkClick>
                        </a:rPr>
                        <a:t>Haltebuddy</a:t>
                      </a:r>
                      <a:r>
                        <a:rPr lang="nl-NL" sz="1000" b="0" i="0" u="none" strike="noStrike" dirty="0">
                          <a:solidFill>
                            <a:srgbClr val="22777B"/>
                          </a:solidFill>
                          <a:effectLst/>
                          <a:latin typeface="+mj-lt"/>
                        </a:rPr>
                        <a:t> </a:t>
                      </a:r>
                      <a:r>
                        <a:rPr lang="nl-NL" sz="1000" b="0" i="0" u="none" strike="noStrike" dirty="0">
                          <a:solidFill>
                            <a:srgbClr val="000000"/>
                          </a:solidFill>
                          <a:effectLst/>
                          <a:latin typeface="+mj-lt"/>
                        </a:rPr>
                        <a:t>een prototype van gemeente Amsterdam, Vervoerregio Amsterdam en de GVB of de </a:t>
                      </a:r>
                      <a:r>
                        <a:rPr lang="nl-NL" sz="1000" b="1" i="0" u="none" strike="noStrike" dirty="0">
                          <a:solidFill>
                            <a:srgbClr val="22777B"/>
                          </a:solidFill>
                          <a:effectLst/>
                          <a:latin typeface="+mj-lt"/>
                          <a:hlinkClick r:id="rId7">
                            <a:extLst>
                              <a:ext uri="{A12FA001-AC4F-418D-AE19-62706E023703}">
                                <ahyp:hlinkClr xmlns:ahyp="http://schemas.microsoft.com/office/drawing/2018/hyperlinkcolor" val="tx"/>
                              </a:ext>
                            </a:extLst>
                          </a:hlinkClick>
                        </a:rPr>
                        <a:t>Wayfinding app </a:t>
                      </a:r>
                      <a:r>
                        <a:rPr lang="nl-NL" sz="1000" b="0" i="0" u="none" strike="noStrike" dirty="0">
                          <a:solidFill>
                            <a:srgbClr val="000000"/>
                          </a:solidFill>
                          <a:effectLst/>
                          <a:latin typeface="+mj-lt"/>
                        </a:rPr>
                        <a:t>voor slechtzienden van de HvA. </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tc>
                  <a:txBody>
                    <a:bodyPr/>
                    <a:lstStyle/>
                    <a:p>
                      <a:pPr algn="l" fontAlgn="b"/>
                      <a:r>
                        <a:rPr lang="nl-NL" sz="1000" b="0" i="0" u="none" strike="noStrike" dirty="0">
                          <a:solidFill>
                            <a:srgbClr val="000000"/>
                          </a:solidFill>
                          <a:effectLst/>
                          <a:latin typeface="+mj-lt"/>
                        </a:rPr>
                        <a:t>Informatievoorziening</a:t>
                      </a:r>
                    </a:p>
                  </a:txBody>
                  <a:tcPr marL="36000" marR="36000" marT="36000" marB="36000" anchor="b">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extLst>
                  <a:ext uri="{0D108BD9-81ED-4DB2-BD59-A6C34878D82A}">
                    <a16:rowId xmlns:a16="http://schemas.microsoft.com/office/drawing/2014/main" val="4008966479"/>
                  </a:ext>
                </a:extLst>
              </a:tr>
              <a:tr h="284998">
                <a:tc>
                  <a:txBody>
                    <a:bodyPr/>
                    <a:lstStyle/>
                    <a:p>
                      <a:pPr algn="l" fontAlgn="b"/>
                      <a:r>
                        <a:rPr lang="nl-NL" sz="1000" b="0" i="0" u="none" strike="noStrike" dirty="0">
                          <a:solidFill>
                            <a:srgbClr val="000000"/>
                          </a:solidFill>
                          <a:effectLst/>
                          <a:latin typeface="+mj-lt"/>
                        </a:rPr>
                        <a:t>App met reisassisstentie</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l" fontAlgn="b"/>
                      <a:r>
                        <a:rPr lang="nl-NL" sz="1000" b="0" i="0" u="none" strike="noStrike" dirty="0">
                          <a:solidFill>
                            <a:srgbClr val="000000"/>
                          </a:solidFill>
                          <a:effectLst/>
                          <a:latin typeface="+mj-lt"/>
                        </a:rPr>
                        <a:t>Beschikbaar maken van een app die mensen met een mobiliteitsbeperking tijdens de reis kan begeleiden. </a:t>
                      </a:r>
                      <a:r>
                        <a:rPr lang="nl-NL" sz="1000" b="1" i="0" u="none" strike="noStrike" dirty="0">
                          <a:solidFill>
                            <a:srgbClr val="22777B"/>
                          </a:solidFill>
                          <a:effectLst/>
                          <a:latin typeface="+mj-lt"/>
                          <a:hlinkClick r:id="rId8">
                            <a:extLst>
                              <a:ext uri="{A12FA001-AC4F-418D-AE19-62706E023703}">
                                <ahyp:hlinkClr xmlns:ahyp="http://schemas.microsoft.com/office/drawing/2018/hyperlinkcolor" val="tx"/>
                              </a:ext>
                            </a:extLst>
                          </a:hlinkClick>
                        </a:rPr>
                        <a:t>De GoOV-app </a:t>
                      </a:r>
                      <a:r>
                        <a:rPr lang="nl-NL" sz="1000" b="0" i="0" u="none" strike="noStrike" dirty="0">
                          <a:solidFill>
                            <a:srgbClr val="000000"/>
                          </a:solidFill>
                          <a:effectLst/>
                          <a:latin typeface="+mj-lt"/>
                        </a:rPr>
                        <a:t>biedt reizigers de mogelijkheid om met een hulplijn te bellen en begeleiders om ‘mee te kijken’ tijdens de rit. </a:t>
                      </a:r>
                      <a:r>
                        <a:rPr lang="nl-NL" sz="1000" b="1" i="0" u="none" strike="noStrike" dirty="0">
                          <a:solidFill>
                            <a:srgbClr val="22777B"/>
                          </a:solidFill>
                          <a:effectLst/>
                          <a:latin typeface="+mj-lt"/>
                          <a:hlinkClick r:id="rId9">
                            <a:extLst>
                              <a:ext uri="{A12FA001-AC4F-418D-AE19-62706E023703}">
                                <ahyp:hlinkClr xmlns:ahyp="http://schemas.microsoft.com/office/drawing/2018/hyperlinkcolor" val="tx"/>
                              </a:ext>
                            </a:extLst>
                          </a:hlinkClick>
                        </a:rPr>
                        <a:t>Buzz Buddy </a:t>
                      </a:r>
                      <a:r>
                        <a:rPr lang="nl-NL" sz="1000" b="0" i="0" u="none" strike="noStrike" dirty="0">
                          <a:solidFill>
                            <a:srgbClr val="000000"/>
                          </a:solidFill>
                          <a:effectLst/>
                          <a:latin typeface="+mj-lt"/>
                        </a:rPr>
                        <a:t>heeft dezelfde mogelijkheden maar is een gps-apparaatje voor mensen die geen smartphone kunnen bedienen.</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tc>
                  <a:txBody>
                    <a:bodyPr/>
                    <a:lstStyle/>
                    <a:p>
                      <a:pPr algn="l" fontAlgn="b"/>
                      <a:r>
                        <a:rPr lang="nl-NL" sz="1000" b="0" i="0" u="none" strike="noStrike" dirty="0">
                          <a:solidFill>
                            <a:srgbClr val="000000"/>
                          </a:solidFill>
                          <a:effectLst/>
                          <a:latin typeface="+mj-lt"/>
                        </a:rPr>
                        <a:t>Begeleiding</a:t>
                      </a:r>
                    </a:p>
                  </a:txBody>
                  <a:tcPr marL="36000" marR="36000" marT="36000" marB="36000" anchor="b">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extLst>
                  <a:ext uri="{0D108BD9-81ED-4DB2-BD59-A6C34878D82A}">
                    <a16:rowId xmlns:a16="http://schemas.microsoft.com/office/drawing/2014/main" val="3943511340"/>
                  </a:ext>
                </a:extLst>
              </a:tr>
              <a:tr h="284998">
                <a:tc>
                  <a:txBody>
                    <a:bodyPr/>
                    <a:lstStyle/>
                    <a:p>
                      <a:pPr algn="l" fontAlgn="b"/>
                      <a:r>
                        <a:rPr lang="nl-NL" sz="1000" u="none" strike="noStrike" dirty="0">
                          <a:effectLst/>
                          <a:latin typeface="+mj-lt"/>
                        </a:rPr>
                        <a:t>Reisassistentie door personeel</a:t>
                      </a:r>
                      <a:endParaRPr lang="nl-NL" sz="1000" b="0" i="0" u="none" strike="noStrike" dirty="0">
                        <a:solidFill>
                          <a:srgbClr val="000000"/>
                        </a:solidFill>
                        <a:effectLst/>
                        <a:latin typeface="+mj-lt"/>
                      </a:endParaRP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l" fontAlgn="b"/>
                      <a:r>
                        <a:rPr lang="nl-NL" sz="1000" b="0" i="0" u="none" strike="noStrike" dirty="0">
                          <a:solidFill>
                            <a:srgbClr val="000000"/>
                          </a:solidFill>
                          <a:effectLst/>
                          <a:latin typeface="+mj-lt"/>
                        </a:rPr>
                        <a:t>Uitbreiden van reisassistentie voor alle openbare vervoersvormen. Op NS-stations is er bijvoorbeeld al personeel aanwezig om te helpen bij in- of uitstappen.</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tc>
                  <a:txBody>
                    <a:bodyPr/>
                    <a:lstStyle/>
                    <a:p>
                      <a:pPr algn="l" fontAlgn="b"/>
                      <a:r>
                        <a:rPr lang="nl-NL" sz="1000" b="0" i="0" u="none" strike="noStrike" dirty="0">
                          <a:solidFill>
                            <a:srgbClr val="000000"/>
                          </a:solidFill>
                          <a:effectLst/>
                          <a:latin typeface="+mj-lt"/>
                        </a:rPr>
                        <a:t>Begeleiding</a:t>
                      </a:r>
                    </a:p>
                  </a:txBody>
                  <a:tcPr marL="36000" marR="36000" marT="36000" marB="36000" anchor="b">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extLst>
                  <a:ext uri="{0D108BD9-81ED-4DB2-BD59-A6C34878D82A}">
                    <a16:rowId xmlns:a16="http://schemas.microsoft.com/office/drawing/2014/main" val="3589526218"/>
                  </a:ext>
                </a:extLst>
              </a:tr>
              <a:tr h="284998">
                <a:tc>
                  <a:txBody>
                    <a:bodyPr/>
                    <a:lstStyle/>
                    <a:p>
                      <a:pPr algn="l" fontAlgn="b"/>
                      <a:r>
                        <a:rPr lang="nl-NL" sz="1000" b="0" i="0" u="none" strike="noStrike" dirty="0">
                          <a:solidFill>
                            <a:srgbClr val="000000"/>
                          </a:solidFill>
                          <a:effectLst/>
                          <a:latin typeface="+mj-lt"/>
                        </a:rPr>
                        <a:t>Reisassistentie door vrijwilligers</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DBDBDB"/>
                    </a:solidFill>
                  </a:tcPr>
                </a:tc>
                <a:tc>
                  <a:txBody>
                    <a:bodyPr/>
                    <a:lstStyle/>
                    <a:p>
                      <a:pPr algn="l" fontAlgn="b"/>
                      <a:r>
                        <a:rPr lang="nl-NL" sz="1000" b="0" i="0" u="none" strike="noStrike" dirty="0">
                          <a:solidFill>
                            <a:srgbClr val="000000"/>
                          </a:solidFill>
                          <a:effectLst/>
                          <a:latin typeface="+mj-lt"/>
                        </a:rPr>
                        <a:t>Inzetten van poule van vrijwilligers die met kwetsbare reizigers samen reizen. Zie bijvoorbeeld de Duitse app </a:t>
                      </a:r>
                      <a:r>
                        <a:rPr lang="nl-NL" sz="1000" b="1" i="0" u="none" strike="noStrike" dirty="0">
                          <a:solidFill>
                            <a:srgbClr val="22777B"/>
                          </a:solidFill>
                          <a:effectLst/>
                          <a:latin typeface="+mj-lt"/>
                          <a:hlinkClick r:id="rId10">
                            <a:extLst>
                              <a:ext uri="{A12FA001-AC4F-418D-AE19-62706E023703}">
                                <ahyp:hlinkClr xmlns:ahyp="http://schemas.microsoft.com/office/drawing/2018/hyperlinkcolor" val="tx"/>
                              </a:ext>
                            </a:extLst>
                          </a:hlinkClick>
                        </a:rPr>
                        <a:t>MobiMate</a:t>
                      </a:r>
                      <a:r>
                        <a:rPr lang="nl-NL" sz="1000" b="1" i="0" u="none" strike="noStrike" dirty="0">
                          <a:solidFill>
                            <a:srgbClr val="22777B"/>
                          </a:solidFill>
                          <a:effectLst/>
                          <a:latin typeface="+mj-lt"/>
                        </a:rPr>
                        <a:t> </a:t>
                      </a:r>
                      <a:r>
                        <a:rPr lang="nl-NL" sz="1000" b="0" i="0" u="none" strike="noStrike" dirty="0">
                          <a:solidFill>
                            <a:srgbClr val="000000"/>
                          </a:solidFill>
                          <a:effectLst/>
                          <a:latin typeface="+mj-lt"/>
                        </a:rPr>
                        <a:t>die reizigers die hulp nodig hebben matcht met reizigers op dezelfde route. In project </a:t>
                      </a:r>
                      <a:r>
                        <a:rPr lang="nl-NL" sz="1000" b="1" i="0" u="none" strike="noStrike" dirty="0">
                          <a:solidFill>
                            <a:srgbClr val="22777B"/>
                          </a:solidFill>
                          <a:effectLst/>
                          <a:latin typeface="+mj-lt"/>
                          <a:hlinkClick r:id="rId11">
                            <a:extLst>
                              <a:ext uri="{A12FA001-AC4F-418D-AE19-62706E023703}">
                                <ahyp:hlinkClr xmlns:ahyp="http://schemas.microsoft.com/office/drawing/2018/hyperlinkcolor" val="tx"/>
                              </a:ext>
                            </a:extLst>
                          </a:hlinkClick>
                        </a:rPr>
                        <a:t>Eigenwijs op reis </a:t>
                      </a:r>
                      <a:r>
                        <a:rPr lang="nl-NL" sz="1000" b="0" i="0" u="none" strike="noStrike" dirty="0">
                          <a:solidFill>
                            <a:srgbClr val="000000"/>
                          </a:solidFill>
                          <a:effectLst/>
                          <a:latin typeface="+mj-lt"/>
                        </a:rPr>
                        <a:t>van Handjehelpen trainen vrijwilligers kinderen in het speciaal onderwijs in Utrecht om zelfstandig naar school te reizen.</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tc>
                  <a:txBody>
                    <a:bodyPr/>
                    <a:lstStyle/>
                    <a:p>
                      <a:pPr algn="l" fontAlgn="b"/>
                      <a:r>
                        <a:rPr lang="nl-NL" sz="1000" b="0" i="0" u="none" strike="noStrike" dirty="0">
                          <a:solidFill>
                            <a:srgbClr val="000000"/>
                          </a:solidFill>
                          <a:effectLst/>
                          <a:latin typeface="+mj-lt"/>
                        </a:rPr>
                        <a:t>Begeleiding </a:t>
                      </a:r>
                    </a:p>
                  </a:txBody>
                  <a:tcPr marL="36000" marR="36000" marT="36000" marB="36000" anchor="b">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extLst>
                  <a:ext uri="{0D108BD9-81ED-4DB2-BD59-A6C34878D82A}">
                    <a16:rowId xmlns:a16="http://schemas.microsoft.com/office/drawing/2014/main" val="2253083047"/>
                  </a:ext>
                </a:extLst>
              </a:tr>
            </a:tbl>
          </a:graphicData>
        </a:graphic>
      </p:graphicFrame>
      <p:sp>
        <p:nvSpPr>
          <p:cNvPr id="13" name="Text Placeholder 8">
            <a:extLst>
              <a:ext uri="{FF2B5EF4-FFF2-40B4-BE49-F238E27FC236}">
                <a16:creationId xmlns:a16="http://schemas.microsoft.com/office/drawing/2014/main" id="{20D11E40-BFF4-4FA6-8258-995EFFD7E870}"/>
              </a:ext>
            </a:extLst>
          </p:cNvPr>
          <p:cNvSpPr txBox="1">
            <a:spLocks/>
          </p:cNvSpPr>
          <p:nvPr/>
        </p:nvSpPr>
        <p:spPr>
          <a:xfrm>
            <a:off x="662780" y="1203211"/>
            <a:ext cx="10866440" cy="388800"/>
          </a:xfrm>
          <a:prstGeom prst="rect">
            <a:avLst/>
          </a:prstGeom>
          <a:noFill/>
          <a:ln>
            <a:noFill/>
          </a:ln>
        </p:spPr>
        <p:txBody>
          <a:bodyPr spcFirstLastPara="1" vert="horz" wrap="square" lIns="7200" tIns="0" rIns="0" bIns="0" rtlCol="0" anchor="t" anchorCtr="0">
            <a:noAutofit/>
          </a:bodyPr>
          <a:lstStyle>
            <a:lvl1pPr marL="457200" lvl="0" indent="-228600" algn="l" defTabSz="685800" rtl="0" eaLnBrk="1" latinLnBrk="0" hangingPunct="1">
              <a:lnSpc>
                <a:spcPct val="90000"/>
              </a:lnSpc>
              <a:spcBef>
                <a:spcPts val="0"/>
              </a:spcBef>
              <a:spcAft>
                <a:spcPts val="0"/>
              </a:spcAft>
              <a:buClr>
                <a:schemeClr val="dk2"/>
              </a:buClr>
              <a:buSzPts val="1400"/>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914400" lvl="1" indent="-342900" algn="l" defTabSz="685800" rtl="0" eaLnBrk="1" latinLnBrk="0" hangingPunct="1">
              <a:lnSpc>
                <a:spcPct val="90000"/>
              </a:lnSpc>
              <a:spcBef>
                <a:spcPts val="375"/>
              </a:spcBef>
              <a:spcAft>
                <a:spcPts val="0"/>
              </a:spcAft>
              <a:buClr>
                <a:schemeClr val="dk2"/>
              </a:buClr>
              <a:buSzPts val="1800"/>
              <a:buFontTx/>
              <a:buChar char="-"/>
              <a:defRPr sz="1400" kern="1200">
                <a:solidFill>
                  <a:srgbClr val="000000"/>
                </a:solidFill>
                <a:latin typeface="Corbel" panose="020B0503020204020204" pitchFamily="34" charset="0"/>
                <a:ea typeface="+mn-ea"/>
                <a:cs typeface="+mn-cs"/>
              </a:defRPr>
            </a:lvl2pPr>
            <a:lvl3pPr marL="1371600" lvl="2" indent="-342900" algn="l" defTabSz="685800" rtl="0" eaLnBrk="1" latinLnBrk="0" hangingPunct="1">
              <a:lnSpc>
                <a:spcPct val="90000"/>
              </a:lnSpc>
              <a:spcBef>
                <a:spcPts val="375"/>
              </a:spcBef>
              <a:spcAft>
                <a:spcPts val="0"/>
              </a:spcAft>
              <a:buClr>
                <a:schemeClr val="dk2"/>
              </a:buClr>
              <a:buSzPts val="1800"/>
              <a:buFontTx/>
              <a:buChar char="-"/>
              <a:defRPr sz="1400" kern="1200">
                <a:solidFill>
                  <a:srgbClr val="000000"/>
                </a:solidFill>
                <a:latin typeface="Corbel" panose="020B0503020204020204" pitchFamily="34" charset="0"/>
                <a:ea typeface="+mn-ea"/>
                <a:cs typeface="+mn-cs"/>
              </a:defRPr>
            </a:lvl3pPr>
            <a:lvl4pPr marL="1828800" lvl="3" indent="-342900" algn="l" defTabSz="685800" rtl="0" eaLnBrk="1" latinLnBrk="0" hangingPunct="1">
              <a:lnSpc>
                <a:spcPct val="90000"/>
              </a:lnSpc>
              <a:spcBef>
                <a:spcPts val="375"/>
              </a:spcBef>
              <a:spcAft>
                <a:spcPts val="0"/>
              </a:spcAft>
              <a:buClr>
                <a:schemeClr val="dk2"/>
              </a:buClr>
              <a:buSzPts val="1800"/>
              <a:buFontTx/>
              <a:buChar char="-"/>
              <a:defRPr sz="1400" kern="1200">
                <a:solidFill>
                  <a:srgbClr val="000000"/>
                </a:solidFill>
                <a:latin typeface="Corbel" panose="020B0503020204020204" pitchFamily="34" charset="0"/>
                <a:ea typeface="+mn-ea"/>
                <a:cs typeface="+mn-cs"/>
              </a:defRPr>
            </a:lvl4pPr>
            <a:lvl5pPr marL="2286000" lvl="4" indent="-342900" algn="l" rtl="0" eaLnBrk="1" fontAlgn="base" hangingPunct="1">
              <a:spcBef>
                <a:spcPts val="0"/>
              </a:spcBef>
              <a:spcAft>
                <a:spcPts val="0"/>
              </a:spcAft>
              <a:buClr>
                <a:schemeClr val="tx2"/>
              </a:buClr>
              <a:buSzPts val="1800"/>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743200" lvl="5" indent="-228600" algn="l" defTabSz="914400" rtl="0" eaLnBrk="1" latinLnBrk="0" hangingPunct="1">
              <a:spcBef>
                <a:spcPts val="0"/>
              </a:spcBef>
              <a:spcAft>
                <a:spcPts val="0"/>
              </a:spcAft>
              <a:buSzPts val="1400"/>
              <a:buNone/>
              <a:defRPr kern="1200">
                <a:solidFill>
                  <a:schemeClr val="tx1"/>
                </a:solidFill>
                <a:latin typeface="Corbel" panose="020B0604020202020204" pitchFamily="34" charset="0"/>
                <a:ea typeface="+mn-ea"/>
                <a:cs typeface="Corbel" panose="020B0604020202020204" pitchFamily="34" charset="0"/>
              </a:defRPr>
            </a:lvl6pPr>
            <a:lvl7pPr marL="3200400" lvl="6" indent="-228600" algn="l" defTabSz="914400" rtl="0" eaLnBrk="1" latinLnBrk="0" hangingPunct="1">
              <a:spcBef>
                <a:spcPts val="0"/>
              </a:spcBef>
              <a:spcAft>
                <a:spcPts val="0"/>
              </a:spcAft>
              <a:buSzPts val="1400"/>
              <a:buNone/>
              <a:defRPr kern="1200">
                <a:solidFill>
                  <a:schemeClr val="tx1"/>
                </a:solidFill>
                <a:latin typeface="Corbel" panose="020B0604020202020204" pitchFamily="34" charset="0"/>
                <a:ea typeface="+mn-ea"/>
                <a:cs typeface="Corbel" panose="020B0604020202020204" pitchFamily="34" charset="0"/>
              </a:defRPr>
            </a:lvl7pPr>
            <a:lvl8pPr marL="3657600" lvl="7" indent="-228600" algn="l" defTabSz="914400" rtl="0" eaLnBrk="1" latinLnBrk="0" hangingPunct="1">
              <a:spcBef>
                <a:spcPts val="0"/>
              </a:spcBef>
              <a:spcAft>
                <a:spcPts val="0"/>
              </a:spcAft>
              <a:buSzPts val="1400"/>
              <a:buNone/>
              <a:defRPr kern="1200">
                <a:solidFill>
                  <a:schemeClr val="tx1"/>
                </a:solidFill>
                <a:latin typeface="Corbel" panose="020B0604020202020204" pitchFamily="34" charset="0"/>
                <a:ea typeface="+mn-ea"/>
                <a:cs typeface="Corbel" panose="020B0604020202020204" pitchFamily="34" charset="0"/>
              </a:defRPr>
            </a:lvl8pPr>
            <a:lvl9pPr marL="4114800" lvl="8" indent="-228600" algn="l" defTabSz="914400" rtl="0" eaLnBrk="1" latinLnBrk="0" hangingPunct="1">
              <a:spcBef>
                <a:spcPts val="0"/>
              </a:spcBef>
              <a:spcAft>
                <a:spcPts val="0"/>
              </a:spcAft>
              <a:buSzPts val="1400"/>
              <a:buNone/>
              <a:defRPr kern="1200">
                <a:solidFill>
                  <a:schemeClr val="tx1"/>
                </a:solidFill>
                <a:latin typeface="Corbel" panose="020B0604020202020204" pitchFamily="34" charset="0"/>
                <a:ea typeface="+mn-ea"/>
                <a:cs typeface="Corbel" panose="020B0604020202020204" pitchFamily="34" charset="0"/>
              </a:defRPr>
            </a:lvl9pPr>
          </a:lstStyle>
          <a:p>
            <a:pPr marL="0" indent="0"/>
            <a:r>
              <a:rPr lang="nl-NL"/>
              <a:t>Initiatieven en maatregelen om nieuw reisgedrag te stimuleren en OV toegankelijker te maken</a:t>
            </a:r>
            <a:endParaRPr lang="nl-NL" dirty="0"/>
          </a:p>
        </p:txBody>
      </p:sp>
      <p:sp>
        <p:nvSpPr>
          <p:cNvPr id="14" name="Footer Placeholder 6">
            <a:extLst>
              <a:ext uri="{FF2B5EF4-FFF2-40B4-BE49-F238E27FC236}">
                <a16:creationId xmlns:a16="http://schemas.microsoft.com/office/drawing/2014/main" id="{0DFBFA81-CA6C-442D-A31F-14B574444033}"/>
              </a:ext>
            </a:extLst>
          </p:cNvPr>
          <p:cNvSpPr>
            <a:spLocks noGrp="1"/>
          </p:cNvSpPr>
          <p:nvPr>
            <p:ph type="ftr" idx="11"/>
          </p:nvPr>
        </p:nvSpPr>
        <p:spPr>
          <a:xfrm>
            <a:off x="661800" y="6624637"/>
            <a:ext cx="10868400" cy="122400"/>
          </a:xfrm>
        </p:spPr>
        <p:txBody>
          <a:bodyPr/>
          <a:lstStyle/>
          <a:p>
            <a:r>
              <a:rPr lang="nl-NL" sz="800" dirty="0">
                <a:solidFill>
                  <a:srgbClr val="000000"/>
                </a:solidFill>
                <a:latin typeface="Corbel"/>
                <a:ea typeface="Corbel"/>
                <a:cs typeface="Corbel"/>
                <a:sym typeface="Corbel"/>
              </a:rPr>
              <a:t>Bron: KpVV CROW, ‘Inclusieve Mobiliteit: Praktijkvoorbeelden’ (juni 2020); verschillende websites van vervoerders en vrijwilligersorganisaties</a:t>
            </a:r>
          </a:p>
        </p:txBody>
      </p:sp>
    </p:spTree>
    <p:extLst>
      <p:ext uri="{BB962C8B-B14F-4D97-AF65-F5344CB8AC3E}">
        <p14:creationId xmlns:p14="http://schemas.microsoft.com/office/powerpoint/2010/main" val="14333357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BF57E5D-3F5C-40F9-BF90-CC6B7800C2A5}"/>
              </a:ext>
            </a:extLst>
          </p:cNvPr>
          <p:cNvGraphicFramePr>
            <a:graphicFrameLocks noChangeAspect="1"/>
          </p:cNvGraphicFramePr>
          <p:nvPr>
            <p:custDataLst>
              <p:tags r:id="rId2"/>
            </p:custDataLst>
            <p:extLst>
              <p:ext uri="{D42A27DB-BD31-4B8C-83A1-F6EECF244321}">
                <p14:modId xmlns:p14="http://schemas.microsoft.com/office/powerpoint/2010/main" val="2276772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0" name="think-cell Slide" r:id="rId4" imgW="425" imgH="424" progId="TCLayout.ActiveDocument.1">
                  <p:embed/>
                </p:oleObj>
              </mc:Choice>
              <mc:Fallback>
                <p:oleObj name="think-cell Slide" r:id="rId4" imgW="425" imgH="424" progId="TCLayout.ActiveDocument.1">
                  <p:embed/>
                  <p:pic>
                    <p:nvPicPr>
                      <p:cNvPr id="11" name="Object 10" hidden="1">
                        <a:extLst>
                          <a:ext uri="{FF2B5EF4-FFF2-40B4-BE49-F238E27FC236}">
                            <a16:creationId xmlns:a16="http://schemas.microsoft.com/office/drawing/2014/main" id="{EBF57E5D-3F5C-40F9-BF90-CC6B7800C2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Slide Number Placeholder 7">
            <a:extLst>
              <a:ext uri="{FF2B5EF4-FFF2-40B4-BE49-F238E27FC236}">
                <a16:creationId xmlns:a16="http://schemas.microsoft.com/office/drawing/2014/main" id="{ECD18CB8-6D95-4991-B1AF-F527D326B27B}"/>
              </a:ext>
            </a:extLst>
          </p:cNvPr>
          <p:cNvSpPr>
            <a:spLocks noGrp="1"/>
          </p:cNvSpPr>
          <p:nvPr>
            <p:ph type="sldNum" idx="12"/>
          </p:nvPr>
        </p:nvSpPr>
        <p:spPr/>
        <p:txBody>
          <a:bodyPr/>
          <a:lstStyle/>
          <a:p>
            <a:fld id="{00000000-1234-1234-1234-123412341234}" type="slidenum">
              <a:rPr lang="nl-NL" smtClean="0"/>
              <a:pPr/>
              <a:t>36</a:t>
            </a:fld>
            <a:endParaRPr lang="nl-NL" dirty="0"/>
          </a:p>
        </p:txBody>
      </p:sp>
      <p:sp>
        <p:nvSpPr>
          <p:cNvPr id="9" name="Text Placeholder 8">
            <a:extLst>
              <a:ext uri="{FF2B5EF4-FFF2-40B4-BE49-F238E27FC236}">
                <a16:creationId xmlns:a16="http://schemas.microsoft.com/office/drawing/2014/main" id="{4CB7E37A-ABE4-4F9D-BCEB-C2B84478EA8F}"/>
              </a:ext>
            </a:extLst>
          </p:cNvPr>
          <p:cNvSpPr>
            <a:spLocks noGrp="1"/>
          </p:cNvSpPr>
          <p:nvPr>
            <p:ph type="body" idx="6"/>
          </p:nvPr>
        </p:nvSpPr>
        <p:spPr/>
        <p:txBody>
          <a:bodyPr/>
          <a:lstStyle/>
          <a:p>
            <a:pPr marL="0" indent="0"/>
            <a:r>
              <a:rPr lang="nl-NL" dirty="0"/>
              <a:t>Initiatieven en maatregelen om nieuw reisgedrag te stimuleren en OV toegankelijker te maken</a:t>
            </a:r>
          </a:p>
        </p:txBody>
      </p:sp>
      <p:sp>
        <p:nvSpPr>
          <p:cNvPr id="10" name="Title 9">
            <a:extLst>
              <a:ext uri="{FF2B5EF4-FFF2-40B4-BE49-F238E27FC236}">
                <a16:creationId xmlns:a16="http://schemas.microsoft.com/office/drawing/2014/main" id="{EB5CF384-C733-4321-847A-130839E7D05E}"/>
              </a:ext>
            </a:extLst>
          </p:cNvPr>
          <p:cNvSpPr>
            <a:spLocks noGrp="1"/>
          </p:cNvSpPr>
          <p:nvPr>
            <p:ph type="title"/>
          </p:nvPr>
        </p:nvSpPr>
        <p:spPr/>
        <p:txBody>
          <a:bodyPr vert="horz"/>
          <a:lstStyle/>
          <a:p>
            <a:r>
              <a:rPr lang="nl-NL" dirty="0"/>
              <a:t>Er zijn diverse initiatieven om OV-gebruik te stimuleren onder kwetsbare doelgroepen (2/2)</a:t>
            </a:r>
          </a:p>
        </p:txBody>
      </p:sp>
      <p:graphicFrame>
        <p:nvGraphicFramePr>
          <p:cNvPr id="16" name="Table 15">
            <a:extLst>
              <a:ext uri="{FF2B5EF4-FFF2-40B4-BE49-F238E27FC236}">
                <a16:creationId xmlns:a16="http://schemas.microsoft.com/office/drawing/2014/main" id="{BDF0B0C1-31F2-44E9-8E60-29162D618CF6}"/>
              </a:ext>
            </a:extLst>
          </p:cNvPr>
          <p:cNvGraphicFramePr>
            <a:graphicFrameLocks noGrp="1"/>
          </p:cNvGraphicFramePr>
          <p:nvPr>
            <p:extLst>
              <p:ext uri="{D42A27DB-BD31-4B8C-83A1-F6EECF244321}">
                <p14:modId xmlns:p14="http://schemas.microsoft.com/office/powerpoint/2010/main" val="3302908412"/>
              </p:ext>
            </p:extLst>
          </p:nvPr>
        </p:nvGraphicFramePr>
        <p:xfrm>
          <a:off x="658813" y="1636346"/>
          <a:ext cx="10870407" cy="4193996"/>
        </p:xfrm>
        <a:graphic>
          <a:graphicData uri="http://schemas.openxmlformats.org/drawingml/2006/table">
            <a:tbl>
              <a:tblPr>
                <a:tableStyleId>{073A0DAA-6AF3-43AB-8588-CEC1D06C72B9}</a:tableStyleId>
              </a:tblPr>
              <a:tblGrid>
                <a:gridCol w="2603862">
                  <a:extLst>
                    <a:ext uri="{9D8B030D-6E8A-4147-A177-3AD203B41FA5}">
                      <a16:colId xmlns:a16="http://schemas.microsoft.com/office/drawing/2014/main" val="555127900"/>
                    </a:ext>
                  </a:extLst>
                </a:gridCol>
                <a:gridCol w="6621554">
                  <a:extLst>
                    <a:ext uri="{9D8B030D-6E8A-4147-A177-3AD203B41FA5}">
                      <a16:colId xmlns:a16="http://schemas.microsoft.com/office/drawing/2014/main" val="898196788"/>
                    </a:ext>
                  </a:extLst>
                </a:gridCol>
                <a:gridCol w="1644991">
                  <a:extLst>
                    <a:ext uri="{9D8B030D-6E8A-4147-A177-3AD203B41FA5}">
                      <a16:colId xmlns:a16="http://schemas.microsoft.com/office/drawing/2014/main" val="2589180261"/>
                    </a:ext>
                  </a:extLst>
                </a:gridCol>
              </a:tblGrid>
              <a:tr h="284998">
                <a:tc>
                  <a:txBody>
                    <a:bodyPr/>
                    <a:lstStyle/>
                    <a:p>
                      <a:pPr algn="ctr" fontAlgn="b"/>
                      <a:r>
                        <a:rPr lang="nl-NL" sz="1000" b="1" i="0" u="none" strike="noStrike" dirty="0">
                          <a:solidFill>
                            <a:srgbClr val="FFFFFF"/>
                          </a:solidFill>
                          <a:effectLst/>
                          <a:latin typeface="+mj-lt"/>
                        </a:rPr>
                        <a:t>Titel van intiatief</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tc>
                  <a:txBody>
                    <a:bodyPr/>
                    <a:lstStyle/>
                    <a:p>
                      <a:pPr algn="ctr" fontAlgn="b"/>
                      <a:r>
                        <a:rPr lang="nl-NL" sz="1000" b="1" i="0" u="none" strike="noStrike" dirty="0">
                          <a:solidFill>
                            <a:srgbClr val="FFFFFF"/>
                          </a:solidFill>
                          <a:effectLst/>
                          <a:latin typeface="+mj-lt"/>
                        </a:rPr>
                        <a:t>Omschrijving</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tc>
                  <a:txBody>
                    <a:bodyPr/>
                    <a:lstStyle/>
                    <a:p>
                      <a:pPr algn="ctr" fontAlgn="b"/>
                      <a:r>
                        <a:rPr lang="nl-NL" sz="1000" b="1" i="0" u="none" strike="noStrike" dirty="0">
                          <a:solidFill>
                            <a:srgbClr val="FFFFFF"/>
                          </a:solidFill>
                          <a:effectLst/>
                          <a:latin typeface="+mj-lt"/>
                        </a:rPr>
                        <a:t>Categorie</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extLst>
                  <a:ext uri="{0D108BD9-81ED-4DB2-BD59-A6C34878D82A}">
                    <a16:rowId xmlns:a16="http://schemas.microsoft.com/office/drawing/2014/main" val="1244285712"/>
                  </a:ext>
                </a:extLst>
              </a:tr>
              <a:tr h="284998">
                <a:tc>
                  <a:txBody>
                    <a:bodyPr/>
                    <a:lstStyle/>
                    <a:p>
                      <a:pPr algn="l" fontAlgn="b"/>
                      <a:r>
                        <a:rPr lang="nl-NL" sz="1000" b="0" i="0" u="none" strike="noStrike" dirty="0">
                          <a:solidFill>
                            <a:srgbClr val="000000"/>
                          </a:solidFill>
                          <a:effectLst/>
                          <a:latin typeface="+mj-lt"/>
                        </a:rPr>
                        <a:t>Begeleiderskaart</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l" fontAlgn="b"/>
                      <a:r>
                        <a:rPr lang="nl-NL" sz="1000" b="0" i="0" u="none" strike="noStrike" dirty="0">
                          <a:solidFill>
                            <a:srgbClr val="000000"/>
                          </a:solidFill>
                          <a:effectLst/>
                          <a:latin typeface="+mj-lt"/>
                        </a:rPr>
                        <a:t>Een begeleiderskaart verschaffen voor mensen met een mobiliteitsbeperking zodat zij gratis een begeleider mee kunnen nemen.</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tc>
                  <a:txBody>
                    <a:bodyPr/>
                    <a:lstStyle/>
                    <a:p>
                      <a:pPr algn="l" fontAlgn="b"/>
                      <a:r>
                        <a:rPr lang="nl-NL" sz="1000" b="0" i="0" u="none" strike="noStrike" dirty="0">
                          <a:solidFill>
                            <a:srgbClr val="000000"/>
                          </a:solidFill>
                          <a:effectLst/>
                          <a:latin typeface="+mj-lt"/>
                        </a:rPr>
                        <a:t>Begeleiding</a:t>
                      </a:r>
                    </a:p>
                  </a:txBody>
                  <a:tcPr marL="36000" marR="36000" marT="36000" marB="36000" anchor="b">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extLst>
                  <a:ext uri="{0D108BD9-81ED-4DB2-BD59-A6C34878D82A}">
                    <a16:rowId xmlns:a16="http://schemas.microsoft.com/office/drawing/2014/main" val="1654622941"/>
                  </a:ext>
                </a:extLst>
              </a:tr>
              <a:tr h="284998">
                <a:tc>
                  <a:txBody>
                    <a:bodyPr/>
                    <a:lstStyle/>
                    <a:p>
                      <a:pPr algn="l" fontAlgn="b"/>
                      <a:r>
                        <a:rPr lang="nl-NL" sz="1000" b="0" i="0" u="none" strike="noStrike" dirty="0">
                          <a:solidFill>
                            <a:srgbClr val="000000"/>
                          </a:solidFill>
                          <a:effectLst/>
                          <a:latin typeface="+mj-lt"/>
                        </a:rPr>
                        <a:t>Parkeerplaatsen gehandicaptenvoertuigen</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l" fontAlgn="b"/>
                      <a:r>
                        <a:rPr lang="nl-NL" sz="1000" b="0" i="0" u="none" strike="noStrike" dirty="0">
                          <a:solidFill>
                            <a:srgbClr val="000000"/>
                          </a:solidFill>
                          <a:effectLst/>
                          <a:latin typeface="+mj-lt"/>
                        </a:rPr>
                        <a:t>Creëren van voldoende veilige parkeerplekken voor scootmobiels/ rollators / driewielers etc. bij stations en haltes.</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tc>
                  <a:txBody>
                    <a:bodyPr/>
                    <a:lstStyle/>
                    <a:p>
                      <a:pPr algn="l" fontAlgn="b"/>
                      <a:r>
                        <a:rPr lang="nl-NL" sz="1000" b="0" i="0" u="none" strike="noStrike" dirty="0">
                          <a:solidFill>
                            <a:srgbClr val="000000"/>
                          </a:solidFill>
                          <a:effectLst/>
                          <a:latin typeface="+mj-lt"/>
                        </a:rPr>
                        <a:t>Aansluiting op OV</a:t>
                      </a:r>
                    </a:p>
                  </a:txBody>
                  <a:tcPr marL="36000" marR="36000" marT="36000" marB="36000" anchor="b">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extLst>
                  <a:ext uri="{0D108BD9-81ED-4DB2-BD59-A6C34878D82A}">
                    <a16:rowId xmlns:a16="http://schemas.microsoft.com/office/drawing/2014/main" val="710088399"/>
                  </a:ext>
                </a:extLst>
              </a:tr>
              <a:tr h="284998">
                <a:tc>
                  <a:txBody>
                    <a:bodyPr/>
                    <a:lstStyle/>
                    <a:p>
                      <a:pPr algn="l" fontAlgn="b"/>
                      <a:r>
                        <a:rPr lang="nl-NL" sz="1000" b="0" i="0" u="none" strike="noStrike" dirty="0">
                          <a:solidFill>
                            <a:srgbClr val="000000"/>
                          </a:solidFill>
                          <a:effectLst/>
                          <a:latin typeface="+mj-lt"/>
                        </a:rPr>
                        <a:t>Eén-stap-verder-service</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l" fontAlgn="b"/>
                      <a:r>
                        <a:rPr lang="nl-NL" sz="1000" b="0" i="0" u="none" strike="noStrike" dirty="0">
                          <a:solidFill>
                            <a:srgbClr val="000000"/>
                          </a:solidFill>
                          <a:effectLst/>
                          <a:latin typeface="+mj-lt"/>
                        </a:rPr>
                        <a:t>Inzetten van een service waarbij mensen met beperking persoonlijke begeleiding krijgen op stations naar het aansluitend openbaar vervoer, de taxi of de halen/brengen-locatie. NS zet met de </a:t>
                      </a:r>
                      <a:r>
                        <a:rPr lang="nl-NL" sz="1000" b="1" i="0" u="none" strike="noStrike" dirty="0">
                          <a:solidFill>
                            <a:srgbClr val="22777B"/>
                          </a:solidFill>
                          <a:effectLst/>
                          <a:latin typeface="+mj-lt"/>
                          <a:hlinkClick r:id="rId6">
                            <a:extLst>
                              <a:ext uri="{A12FA001-AC4F-418D-AE19-62706E023703}">
                                <ahyp:hlinkClr xmlns:ahyp="http://schemas.microsoft.com/office/drawing/2018/hyperlinkcolor" val="tx"/>
                              </a:ext>
                            </a:extLst>
                          </a:hlinkClick>
                        </a:rPr>
                        <a:t>Eén-stap-verder-service</a:t>
                      </a:r>
                      <a:r>
                        <a:rPr lang="nl-NL" sz="1000" b="0" i="0" u="none" strike="noStrike" dirty="0">
                          <a:solidFill>
                            <a:srgbClr val="000000"/>
                          </a:solidFill>
                          <a:effectLst/>
                          <a:latin typeface="+mj-lt"/>
                        </a:rPr>
                        <a:t> al NS-medewerkers in om mensen met een visuele beperking te helpen hiermee.</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tc>
                  <a:txBody>
                    <a:bodyPr/>
                    <a:lstStyle/>
                    <a:p>
                      <a:pPr algn="l" fontAlgn="b"/>
                      <a:r>
                        <a:rPr lang="nl-NL" sz="1000" b="0" i="0" u="none" strike="noStrike" dirty="0">
                          <a:solidFill>
                            <a:srgbClr val="000000"/>
                          </a:solidFill>
                          <a:effectLst/>
                          <a:latin typeface="+mj-lt"/>
                        </a:rPr>
                        <a:t>Aansluiting op OV</a:t>
                      </a:r>
                    </a:p>
                  </a:txBody>
                  <a:tcPr marL="36000" marR="36000" marT="36000" marB="36000" anchor="b">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extLst>
                  <a:ext uri="{0D108BD9-81ED-4DB2-BD59-A6C34878D82A}">
                    <a16:rowId xmlns:a16="http://schemas.microsoft.com/office/drawing/2014/main" val="3247767120"/>
                  </a:ext>
                </a:extLst>
              </a:tr>
              <a:tr h="284998">
                <a:tc>
                  <a:txBody>
                    <a:bodyPr/>
                    <a:lstStyle/>
                    <a:p>
                      <a:pPr algn="l" fontAlgn="b"/>
                      <a:r>
                        <a:rPr lang="nl-NL" sz="1000" b="0" i="0" u="none" strike="noStrike" dirty="0">
                          <a:solidFill>
                            <a:srgbClr val="000000"/>
                          </a:solidFill>
                          <a:effectLst/>
                          <a:latin typeface="+mj-lt"/>
                        </a:rPr>
                        <a:t>OV-coaches / -ambassadeurs</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l" fontAlgn="b"/>
                      <a:r>
                        <a:rPr lang="nl-NL" sz="1000" b="0" i="0" u="none" strike="noStrike" dirty="0">
                          <a:solidFill>
                            <a:srgbClr val="000000"/>
                          </a:solidFill>
                          <a:effectLst/>
                          <a:latin typeface="+mj-lt"/>
                        </a:rPr>
                        <a:t>Instellen van </a:t>
                      </a:r>
                      <a:r>
                        <a:rPr lang="nl-NL" sz="1000" b="1" i="0" u="none" strike="noStrike" dirty="0">
                          <a:solidFill>
                            <a:srgbClr val="22777B"/>
                          </a:solidFill>
                          <a:effectLst/>
                          <a:latin typeface="+mj-lt"/>
                          <a:hlinkClick r:id="rId7">
                            <a:extLst>
                              <a:ext uri="{A12FA001-AC4F-418D-AE19-62706E023703}">
                                <ahyp:hlinkClr xmlns:ahyp="http://schemas.microsoft.com/office/drawing/2018/hyperlinkcolor" val="tx"/>
                              </a:ext>
                            </a:extLst>
                          </a:hlinkClick>
                        </a:rPr>
                        <a:t>OV-coaches</a:t>
                      </a:r>
                      <a:r>
                        <a:rPr lang="nl-NL" sz="1000" b="0" i="0" u="none" strike="noStrike" dirty="0">
                          <a:solidFill>
                            <a:srgbClr val="000000"/>
                          </a:solidFill>
                          <a:effectLst/>
                          <a:latin typeface="+mj-lt"/>
                        </a:rPr>
                        <a:t> zodat zij mensen die kwetsbaar zijn of zich onveilig voelen zelfstandig leren reizen. Ook </a:t>
                      </a:r>
                      <a:r>
                        <a:rPr lang="nl-NL" sz="1000" b="1" i="0" u="none" strike="noStrike" dirty="0">
                          <a:solidFill>
                            <a:srgbClr val="22777B"/>
                          </a:solidFill>
                          <a:effectLst/>
                          <a:latin typeface="+mj-lt"/>
                          <a:hlinkClick r:id="rId8">
                            <a:extLst>
                              <a:ext uri="{A12FA001-AC4F-418D-AE19-62706E023703}">
                                <ahyp:hlinkClr xmlns:ahyp="http://schemas.microsoft.com/office/drawing/2018/hyperlinkcolor" val="tx"/>
                              </a:ext>
                            </a:extLst>
                          </a:hlinkClick>
                        </a:rPr>
                        <a:t>OV-ambassadeurs</a:t>
                      </a:r>
                      <a:r>
                        <a:rPr lang="nl-NL" sz="1000" b="0" i="0" u="none" strike="noStrike" dirty="0">
                          <a:solidFill>
                            <a:srgbClr val="000000"/>
                          </a:solidFill>
                          <a:effectLst/>
                          <a:latin typeface="+mj-lt"/>
                        </a:rPr>
                        <a:t> kunnen daarbij helpen: dit zijn senioren met veel kennis over het OV die andere ouderen vrijwillig wegwijs maken in het OV.</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tc>
                  <a:txBody>
                    <a:bodyPr/>
                    <a:lstStyle/>
                    <a:p>
                      <a:pPr algn="l" fontAlgn="b"/>
                      <a:r>
                        <a:rPr lang="nl-NL" sz="1000" b="0" i="0" u="none" strike="noStrike" kern="1200" dirty="0">
                          <a:solidFill>
                            <a:srgbClr val="000000"/>
                          </a:solidFill>
                          <a:effectLst/>
                          <a:latin typeface="+mn-lt"/>
                          <a:ea typeface="+mn-ea"/>
                          <a:cs typeface="+mn-cs"/>
                        </a:rPr>
                        <a:t>Nieuw reisgedrag stimuleren</a:t>
                      </a:r>
                    </a:p>
                  </a:txBody>
                  <a:tcPr marL="36000" marR="36000" marT="36000" marB="36000" anchor="b">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extLst>
                  <a:ext uri="{0D108BD9-81ED-4DB2-BD59-A6C34878D82A}">
                    <a16:rowId xmlns:a16="http://schemas.microsoft.com/office/drawing/2014/main" val="50044189"/>
                  </a:ext>
                </a:extLst>
              </a:tr>
              <a:tr h="284998">
                <a:tc>
                  <a:txBody>
                    <a:bodyPr/>
                    <a:lstStyle/>
                    <a:p>
                      <a:pPr algn="l" fontAlgn="b"/>
                      <a:r>
                        <a:rPr lang="nl-NL" sz="1000" b="0" i="0" u="none" strike="noStrike" dirty="0">
                          <a:solidFill>
                            <a:srgbClr val="000000"/>
                          </a:solidFill>
                          <a:effectLst/>
                          <a:latin typeface="+mj-lt"/>
                        </a:rPr>
                        <a:t>Gratis OV-pas</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l" fontAlgn="b"/>
                      <a:r>
                        <a:rPr lang="nl-NL" sz="1000" b="0" i="0" u="none" strike="noStrike" dirty="0">
                          <a:solidFill>
                            <a:srgbClr val="000000"/>
                          </a:solidFill>
                          <a:effectLst/>
                          <a:latin typeface="+mj-lt"/>
                        </a:rPr>
                        <a:t>Beschikbaar stellen van een gratis OV-pas of pas met korting voor mensen met een mobiliteitsbeperking. Met </a:t>
                      </a:r>
                      <a:r>
                        <a:rPr lang="nl-NL" sz="1000" b="1" i="0" u="none" strike="noStrike" dirty="0">
                          <a:solidFill>
                            <a:srgbClr val="22777B"/>
                          </a:solidFill>
                          <a:effectLst/>
                          <a:latin typeface="+mj-lt"/>
                          <a:hlinkClick r:id="rId9">
                            <a:extLst>
                              <a:ext uri="{A12FA001-AC4F-418D-AE19-62706E023703}">
                                <ahyp:hlinkClr xmlns:ahyp="http://schemas.microsoft.com/office/drawing/2018/hyperlinkcolor" val="tx"/>
                              </a:ext>
                            </a:extLst>
                          </a:hlinkClick>
                        </a:rPr>
                        <a:t>Sentire</a:t>
                      </a:r>
                      <a:r>
                        <a:rPr lang="nl-NL" sz="1000" b="1" i="0" u="none" strike="noStrike" dirty="0">
                          <a:solidFill>
                            <a:srgbClr val="000000"/>
                          </a:solidFill>
                          <a:effectLst/>
                          <a:latin typeface="+mj-lt"/>
                        </a:rPr>
                        <a:t> </a:t>
                      </a:r>
                      <a:r>
                        <a:rPr lang="nl-NL" sz="1000" b="0" i="0" u="none" strike="noStrike" dirty="0">
                          <a:solidFill>
                            <a:srgbClr val="000000"/>
                          </a:solidFill>
                          <a:effectLst/>
                          <a:latin typeface="+mj-lt"/>
                        </a:rPr>
                        <a:t>reizen bijvoorbeeld mensen met een visuele beperking al tegen een lager tarief met het OV.</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tc>
                  <a:txBody>
                    <a:bodyPr/>
                    <a:lstStyle/>
                    <a:p>
                      <a:pPr algn="l" fontAlgn="b"/>
                      <a:r>
                        <a:rPr lang="nl-NL" sz="1000" b="0" i="0" u="none" strike="noStrike" dirty="0">
                          <a:solidFill>
                            <a:srgbClr val="000000"/>
                          </a:solidFill>
                          <a:effectLst/>
                          <a:latin typeface="+mj-lt"/>
                        </a:rPr>
                        <a:t>Nieuw reisgedrag stimuleren</a:t>
                      </a:r>
                    </a:p>
                  </a:txBody>
                  <a:tcPr marL="36000" marR="36000" marT="36000" marB="36000" anchor="b">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extLst>
                  <a:ext uri="{0D108BD9-81ED-4DB2-BD59-A6C34878D82A}">
                    <a16:rowId xmlns:a16="http://schemas.microsoft.com/office/drawing/2014/main" val="1640651727"/>
                  </a:ext>
                </a:extLst>
              </a:tr>
              <a:tr h="284998">
                <a:tc>
                  <a:txBody>
                    <a:bodyPr/>
                    <a:lstStyle/>
                    <a:p>
                      <a:pPr algn="l" fontAlgn="b"/>
                      <a:r>
                        <a:rPr lang="nl-NL" sz="1000" b="0" i="0" u="none" strike="noStrike" dirty="0">
                          <a:solidFill>
                            <a:srgbClr val="000000"/>
                          </a:solidFill>
                          <a:effectLst/>
                          <a:latin typeface="+mj-lt"/>
                        </a:rPr>
                        <a:t>OV- en Wmo-pas in één</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l" fontAlgn="b"/>
                      <a:r>
                        <a:rPr lang="nl-NL" sz="1000" b="0" i="0" u="none" strike="noStrike" dirty="0">
                          <a:solidFill>
                            <a:srgbClr val="000000"/>
                          </a:solidFill>
                          <a:effectLst/>
                          <a:latin typeface="+mj-lt"/>
                        </a:rPr>
                        <a:t>Reizigers van het doelgroepenvervoer stimuleren om met OV te gaan door één pas aan te bieden voor het Wmo-vervoer en openbaar vervoer. In Limburg is er de </a:t>
                      </a:r>
                      <a:r>
                        <a:rPr lang="nl-NL" sz="1000" b="1" i="0" u="none" strike="noStrike" dirty="0">
                          <a:solidFill>
                            <a:srgbClr val="22777B"/>
                          </a:solidFill>
                          <a:effectLst/>
                          <a:latin typeface="+mj-lt"/>
                          <a:hlinkClick r:id="rId10">
                            <a:extLst>
                              <a:ext uri="{A12FA001-AC4F-418D-AE19-62706E023703}">
                                <ahyp:hlinkClr xmlns:ahyp="http://schemas.microsoft.com/office/drawing/2018/hyperlinkcolor" val="tx"/>
                              </a:ext>
                            </a:extLst>
                          </a:hlinkClick>
                        </a:rPr>
                        <a:t>Voor Elkaar Pas </a:t>
                      </a:r>
                      <a:r>
                        <a:rPr lang="nl-NL" sz="1000" b="0" i="0" u="none" strike="noStrike" dirty="0">
                          <a:solidFill>
                            <a:srgbClr val="000000"/>
                          </a:solidFill>
                          <a:effectLst/>
                          <a:latin typeface="+mj-lt"/>
                        </a:rPr>
                        <a:t>voor vervoer van Arriva en Wmo-vervoerder Omnibuzz. Ook Valys heeft een Reispas voor zowel het Valys-vervoer als OV.</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nl-NL" sz="1000" b="0" i="0" u="none" strike="noStrike" kern="1200" dirty="0">
                          <a:solidFill>
                            <a:srgbClr val="000000"/>
                          </a:solidFill>
                          <a:effectLst/>
                          <a:latin typeface="+mn-lt"/>
                          <a:ea typeface="+mn-ea"/>
                          <a:cs typeface="+mn-cs"/>
                        </a:rPr>
                        <a:t>Nieuw reisgedrag stimuleren</a:t>
                      </a:r>
                    </a:p>
                  </a:txBody>
                  <a:tcPr marL="36000" marR="36000" marT="36000" marB="36000" anchor="b">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extLst>
                  <a:ext uri="{0D108BD9-81ED-4DB2-BD59-A6C34878D82A}">
                    <a16:rowId xmlns:a16="http://schemas.microsoft.com/office/drawing/2014/main" val="638419914"/>
                  </a:ext>
                </a:extLst>
              </a:tr>
              <a:tr h="284998">
                <a:tc>
                  <a:txBody>
                    <a:bodyPr/>
                    <a:lstStyle/>
                    <a:p>
                      <a:pPr algn="l" fontAlgn="b"/>
                      <a:r>
                        <a:rPr lang="nl-NL" sz="1000" b="0" i="0" u="none" strike="noStrike" dirty="0">
                          <a:solidFill>
                            <a:srgbClr val="000000"/>
                          </a:solidFill>
                          <a:effectLst/>
                          <a:latin typeface="+mj-lt"/>
                        </a:rPr>
                        <a:t>OV-opstapdagen</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l" fontAlgn="b"/>
                      <a:r>
                        <a:rPr lang="nl-NL" sz="1000" b="0" i="0" u="none" strike="noStrike" dirty="0">
                          <a:solidFill>
                            <a:srgbClr val="000000"/>
                          </a:solidFill>
                          <a:effectLst/>
                          <a:latin typeface="+mj-lt"/>
                        </a:rPr>
                        <a:t>Organiseren van ‘introductiedagen’ voor kwetsbare reizigers die niet zo goed weten hoe het openbaar vervoer werkt. West-Brabant organiseert voor 65+’ers </a:t>
                      </a:r>
                      <a:r>
                        <a:rPr lang="nl-NL" sz="1000" b="1" i="0" u="none" strike="noStrike" dirty="0">
                          <a:solidFill>
                            <a:srgbClr val="22777B"/>
                          </a:solidFill>
                          <a:effectLst/>
                          <a:latin typeface="+mj-lt"/>
                          <a:hlinkClick r:id="rId11">
                            <a:extLst>
                              <a:ext uri="{A12FA001-AC4F-418D-AE19-62706E023703}">
                                <ahyp:hlinkClr xmlns:ahyp="http://schemas.microsoft.com/office/drawing/2018/hyperlinkcolor" val="tx"/>
                              </a:ext>
                            </a:extLst>
                          </a:hlinkClick>
                        </a:rPr>
                        <a:t>OV-opstapdagen </a:t>
                      </a:r>
                      <a:r>
                        <a:rPr lang="nl-NL" sz="1000" b="0" i="0" u="none" strike="noStrike" dirty="0">
                          <a:solidFill>
                            <a:srgbClr val="000000"/>
                          </a:solidFill>
                          <a:effectLst/>
                          <a:latin typeface="+mj-lt"/>
                        </a:rPr>
                        <a:t>waarin ze leren hoe de chipkaart werkt en hoe de bus in de praktijk werkt.</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tc>
                  <a:txBody>
                    <a:bodyPr/>
                    <a:lstStyle/>
                    <a:p>
                      <a:pPr algn="l" fontAlgn="b"/>
                      <a:r>
                        <a:rPr lang="nl-NL" sz="1000" b="0" i="0" u="none" strike="noStrike" dirty="0">
                          <a:solidFill>
                            <a:srgbClr val="000000"/>
                          </a:solidFill>
                          <a:effectLst/>
                          <a:latin typeface="+mj-lt"/>
                        </a:rPr>
                        <a:t>Nieuw reisgedrag stimuleren</a:t>
                      </a:r>
                    </a:p>
                  </a:txBody>
                  <a:tcPr marL="36000" marR="36000" marT="36000" marB="36000" anchor="b">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extLst>
                  <a:ext uri="{0D108BD9-81ED-4DB2-BD59-A6C34878D82A}">
                    <a16:rowId xmlns:a16="http://schemas.microsoft.com/office/drawing/2014/main" val="690019676"/>
                  </a:ext>
                </a:extLst>
              </a:tr>
              <a:tr h="284998">
                <a:tc>
                  <a:txBody>
                    <a:bodyPr/>
                    <a:lstStyle/>
                    <a:p>
                      <a:pPr algn="l" fontAlgn="b"/>
                      <a:r>
                        <a:rPr lang="nl-NL" sz="1000" b="0" i="0" u="none" strike="noStrike" dirty="0">
                          <a:solidFill>
                            <a:srgbClr val="000000"/>
                          </a:solidFill>
                          <a:effectLst/>
                          <a:latin typeface="+mj-lt"/>
                        </a:rPr>
                        <a:t>Richtlijnen voor Wmo-consulenten</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l" fontAlgn="b"/>
                      <a:r>
                        <a:rPr lang="nl-NL" sz="1000" b="0" i="0" u="none" strike="noStrike" dirty="0">
                          <a:solidFill>
                            <a:srgbClr val="000000"/>
                          </a:solidFill>
                          <a:effectLst/>
                          <a:latin typeface="+mj-lt"/>
                        </a:rPr>
                        <a:t>Instellen van heldere richtlijnen voor Wmo-consulenten die vastleggen wanneer iemand niet anders kan dan met het Wmo-vervoer reizen en die consulenten handvatten bieden hoe zij aanvragers kunnen stimuleren om met het OV te gaan. In </a:t>
                      </a:r>
                      <a:r>
                        <a:rPr lang="nl-NL" sz="1000" b="1" i="0" u="none" strike="noStrike" dirty="0">
                          <a:solidFill>
                            <a:srgbClr val="22777B"/>
                          </a:solidFill>
                          <a:effectLst/>
                          <a:latin typeface="+mj-lt"/>
                          <a:hlinkClick r:id="rId11">
                            <a:extLst>
                              <a:ext uri="{A12FA001-AC4F-418D-AE19-62706E023703}">
                                <ahyp:hlinkClr xmlns:ahyp="http://schemas.microsoft.com/office/drawing/2018/hyperlinkcolor" val="tx"/>
                              </a:ext>
                            </a:extLst>
                          </a:hlinkClick>
                        </a:rPr>
                        <a:t>Eigen kracht versterken </a:t>
                      </a:r>
                      <a:r>
                        <a:rPr lang="nl-NL" sz="1000" b="0" i="0" u="none" strike="noStrike" dirty="0">
                          <a:solidFill>
                            <a:srgbClr val="000000"/>
                          </a:solidFill>
                          <a:effectLst/>
                          <a:latin typeface="+mj-lt"/>
                        </a:rPr>
                        <a:t>van gem. Dalfsen worden consulenten getraind om gebruikers op de mogelijkheden in het OV te wijzen.</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tc>
                  <a:txBody>
                    <a:bodyPr/>
                    <a:lstStyle/>
                    <a:p>
                      <a:pPr algn="l" fontAlgn="b"/>
                      <a:r>
                        <a:rPr lang="nl-NL" sz="1000" b="0" i="0" u="none" strike="noStrike" dirty="0">
                          <a:solidFill>
                            <a:srgbClr val="000000"/>
                          </a:solidFill>
                          <a:effectLst/>
                          <a:latin typeface="+mj-lt"/>
                        </a:rPr>
                        <a:t>Indicatieproces</a:t>
                      </a:r>
                    </a:p>
                  </a:txBody>
                  <a:tcPr marL="36000" marR="36000" marT="36000" marB="36000" anchor="b">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extLst>
                  <a:ext uri="{0D108BD9-81ED-4DB2-BD59-A6C34878D82A}">
                    <a16:rowId xmlns:a16="http://schemas.microsoft.com/office/drawing/2014/main" val="3348294366"/>
                  </a:ext>
                </a:extLst>
              </a:tr>
              <a:tr h="284998">
                <a:tc>
                  <a:txBody>
                    <a:bodyPr/>
                    <a:lstStyle/>
                    <a:p>
                      <a:pPr algn="l" fontAlgn="b"/>
                      <a:r>
                        <a:rPr lang="nl-NL" sz="1000" b="0" u="none" strike="noStrike" dirty="0">
                          <a:solidFill>
                            <a:srgbClr val="000000"/>
                          </a:solidFill>
                          <a:effectLst/>
                          <a:latin typeface="+mj-lt"/>
                        </a:rPr>
                        <a:t>Contact met cliënten</a:t>
                      </a:r>
                      <a:endParaRPr lang="nl-NL" sz="1000" b="0" i="0" u="none" strike="noStrike" dirty="0">
                        <a:solidFill>
                          <a:srgbClr val="000000"/>
                        </a:solidFill>
                        <a:effectLst/>
                        <a:latin typeface="+mj-lt"/>
                      </a:endParaRP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DBDBDB"/>
                    </a:solidFill>
                  </a:tcPr>
                </a:tc>
                <a:tc>
                  <a:txBody>
                    <a:bodyPr/>
                    <a:lstStyle/>
                    <a:p>
                      <a:pPr algn="l" fontAlgn="b"/>
                      <a:r>
                        <a:rPr lang="nl-NL" sz="1000" b="0" i="0" u="none" strike="noStrike" dirty="0">
                          <a:solidFill>
                            <a:srgbClr val="000000"/>
                          </a:solidFill>
                          <a:effectLst/>
                          <a:latin typeface="+mj-lt"/>
                        </a:rPr>
                        <a:t>Inrichten van een proces waarbij Wmo-consulenten mobiliteitsbehoefte van cliënten blijven monitoren. Indien cliënt meer mobiel wordt, kan hij/zij gestimuleerd worden met OV te reizen .</a:t>
                      </a:r>
                    </a:p>
                  </a:txBody>
                  <a:tcPr marL="36000" marR="36000" marT="36000" marB="36000" anchor="b">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tc>
                  <a:txBody>
                    <a:bodyPr/>
                    <a:lstStyle/>
                    <a:p>
                      <a:pPr algn="l" fontAlgn="b"/>
                      <a:r>
                        <a:rPr lang="nl-NL" sz="1000" b="0" i="0" u="none" strike="noStrike" dirty="0">
                          <a:solidFill>
                            <a:srgbClr val="000000"/>
                          </a:solidFill>
                          <a:effectLst/>
                          <a:latin typeface="+mj-lt"/>
                        </a:rPr>
                        <a:t>Indicatieproces</a:t>
                      </a:r>
                    </a:p>
                  </a:txBody>
                  <a:tcPr marL="36000" marR="36000" marT="36000" marB="36000" anchor="b">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FFFFFF"/>
                    </a:solidFill>
                  </a:tcPr>
                </a:tc>
                <a:extLst>
                  <a:ext uri="{0D108BD9-81ED-4DB2-BD59-A6C34878D82A}">
                    <a16:rowId xmlns:a16="http://schemas.microsoft.com/office/drawing/2014/main" val="2545077642"/>
                  </a:ext>
                </a:extLst>
              </a:tr>
            </a:tbl>
          </a:graphicData>
        </a:graphic>
      </p:graphicFrame>
      <p:sp>
        <p:nvSpPr>
          <p:cNvPr id="39" name="Footer Placeholder 6">
            <a:extLst>
              <a:ext uri="{FF2B5EF4-FFF2-40B4-BE49-F238E27FC236}">
                <a16:creationId xmlns:a16="http://schemas.microsoft.com/office/drawing/2014/main" id="{5F5064F9-3C1C-4EAD-BCD0-500B1DEA6FA5}"/>
              </a:ext>
            </a:extLst>
          </p:cNvPr>
          <p:cNvSpPr>
            <a:spLocks noGrp="1"/>
          </p:cNvSpPr>
          <p:nvPr>
            <p:ph type="ftr" idx="11"/>
          </p:nvPr>
        </p:nvSpPr>
        <p:spPr>
          <a:xfrm>
            <a:off x="661800" y="6624637"/>
            <a:ext cx="10868400" cy="122400"/>
          </a:xfrm>
        </p:spPr>
        <p:txBody>
          <a:bodyPr/>
          <a:lstStyle/>
          <a:p>
            <a:r>
              <a:rPr lang="nl-NL" sz="800" dirty="0">
                <a:solidFill>
                  <a:srgbClr val="000000"/>
                </a:solidFill>
                <a:latin typeface="Corbel"/>
                <a:ea typeface="Corbel"/>
                <a:cs typeface="Corbel"/>
                <a:sym typeface="Corbel"/>
              </a:rPr>
              <a:t>Bron: KpVV CROW, ‘Inclusieve Mobiliteit: Praktijkvoorbeelden’ (juni 2020); verschillende websites van vervoerders en vrijwilligersorganisaties</a:t>
            </a:r>
          </a:p>
        </p:txBody>
      </p:sp>
    </p:spTree>
    <p:extLst>
      <p:ext uri="{BB962C8B-B14F-4D97-AF65-F5344CB8AC3E}">
        <p14:creationId xmlns:p14="http://schemas.microsoft.com/office/powerpoint/2010/main" val="18317820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79F46D0-3336-4A48-9216-E07FB5EEF5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4" name="think-cell Slide" r:id="rId4" imgW="344" imgH="344" progId="TCLayout.ActiveDocument.1">
                  <p:embed/>
                </p:oleObj>
              </mc:Choice>
              <mc:Fallback>
                <p:oleObj name="think-cell Slide" r:id="rId4" imgW="344" imgH="344" progId="TCLayout.ActiveDocument.1">
                  <p:embed/>
                  <p:pic>
                    <p:nvPicPr>
                      <p:cNvPr id="12" name="Object 11" hidden="1">
                        <a:extLst>
                          <a:ext uri="{FF2B5EF4-FFF2-40B4-BE49-F238E27FC236}">
                            <a16:creationId xmlns:a16="http://schemas.microsoft.com/office/drawing/2014/main" id="{E79F46D0-3336-4A48-9216-E07FB5EEF5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6" name="Table 15">
            <a:extLst>
              <a:ext uri="{FF2B5EF4-FFF2-40B4-BE49-F238E27FC236}">
                <a16:creationId xmlns:a16="http://schemas.microsoft.com/office/drawing/2014/main" id="{A88BFDED-CDF2-4F03-BB32-BBB018C22C27}"/>
              </a:ext>
            </a:extLst>
          </p:cNvPr>
          <p:cNvGraphicFramePr>
            <a:graphicFrameLocks noGrp="1"/>
          </p:cNvGraphicFramePr>
          <p:nvPr>
            <p:extLst>
              <p:ext uri="{D42A27DB-BD31-4B8C-83A1-F6EECF244321}">
                <p14:modId xmlns:p14="http://schemas.microsoft.com/office/powerpoint/2010/main" val="1173087021"/>
              </p:ext>
            </p:extLst>
          </p:nvPr>
        </p:nvGraphicFramePr>
        <p:xfrm>
          <a:off x="655723" y="1743730"/>
          <a:ext cx="10872000" cy="3949310"/>
        </p:xfrm>
        <a:graphic>
          <a:graphicData uri="http://schemas.openxmlformats.org/drawingml/2006/table">
            <a:tbl>
              <a:tblPr firstRow="1" bandRow="1">
                <a:tableStyleId>{5C22544A-7EE6-4342-B048-85BDC9FD1C3A}</a:tableStyleId>
              </a:tblPr>
              <a:tblGrid>
                <a:gridCol w="2124000">
                  <a:extLst>
                    <a:ext uri="{9D8B030D-6E8A-4147-A177-3AD203B41FA5}">
                      <a16:colId xmlns:a16="http://schemas.microsoft.com/office/drawing/2014/main" val="568739228"/>
                    </a:ext>
                  </a:extLst>
                </a:gridCol>
                <a:gridCol w="1188000">
                  <a:extLst>
                    <a:ext uri="{9D8B030D-6E8A-4147-A177-3AD203B41FA5}">
                      <a16:colId xmlns:a16="http://schemas.microsoft.com/office/drawing/2014/main" val="3839059553"/>
                    </a:ext>
                  </a:extLst>
                </a:gridCol>
                <a:gridCol w="1188000">
                  <a:extLst>
                    <a:ext uri="{9D8B030D-6E8A-4147-A177-3AD203B41FA5}">
                      <a16:colId xmlns:a16="http://schemas.microsoft.com/office/drawing/2014/main" val="1043263396"/>
                    </a:ext>
                  </a:extLst>
                </a:gridCol>
                <a:gridCol w="1188000">
                  <a:extLst>
                    <a:ext uri="{9D8B030D-6E8A-4147-A177-3AD203B41FA5}">
                      <a16:colId xmlns:a16="http://schemas.microsoft.com/office/drawing/2014/main" val="1014970524"/>
                    </a:ext>
                  </a:extLst>
                </a:gridCol>
                <a:gridCol w="5184000">
                  <a:extLst>
                    <a:ext uri="{9D8B030D-6E8A-4147-A177-3AD203B41FA5}">
                      <a16:colId xmlns:a16="http://schemas.microsoft.com/office/drawing/2014/main" val="2378058376"/>
                    </a:ext>
                  </a:extLst>
                </a:gridCol>
              </a:tblGrid>
              <a:tr h="244910">
                <a:tc>
                  <a:txBody>
                    <a:bodyPr/>
                    <a:lstStyle/>
                    <a:p>
                      <a:pPr algn="ctr" rtl="0"/>
                      <a:r>
                        <a:rPr lang="nl-NL" sz="1000" b="1" kern="1200" dirty="0">
                          <a:solidFill>
                            <a:srgbClr val="FFFFFF"/>
                          </a:solidFill>
                          <a:latin typeface="+mn-lt"/>
                          <a:ea typeface="+mn-ea"/>
                          <a:cs typeface="+mn-cs"/>
                        </a:rPr>
                        <a:t>Gemeente / Regio</a:t>
                      </a:r>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rgbClr val="DBDBDB"/>
                      </a:solidFill>
                      <a:prstDash val="solid"/>
                      <a:round/>
                      <a:headEnd type="none" w="med" len="med"/>
                      <a:tailEnd type="none" w="med" len="med"/>
                    </a:lnR>
                    <a:lnT w="12700" cap="flat" cmpd="sng" algn="ctr">
                      <a:solidFill>
                        <a:srgbClr val="DBDBDB"/>
                      </a:solidFill>
                      <a:prstDash val="solid"/>
                      <a:round/>
                      <a:headEnd type="none" w="med" len="med"/>
                      <a:tailEnd type="none" w="med" len="med"/>
                    </a:lnT>
                    <a:lnB w="12700" cap="flat" cmpd="sng" algn="ctr">
                      <a:solidFill>
                        <a:srgbClr val="DBDBDB"/>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rtl="0"/>
                      <a:r>
                        <a:rPr lang="nl-NL" sz="1000" b="1" dirty="0">
                          <a:solidFill>
                            <a:srgbClr val="FFFFFF"/>
                          </a:solidFill>
                        </a:rPr>
                        <a:t>Één contract </a:t>
                      </a:r>
                    </a:p>
                  </a:txBody>
                  <a:tcPr marL="36000" marR="36000" marT="36000" marB="36000" anchor="ctr">
                    <a:lnL w="12700" cap="flat" cmpd="sng" algn="ctr">
                      <a:solidFill>
                        <a:srgbClr val="DBDBDB"/>
                      </a:solidFill>
                      <a:prstDash val="solid"/>
                      <a:round/>
                      <a:headEnd type="none" w="med" len="med"/>
                      <a:tailEnd type="none" w="med" len="med"/>
                    </a:lnL>
                    <a:lnR w="12700" cap="flat" cmpd="sng" algn="ctr">
                      <a:solidFill>
                        <a:srgbClr val="DBDBDB"/>
                      </a:solidFill>
                      <a:prstDash val="solid"/>
                      <a:round/>
                      <a:headEnd type="none" w="med" len="med"/>
                      <a:tailEnd type="none" w="med" len="med"/>
                    </a:lnR>
                    <a:lnT w="12700" cap="flat" cmpd="sng" algn="ctr">
                      <a:solidFill>
                        <a:srgbClr val="DBDBDB"/>
                      </a:solidFill>
                      <a:prstDash val="solid"/>
                      <a:round/>
                      <a:headEnd type="none" w="med" len="med"/>
                      <a:tailEnd type="none" w="med" len="med"/>
                    </a:lnT>
                    <a:lnB w="12700" cap="flat" cmpd="sng" algn="ctr">
                      <a:solidFill>
                        <a:srgbClr val="DBDBDB"/>
                      </a:solidFill>
                      <a:prstDash val="solid"/>
                      <a:round/>
                      <a:headEnd type="none" w="med" len="med"/>
                      <a:tailEnd type="none" w="med" len="med"/>
                    </a:lnB>
                    <a:solidFill>
                      <a:srgbClr val="22777B"/>
                    </a:solidFill>
                  </a:tcPr>
                </a:tc>
                <a:tc>
                  <a:txBody>
                    <a:bodyPr/>
                    <a:lstStyle/>
                    <a:p>
                      <a:pPr algn="ctr" rtl="0"/>
                      <a:r>
                        <a:rPr lang="nl-NL" sz="1000" b="1" dirty="0">
                          <a:solidFill>
                            <a:srgbClr val="FFFFFF"/>
                          </a:solidFill>
                        </a:rPr>
                        <a:t>Één vervoerder</a:t>
                      </a:r>
                    </a:p>
                  </a:txBody>
                  <a:tcPr marL="36000" marR="36000" marT="36000" marB="36000" anchor="ctr">
                    <a:lnL w="12700" cap="flat" cmpd="sng" algn="ctr">
                      <a:solidFill>
                        <a:srgbClr val="DBDBDB"/>
                      </a:solidFill>
                      <a:prstDash val="solid"/>
                      <a:round/>
                      <a:headEnd type="none" w="med" len="med"/>
                      <a:tailEnd type="none" w="med" len="med"/>
                    </a:lnL>
                    <a:lnR w="12700" cap="flat" cmpd="sng" algn="ctr">
                      <a:solidFill>
                        <a:srgbClr val="DBDBDB"/>
                      </a:solidFill>
                      <a:prstDash val="solid"/>
                      <a:round/>
                      <a:headEnd type="none" w="med" len="med"/>
                      <a:tailEnd type="none" w="med" len="med"/>
                    </a:lnR>
                    <a:lnT w="12700" cap="flat" cmpd="sng" algn="ctr">
                      <a:solidFill>
                        <a:srgbClr val="DBDBDB"/>
                      </a:solidFill>
                      <a:prstDash val="solid"/>
                      <a:round/>
                      <a:headEnd type="none" w="med" len="med"/>
                      <a:tailEnd type="none" w="med" len="med"/>
                    </a:lnT>
                    <a:lnB w="12700" cap="flat" cmpd="sng" algn="ctr">
                      <a:solidFill>
                        <a:srgbClr val="DBDBDB"/>
                      </a:solidFill>
                      <a:prstDash val="solid"/>
                      <a:round/>
                      <a:headEnd type="none" w="med" len="med"/>
                      <a:tailEnd type="none" w="med" len="med"/>
                    </a:lnB>
                    <a:solidFill>
                      <a:srgbClr val="22777B"/>
                    </a:solidFill>
                  </a:tcPr>
                </a:tc>
                <a:tc>
                  <a:txBody>
                    <a:bodyPr/>
                    <a:lstStyle/>
                    <a:p>
                      <a:pPr algn="ctr" rtl="0"/>
                      <a:r>
                        <a:rPr lang="nl-NL" sz="1000" b="1" dirty="0">
                          <a:solidFill>
                            <a:srgbClr val="FFFFFF"/>
                          </a:solidFill>
                        </a:rPr>
                        <a:t>Één regiecentrale</a:t>
                      </a:r>
                    </a:p>
                  </a:txBody>
                  <a:tcPr marL="36000" marR="36000" marT="36000" marB="36000" anchor="ctr">
                    <a:lnL w="12700" cap="flat" cmpd="sng" algn="ctr">
                      <a:solidFill>
                        <a:srgbClr val="DBDBDB"/>
                      </a:solidFill>
                      <a:prstDash val="solid"/>
                      <a:round/>
                      <a:headEnd type="none" w="med" len="med"/>
                      <a:tailEnd type="none" w="med" len="med"/>
                    </a:lnL>
                    <a:lnR w="12700" cap="flat" cmpd="sng" algn="ctr">
                      <a:solidFill>
                        <a:srgbClr val="DBDBDB"/>
                      </a:solidFill>
                      <a:prstDash val="solid"/>
                      <a:round/>
                      <a:headEnd type="none" w="med" len="med"/>
                      <a:tailEnd type="none" w="med" len="med"/>
                    </a:lnR>
                    <a:lnT w="12700" cap="flat" cmpd="sng" algn="ctr">
                      <a:solidFill>
                        <a:srgbClr val="DBDBDB"/>
                      </a:solidFill>
                      <a:prstDash val="solid"/>
                      <a:round/>
                      <a:headEnd type="none" w="med" len="med"/>
                      <a:tailEnd type="none" w="med" len="med"/>
                    </a:lnT>
                    <a:lnB w="12700" cap="flat" cmpd="sng" algn="ctr">
                      <a:solidFill>
                        <a:srgbClr val="DBDBDB"/>
                      </a:solidFill>
                      <a:prstDash val="solid"/>
                      <a:round/>
                      <a:headEnd type="none" w="med" len="med"/>
                      <a:tailEnd type="none" w="med" len="med"/>
                    </a:lnB>
                    <a:solidFill>
                      <a:srgbClr val="22777B"/>
                    </a:solidFill>
                  </a:tcPr>
                </a:tc>
                <a:tc>
                  <a:txBody>
                    <a:bodyPr/>
                    <a:lstStyle/>
                    <a:p>
                      <a:pPr algn="ctr" rtl="0"/>
                      <a:r>
                        <a:rPr lang="nl-NL" sz="1000" b="1" dirty="0">
                          <a:solidFill>
                            <a:srgbClr val="FFFFFF"/>
                          </a:solidFill>
                        </a:rPr>
                        <a:t>Toelichting</a:t>
                      </a:r>
                    </a:p>
                  </a:txBody>
                  <a:tcPr marL="36000" marR="36000" marT="36000" marB="36000" anchor="ctr">
                    <a:lnL w="12700" cap="flat" cmpd="sng" algn="ctr">
                      <a:solidFill>
                        <a:srgbClr val="DBDBDB"/>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rgbClr val="DBDBDB"/>
                      </a:solidFill>
                      <a:prstDash val="solid"/>
                      <a:round/>
                      <a:headEnd type="none" w="med" len="med"/>
                      <a:tailEnd type="none" w="med" len="med"/>
                    </a:lnT>
                    <a:lnB w="12700" cap="flat" cmpd="sng" algn="ctr">
                      <a:solidFill>
                        <a:srgbClr val="DBDBDB"/>
                      </a:solidFill>
                      <a:prstDash val="solid"/>
                      <a:round/>
                      <a:headEnd type="none" w="med" len="med"/>
                      <a:tailEnd type="none" w="med" len="med"/>
                    </a:lnB>
                    <a:solidFill>
                      <a:srgbClr val="22777B"/>
                    </a:solidFill>
                  </a:tcPr>
                </a:tc>
                <a:extLst>
                  <a:ext uri="{0D108BD9-81ED-4DB2-BD59-A6C34878D82A}">
                    <a16:rowId xmlns:a16="http://schemas.microsoft.com/office/drawing/2014/main" val="41934940"/>
                  </a:ext>
                </a:extLst>
              </a:tr>
              <a:tr h="0">
                <a:tc>
                  <a:txBody>
                    <a:bodyPr/>
                    <a:lstStyle/>
                    <a:p>
                      <a:pPr algn="l" rtl="0"/>
                      <a:r>
                        <a:rPr lang="nl-NL" sz="1000" b="0" dirty="0">
                          <a:solidFill>
                            <a:srgbClr val="000000"/>
                          </a:solidFill>
                        </a:rPr>
                        <a:t>Gemeente Krimpen aan den IJssel</a:t>
                      </a:r>
                    </a:p>
                  </a:txBody>
                  <a:tcPr marL="36000" marR="36000" marT="36000" marB="36000" anchor="ctr">
                    <a:lnL w="12700" cap="flat" cmpd="sng" algn="ctr">
                      <a:solidFill>
                        <a:srgbClr val="DBDBDB"/>
                      </a:solidFill>
                      <a:prstDash val="solid"/>
                      <a:round/>
                      <a:headEnd type="none" w="med" len="med"/>
                      <a:tailEnd type="none" w="med" len="med"/>
                    </a:lnL>
                    <a:lnR w="12700" cap="flat" cmpd="sng" algn="ctr">
                      <a:solidFill>
                        <a:srgbClr val="DBDBDB"/>
                      </a:solidFill>
                      <a:prstDash val="solid"/>
                      <a:round/>
                      <a:headEnd type="none" w="med" len="med"/>
                      <a:tailEnd type="none" w="med" len="med"/>
                    </a:lnR>
                    <a:lnT w="12700" cap="flat" cmpd="sng" algn="ctr">
                      <a:solidFill>
                        <a:srgbClr val="DBDBDB"/>
                      </a:solidFill>
                      <a:prstDash val="solid"/>
                      <a:round/>
                      <a:headEnd type="none" w="med" len="med"/>
                      <a:tailEnd type="none" w="med" len="med"/>
                    </a:lnT>
                    <a:lnB w="12700" cap="flat" cmpd="sng" algn="ctr">
                      <a:solidFill>
                        <a:srgbClr val="DBDBDB"/>
                      </a:solidFill>
                      <a:prstDash val="solid"/>
                      <a:round/>
                      <a:headEnd type="none" w="med" len="med"/>
                      <a:tailEnd type="none" w="med" len="med"/>
                    </a:lnB>
                    <a:solidFill>
                      <a:schemeClr val="accent6"/>
                    </a:solidFill>
                  </a:tcPr>
                </a:tc>
                <a:tc>
                  <a:txBody>
                    <a:bodyPr/>
                    <a:lstStyle/>
                    <a:p>
                      <a:pPr rtl="0"/>
                      <a:endParaRPr lang="nl-NL" sz="1000" b="0" dirty="0">
                        <a:solidFill>
                          <a:srgbClr val="000000"/>
                        </a:solidFill>
                      </a:endParaRPr>
                    </a:p>
                  </a:txBody>
                  <a:tcPr marL="36000" marR="36000" marT="36000" marB="36000" anchor="ctr">
                    <a:lnL w="12700" cap="flat" cmpd="sng" algn="ctr">
                      <a:solidFill>
                        <a:srgbClr val="DBDBDB"/>
                      </a:solidFill>
                      <a:prstDash val="solid"/>
                      <a:round/>
                      <a:headEnd type="none" w="med" len="med"/>
                      <a:tailEnd type="none" w="med" len="med"/>
                    </a:lnL>
                    <a:lnR w="12700" cap="flat" cmpd="sng" algn="ctr">
                      <a:solidFill>
                        <a:srgbClr val="DBDBDB"/>
                      </a:solidFill>
                      <a:prstDash val="solid"/>
                      <a:round/>
                      <a:headEnd type="none" w="med" len="med"/>
                      <a:tailEnd type="none" w="med" len="med"/>
                    </a:lnR>
                    <a:lnT w="12700" cap="flat" cmpd="sng" algn="ctr">
                      <a:solidFill>
                        <a:srgbClr val="DBDBDB"/>
                      </a:solidFill>
                      <a:prstDash val="solid"/>
                      <a:round/>
                      <a:headEnd type="none" w="med" len="med"/>
                      <a:tailEnd type="none" w="med" len="med"/>
                    </a:lnT>
                    <a:lnB w="12700"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marL="36000" marR="36000" marT="36000" marB="36000" anchor="ctr">
                    <a:lnL w="12700" cap="flat" cmpd="sng" algn="ctr">
                      <a:solidFill>
                        <a:srgbClr val="DBDBDB"/>
                      </a:solidFill>
                      <a:prstDash val="solid"/>
                      <a:round/>
                      <a:headEnd type="none" w="med" len="med"/>
                      <a:tailEnd type="none" w="med" len="med"/>
                    </a:lnL>
                    <a:lnR w="12700" cap="flat" cmpd="sng" algn="ctr">
                      <a:solidFill>
                        <a:srgbClr val="DBDBDB"/>
                      </a:solidFill>
                      <a:prstDash val="solid"/>
                      <a:round/>
                      <a:headEnd type="none" w="med" len="med"/>
                      <a:tailEnd type="none" w="med" len="med"/>
                    </a:lnR>
                    <a:lnT w="12700" cap="flat" cmpd="sng" algn="ctr">
                      <a:solidFill>
                        <a:srgbClr val="DBDBDB"/>
                      </a:solidFill>
                      <a:prstDash val="solid"/>
                      <a:round/>
                      <a:headEnd type="none" w="med" len="med"/>
                      <a:tailEnd type="none" w="med" len="med"/>
                    </a:lnT>
                    <a:lnB w="12700"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marL="36000" marR="36000" marT="36000" marB="36000" anchor="ctr">
                    <a:lnL w="12700" cap="flat" cmpd="sng" algn="ctr">
                      <a:solidFill>
                        <a:srgbClr val="DBDBDB"/>
                      </a:solidFill>
                      <a:prstDash val="solid"/>
                      <a:round/>
                      <a:headEnd type="none" w="med" len="med"/>
                      <a:tailEnd type="none" w="med" len="med"/>
                    </a:lnL>
                    <a:lnR w="12700" cap="flat" cmpd="sng" algn="ctr">
                      <a:solidFill>
                        <a:srgbClr val="DBDBDB"/>
                      </a:solidFill>
                      <a:prstDash val="solid"/>
                      <a:round/>
                      <a:headEnd type="none" w="med" len="med"/>
                      <a:tailEnd type="none" w="med" len="med"/>
                    </a:lnR>
                    <a:lnT w="12700" cap="flat" cmpd="sng" algn="ctr">
                      <a:solidFill>
                        <a:srgbClr val="DBDBDB"/>
                      </a:solidFill>
                      <a:prstDash val="solid"/>
                      <a:round/>
                      <a:headEnd type="none" w="med" len="med"/>
                      <a:tailEnd type="none" w="med" len="med"/>
                    </a:lnT>
                    <a:lnB w="12700" cap="flat" cmpd="sng" algn="ctr">
                      <a:solidFill>
                        <a:srgbClr val="DBDBDB"/>
                      </a:solidFill>
                      <a:prstDash val="solid"/>
                      <a:round/>
                      <a:headEnd type="none" w="med" len="med"/>
                      <a:tailEnd type="none" w="med" len="med"/>
                    </a:lnB>
                    <a:noFill/>
                  </a:tcPr>
                </a:tc>
                <a:tc>
                  <a:txBody>
                    <a:bodyPr/>
                    <a:lstStyle/>
                    <a:p>
                      <a:pPr marL="0" indent="0" rtl="0">
                        <a:buClr>
                          <a:schemeClr val="bg1"/>
                        </a:buClr>
                        <a:buFont typeface="Wingdings" panose="05000000000000000000" pitchFamily="2" charset="2"/>
                        <a:buNone/>
                      </a:pPr>
                      <a:r>
                        <a:rPr lang="nl-NL" sz="1000" dirty="0">
                          <a:solidFill>
                            <a:srgbClr val="000000"/>
                          </a:solidFill>
                        </a:rPr>
                        <a:t>Krimpen aan den IJssel heeft doelgroepenvervoer gegund aan één vervoerd. Deze opdracht is in twee percelen aanbesteed. Perceel 1 betreft het leerlingenvervoer, perceel 2 het Wmo-vevoer. Hierbij is ook het Jeugdwetvervoer inbegrepen: dat mag in beide percelen worden uitgevoerd.</a:t>
                      </a:r>
                    </a:p>
                  </a:txBody>
                  <a:tcPr marL="36000" marR="36000" marT="36000" marB="36000" anchor="ctr">
                    <a:lnL w="12700" cap="flat" cmpd="sng" algn="ctr">
                      <a:solidFill>
                        <a:srgbClr val="DBDBDB"/>
                      </a:solidFill>
                      <a:prstDash val="solid"/>
                      <a:round/>
                      <a:headEnd type="none" w="med" len="med"/>
                      <a:tailEnd type="none" w="med" len="med"/>
                    </a:lnL>
                    <a:lnR w="12700" cap="flat" cmpd="sng" algn="ctr">
                      <a:solidFill>
                        <a:srgbClr val="DBDBDB"/>
                      </a:solidFill>
                      <a:prstDash val="solid"/>
                      <a:round/>
                      <a:headEnd type="none" w="med" len="med"/>
                      <a:tailEnd type="none" w="med" len="med"/>
                    </a:lnR>
                    <a:lnT w="12700" cap="flat" cmpd="sng" algn="ctr">
                      <a:solidFill>
                        <a:srgbClr val="DBDBDB"/>
                      </a:solidFill>
                      <a:prstDash val="solid"/>
                      <a:round/>
                      <a:headEnd type="none" w="med" len="med"/>
                      <a:tailEnd type="none" w="med" len="med"/>
                    </a:lnT>
                    <a:lnB w="12700"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4096743409"/>
                  </a:ext>
                </a:extLst>
              </a:tr>
              <a:tr h="0">
                <a:tc>
                  <a:txBody>
                    <a:bodyPr/>
                    <a:lstStyle/>
                    <a:p>
                      <a:pPr algn="l" rtl="0"/>
                      <a:r>
                        <a:rPr lang="nl-NL" sz="1000" b="0" dirty="0">
                          <a:solidFill>
                            <a:srgbClr val="000000"/>
                          </a:solidFill>
                        </a:rPr>
                        <a:t>Gemeente Rotterdam</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12700"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chemeClr val="accent6"/>
                    </a:solidFill>
                  </a:tcPr>
                </a:tc>
                <a:tc>
                  <a:txBody>
                    <a:bodyPr/>
                    <a:lstStyle/>
                    <a:p>
                      <a:pPr rtl="0"/>
                      <a:endParaRPr lang="nl-NL" sz="1000" b="0" dirty="0">
                        <a:solidFill>
                          <a:srgbClr val="000000"/>
                        </a:solidFill>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12700"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12700"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12700"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indent="0" rtl="0">
                        <a:buClr>
                          <a:schemeClr val="bg1"/>
                        </a:buClr>
                        <a:buFont typeface="Wingdings" panose="05000000000000000000" pitchFamily="2" charset="2"/>
                        <a:buNone/>
                      </a:pPr>
                      <a:r>
                        <a:rPr lang="nl-NL" sz="1000" dirty="0">
                          <a:solidFill>
                            <a:srgbClr val="000000"/>
                          </a:solidFill>
                        </a:rPr>
                        <a:t>Gemeente Rotterdam heeft meerdere vervoersvoorzieningen, waaronder Wmo- en leerlingenvervoer, ondergebracht in één contract. Wmo- en leerlingenvervoer wordt gereden door Trevvel.</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12700"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311587680"/>
                  </a:ext>
                </a:extLst>
              </a:tr>
              <a:tr h="529200">
                <a:tc>
                  <a:txBody>
                    <a:bodyPr/>
                    <a:lstStyle/>
                    <a:p>
                      <a:pPr algn="l" rtl="0"/>
                      <a:r>
                        <a:rPr lang="nl-NL" sz="1000" b="0" noProof="0" dirty="0">
                          <a:solidFill>
                            <a:srgbClr val="000000"/>
                          </a:solidFill>
                        </a:rPr>
                        <a:t>Regio Arnhem-Nijmegen</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rtl="0"/>
                      <a:endParaRPr lang="nl-NL" sz="1000" b="0" dirty="0">
                        <a:solidFill>
                          <a:srgbClr val="000000"/>
                        </a:solidFill>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indent="0" rtl="0">
                        <a:buClr>
                          <a:schemeClr val="bg1"/>
                        </a:buClr>
                        <a:buFont typeface="Wingdings" panose="05000000000000000000" pitchFamily="2" charset="2"/>
                        <a:buNone/>
                      </a:pPr>
                      <a:r>
                        <a:rPr lang="nl-NL" sz="1000" dirty="0">
                          <a:solidFill>
                            <a:srgbClr val="000000"/>
                          </a:solidFill>
                        </a:rPr>
                        <a:t>Voorheen hadden de 18 gemeenten één regiecentrale voor vraagafhankelijk en routgebonden vervoer. In 2020 is voor het LLV de regie weer helemal teruggebracht bij vervoerders, voor Wmo blijft er wel een extern callcenter bestaan maar plannen vervoerders de ritten weer zelf.</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666531570"/>
                  </a:ext>
                </a:extLst>
              </a:tr>
              <a:tr h="0">
                <a:tc>
                  <a:txBody>
                    <a:bodyPr/>
                    <a:lstStyle/>
                    <a:p>
                      <a:pPr algn="l" rtl="0"/>
                      <a:r>
                        <a:rPr lang="nl-NL" sz="1000" b="0" noProof="0" dirty="0">
                          <a:solidFill>
                            <a:srgbClr val="000000"/>
                          </a:solidFill>
                        </a:rPr>
                        <a:t>Regio Foodvalley</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rtl="0"/>
                      <a:endParaRPr lang="nl-NL" sz="1000" b="0" dirty="0">
                        <a:solidFill>
                          <a:srgbClr val="000000"/>
                        </a:solidFill>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indent="0" rtl="0">
                        <a:buClr>
                          <a:schemeClr val="bg1"/>
                        </a:buClr>
                        <a:buFont typeface="Wingdings" panose="05000000000000000000" pitchFamily="2" charset="2"/>
                        <a:buNone/>
                      </a:pPr>
                      <a:r>
                        <a:rPr lang="nl-NL" sz="1000" dirty="0">
                          <a:solidFill>
                            <a:srgbClr val="000000"/>
                          </a:solidFill>
                        </a:rPr>
                        <a:t>In 2017 organiseerde één regiecentrale ‘de Valleihopper’ het Wmo-vervoer van alle gemeenten en het LLV van sommige gemeenten. Het bleek echter dat één regiecentrale voor Wmo- en leerlingenvervoer voor problemen zorgde. Voor LLV is de regie dan ook terug bij vervoerders.</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892451260"/>
                  </a:ext>
                </a:extLst>
              </a:tr>
              <a:tr h="0">
                <a:tc>
                  <a:txBody>
                    <a:bodyPr/>
                    <a:lstStyle/>
                    <a:p>
                      <a:pPr algn="l" rtl="0"/>
                      <a:r>
                        <a:rPr lang="nl-NL" sz="1000" b="0" noProof="0" dirty="0">
                          <a:solidFill>
                            <a:srgbClr val="000000"/>
                          </a:solidFill>
                        </a:rPr>
                        <a:t>Regio Gooi en Vechtstreek</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rtl="0"/>
                      <a:endParaRPr lang="nl-NL" sz="1000" b="0" dirty="0">
                        <a:solidFill>
                          <a:srgbClr val="000000"/>
                        </a:solidFill>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indent="0" rtl="0">
                        <a:buClr>
                          <a:schemeClr val="bg1"/>
                        </a:buClr>
                        <a:buFont typeface="Wingdings" panose="05000000000000000000" pitchFamily="2" charset="2"/>
                        <a:buNone/>
                      </a:pPr>
                      <a:r>
                        <a:rPr lang="nl-NL" sz="1000" dirty="0">
                          <a:solidFill>
                            <a:srgbClr val="000000"/>
                          </a:solidFill>
                        </a:rPr>
                        <a:t>De gemeenteraden in Gooi en Vechstreek hebben in 2020 besloten om Wmo-, leerlingen en jeugdhulpvervoer onder te brengen in één gemeenschappelijke regeling en één regionaal vervoersbedrijf.</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3423051921"/>
                  </a:ext>
                </a:extLst>
              </a:tr>
              <a:tr h="0">
                <a:tc>
                  <a:txBody>
                    <a:bodyPr/>
                    <a:lstStyle/>
                    <a:p>
                      <a:pPr algn="l" rtl="0"/>
                      <a:r>
                        <a:rPr lang="nl-NL" sz="1000" b="0" noProof="0" dirty="0">
                          <a:solidFill>
                            <a:srgbClr val="000000"/>
                          </a:solidFill>
                        </a:rPr>
                        <a:t>Regio Midden-Brabant</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rtl="0"/>
                      <a:endParaRPr lang="nl-NL" sz="1000" b="0" dirty="0">
                        <a:solidFill>
                          <a:srgbClr val="000000"/>
                        </a:solidFill>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indent="0" rtl="0">
                        <a:buClr>
                          <a:schemeClr val="bg1"/>
                        </a:buClr>
                        <a:buFont typeface="Wingdings" panose="05000000000000000000" pitchFamily="2" charset="2"/>
                        <a:buNone/>
                      </a:pPr>
                      <a:r>
                        <a:rPr lang="nl-NL" sz="1000" dirty="0">
                          <a:solidFill>
                            <a:srgbClr val="000000"/>
                          </a:solidFill>
                        </a:rPr>
                        <a:t>In Midden-Brabant wordt Wmo- en leerlingenvervoer gezamenlijk georganiseerd onder  de noemer ‘Regiovervoer’ met als doel bieden van efficiënter vervoer op maat dat ook aansluit op streek- en stadsvervoer. De regie loopt via regiecentrale PZN. </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380034551"/>
                  </a:ext>
                </a:extLst>
              </a:tr>
              <a:tr h="0">
                <a:tc>
                  <a:txBody>
                    <a:bodyPr/>
                    <a:lstStyle/>
                    <a:p>
                      <a:pPr algn="l" rtl="0"/>
                      <a:r>
                        <a:rPr lang="nl-NL" sz="1000" b="0" noProof="0" dirty="0">
                          <a:solidFill>
                            <a:srgbClr val="000000"/>
                          </a:solidFill>
                        </a:rPr>
                        <a:t>Samenwerkingsverband Achterhoek</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rtl="0"/>
                      <a:endParaRPr lang="nl-NL" sz="1000" b="0" dirty="0">
                        <a:solidFill>
                          <a:srgbClr val="000000"/>
                        </a:solidFill>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endParaRPr lang="nl-NL" sz="1000" dirty="0">
                        <a:solidFill>
                          <a:srgbClr val="000000"/>
                        </a:solidFill>
                      </a:endParaRP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indent="0" rtl="0">
                        <a:buClr>
                          <a:schemeClr val="bg1"/>
                        </a:buClr>
                        <a:buFont typeface="Wingdings" panose="05000000000000000000" pitchFamily="2" charset="2"/>
                        <a:buNone/>
                      </a:pPr>
                      <a:r>
                        <a:rPr lang="nl-NL" sz="1000" dirty="0">
                          <a:solidFill>
                            <a:srgbClr val="000000"/>
                          </a:solidFill>
                        </a:rPr>
                        <a:t>Regionaal vervoerssysteem ZOOV organiseert het Wmo-, leerlingen- en sociale werkvoorzieningvervoer. Wmo wordt verzorgd door 3 vervoerders, leerlingenvervoer wordt uitgevoerd door onbekend aantal vervoerders.</a:t>
                      </a:r>
                    </a:p>
                  </a:txBody>
                  <a:tcPr marL="36000" marR="36000" marT="36000" marB="36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2914699584"/>
                  </a:ext>
                </a:extLst>
              </a:tr>
            </a:tbl>
          </a:graphicData>
        </a:graphic>
      </p:graphicFrame>
      <p:sp>
        <p:nvSpPr>
          <p:cNvPr id="6" name="Text Placeholder 5">
            <a:extLst>
              <a:ext uri="{FF2B5EF4-FFF2-40B4-BE49-F238E27FC236}">
                <a16:creationId xmlns:a16="http://schemas.microsoft.com/office/drawing/2014/main" id="{52E0B898-88F4-412D-A52E-8E5670BDDE40}"/>
              </a:ext>
            </a:extLst>
          </p:cNvPr>
          <p:cNvSpPr>
            <a:spLocks noGrp="1"/>
          </p:cNvSpPr>
          <p:nvPr>
            <p:ph type="body" idx="5"/>
          </p:nvPr>
        </p:nvSpPr>
        <p:spPr/>
        <p:txBody>
          <a:bodyPr/>
          <a:lstStyle/>
          <a:p>
            <a:endParaRPr lang="nl-NL"/>
          </a:p>
        </p:txBody>
      </p:sp>
      <p:sp>
        <p:nvSpPr>
          <p:cNvPr id="7" name="Footer Placeholder 6">
            <a:extLst>
              <a:ext uri="{FF2B5EF4-FFF2-40B4-BE49-F238E27FC236}">
                <a16:creationId xmlns:a16="http://schemas.microsoft.com/office/drawing/2014/main" id="{2EF5DB2A-BD83-43EF-B32F-6AE9BCDC27E1}"/>
              </a:ext>
            </a:extLst>
          </p:cNvPr>
          <p:cNvSpPr>
            <a:spLocks noGrp="1"/>
          </p:cNvSpPr>
          <p:nvPr>
            <p:ph type="ftr" idx="11"/>
          </p:nvPr>
        </p:nvSpPr>
        <p:spPr/>
        <p:txBody>
          <a:bodyPr/>
          <a:lstStyle/>
          <a:p>
            <a:r>
              <a:rPr lang="nl-NL" dirty="0"/>
              <a:t>Bron: websites van gemeenten, vervoerders, regiecentrales, TaxiPro</a:t>
            </a:r>
          </a:p>
        </p:txBody>
      </p:sp>
      <p:sp>
        <p:nvSpPr>
          <p:cNvPr id="8" name="Slide Number Placeholder 7">
            <a:extLst>
              <a:ext uri="{FF2B5EF4-FFF2-40B4-BE49-F238E27FC236}">
                <a16:creationId xmlns:a16="http://schemas.microsoft.com/office/drawing/2014/main" id="{E6085E2A-8F87-4AFC-B689-9C5721963330}"/>
              </a:ext>
            </a:extLst>
          </p:cNvPr>
          <p:cNvSpPr>
            <a:spLocks noGrp="1"/>
          </p:cNvSpPr>
          <p:nvPr>
            <p:ph type="sldNum" idx="12"/>
          </p:nvPr>
        </p:nvSpPr>
        <p:spPr/>
        <p:txBody>
          <a:bodyPr/>
          <a:lstStyle/>
          <a:p>
            <a:fld id="{00000000-1234-1234-1234-123412341234}" type="slidenum">
              <a:rPr lang="nl-NL" smtClean="0"/>
              <a:pPr/>
              <a:t>37</a:t>
            </a:fld>
            <a:endParaRPr lang="nl-NL" dirty="0"/>
          </a:p>
        </p:txBody>
      </p:sp>
      <p:sp>
        <p:nvSpPr>
          <p:cNvPr id="9" name="Text Placeholder 8">
            <a:extLst>
              <a:ext uri="{FF2B5EF4-FFF2-40B4-BE49-F238E27FC236}">
                <a16:creationId xmlns:a16="http://schemas.microsoft.com/office/drawing/2014/main" id="{69CC86BD-5A57-4675-B4DD-14804CE6B346}"/>
              </a:ext>
            </a:extLst>
          </p:cNvPr>
          <p:cNvSpPr>
            <a:spLocks noGrp="1"/>
          </p:cNvSpPr>
          <p:nvPr>
            <p:ph type="body" idx="6"/>
          </p:nvPr>
        </p:nvSpPr>
        <p:spPr>
          <a:noFill/>
          <a:ln>
            <a:noFill/>
          </a:ln>
        </p:spPr>
        <p:txBody>
          <a:bodyPr spcFirstLastPara="1" vert="horz" wrap="square" lIns="7200" tIns="0" rIns="0" bIns="0" rtlCol="0" anchor="t" anchorCtr="0">
            <a:noAutofit/>
          </a:bodyPr>
          <a:lstStyle/>
          <a:p>
            <a:pPr marL="0" indent="0"/>
            <a:r>
              <a:rPr lang="nl-NL" dirty="0"/>
              <a:t>Zoom-in op verschillende manieren om Wmo-vervoer met leerlingenvervoer (LLV) te combineren </a:t>
            </a:r>
          </a:p>
        </p:txBody>
      </p:sp>
      <p:sp>
        <p:nvSpPr>
          <p:cNvPr id="10" name="Title 9">
            <a:extLst>
              <a:ext uri="{FF2B5EF4-FFF2-40B4-BE49-F238E27FC236}">
                <a16:creationId xmlns:a16="http://schemas.microsoft.com/office/drawing/2014/main" id="{5CC6373E-6BE3-4D54-AF23-B8B79A5E7C5E}"/>
              </a:ext>
            </a:extLst>
          </p:cNvPr>
          <p:cNvSpPr>
            <a:spLocks noGrp="1"/>
          </p:cNvSpPr>
          <p:nvPr>
            <p:ph type="title"/>
          </p:nvPr>
        </p:nvSpPr>
        <p:spPr/>
        <p:txBody>
          <a:bodyPr vert="horz"/>
          <a:lstStyle/>
          <a:p>
            <a:r>
              <a:rPr lang="nl-NL" dirty="0"/>
              <a:t>Regio’s en gemeenten combineren Wmo-vervoer op verschillende manieren met leerlingenvervoer</a:t>
            </a:r>
          </a:p>
        </p:txBody>
      </p:sp>
      <p:pic>
        <p:nvPicPr>
          <p:cNvPr id="17" name="Graphic 16" descr="Checkmark with solid fill">
            <a:extLst>
              <a:ext uri="{FF2B5EF4-FFF2-40B4-BE49-F238E27FC236}">
                <a16:creationId xmlns:a16="http://schemas.microsoft.com/office/drawing/2014/main" id="{AB790A75-79F6-4F0F-9C28-56E1E0483D35}"/>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206902" y="2607775"/>
            <a:ext cx="309095" cy="309095"/>
          </a:xfrm>
          <a:prstGeom prst="rect">
            <a:avLst/>
          </a:prstGeom>
        </p:spPr>
      </p:pic>
      <p:pic>
        <p:nvPicPr>
          <p:cNvPr id="18" name="Graphic 17" descr="Checkmark with solid fill">
            <a:extLst>
              <a:ext uri="{FF2B5EF4-FFF2-40B4-BE49-F238E27FC236}">
                <a16:creationId xmlns:a16="http://schemas.microsoft.com/office/drawing/2014/main" id="{F4EF4B4A-FA4C-4D36-8E2F-32EADF995B84}"/>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99976" y="2607775"/>
            <a:ext cx="309095" cy="309095"/>
          </a:xfrm>
          <a:prstGeom prst="rect">
            <a:avLst/>
          </a:prstGeom>
        </p:spPr>
      </p:pic>
      <p:pic>
        <p:nvPicPr>
          <p:cNvPr id="20" name="Graphic 19" descr="Checkmark with solid fill">
            <a:extLst>
              <a:ext uri="{FF2B5EF4-FFF2-40B4-BE49-F238E27FC236}">
                <a16:creationId xmlns:a16="http://schemas.microsoft.com/office/drawing/2014/main" id="{DA1F4090-EA29-4AE6-93B0-115028D47F30}"/>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602264" y="5274596"/>
            <a:ext cx="309095" cy="309095"/>
          </a:xfrm>
          <a:prstGeom prst="rect">
            <a:avLst/>
          </a:prstGeom>
        </p:spPr>
      </p:pic>
      <p:pic>
        <p:nvPicPr>
          <p:cNvPr id="22" name="Graphic 21" descr="Checkmark with solid fill">
            <a:extLst>
              <a:ext uri="{FF2B5EF4-FFF2-40B4-BE49-F238E27FC236}">
                <a16:creationId xmlns:a16="http://schemas.microsoft.com/office/drawing/2014/main" id="{797DDE4C-690C-48FF-81FB-FF055A4A0227}"/>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602264" y="4719840"/>
            <a:ext cx="309095" cy="309095"/>
          </a:xfrm>
          <a:prstGeom prst="rect">
            <a:avLst/>
          </a:prstGeom>
        </p:spPr>
      </p:pic>
      <p:pic>
        <p:nvPicPr>
          <p:cNvPr id="31" name="Graphic 30" descr="Checkmark with solid fill">
            <a:extLst>
              <a:ext uri="{FF2B5EF4-FFF2-40B4-BE49-F238E27FC236}">
                <a16:creationId xmlns:a16="http://schemas.microsoft.com/office/drawing/2014/main" id="{C110317D-843D-4FCE-BBEA-A90FDBD092A6}"/>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206902" y="4212639"/>
            <a:ext cx="309095" cy="309095"/>
          </a:xfrm>
          <a:prstGeom prst="rect">
            <a:avLst/>
          </a:prstGeom>
        </p:spPr>
      </p:pic>
      <p:pic>
        <p:nvPicPr>
          <p:cNvPr id="32" name="Graphic 31" descr="Checkmark with solid fill">
            <a:extLst>
              <a:ext uri="{FF2B5EF4-FFF2-40B4-BE49-F238E27FC236}">
                <a16:creationId xmlns:a16="http://schemas.microsoft.com/office/drawing/2014/main" id="{20295EC2-21A2-404A-A5DD-6D015C1D64B7}"/>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99976" y="4212639"/>
            <a:ext cx="309095" cy="309095"/>
          </a:xfrm>
          <a:prstGeom prst="rect">
            <a:avLst/>
          </a:prstGeom>
        </p:spPr>
      </p:pic>
      <p:pic>
        <p:nvPicPr>
          <p:cNvPr id="36" name="Graphic 35" descr="Checkmark with solid fill">
            <a:extLst>
              <a:ext uri="{FF2B5EF4-FFF2-40B4-BE49-F238E27FC236}">
                <a16:creationId xmlns:a16="http://schemas.microsoft.com/office/drawing/2014/main" id="{D381E775-FC56-41FB-AAE3-4DE18A03C66E}"/>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602264" y="4212639"/>
            <a:ext cx="309095" cy="309095"/>
          </a:xfrm>
          <a:prstGeom prst="rect">
            <a:avLst/>
          </a:prstGeom>
        </p:spPr>
      </p:pic>
      <p:pic>
        <p:nvPicPr>
          <p:cNvPr id="39" name="Graphic 38" descr="Close with solid fill">
            <a:extLst>
              <a:ext uri="{FF2B5EF4-FFF2-40B4-BE49-F238E27FC236}">
                <a16:creationId xmlns:a16="http://schemas.microsoft.com/office/drawing/2014/main" id="{DD6D6391-C99E-456F-8949-BF35CFE6691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02011" y="3659490"/>
            <a:ext cx="309600" cy="309600"/>
          </a:xfrm>
          <a:prstGeom prst="rect">
            <a:avLst/>
          </a:prstGeom>
        </p:spPr>
      </p:pic>
      <p:pic>
        <p:nvPicPr>
          <p:cNvPr id="19" name="Graphic 18" descr="Checkmark with solid fill">
            <a:extLst>
              <a:ext uri="{FF2B5EF4-FFF2-40B4-BE49-F238E27FC236}">
                <a16:creationId xmlns:a16="http://schemas.microsoft.com/office/drawing/2014/main" id="{28F12C79-08D3-4B82-9095-D05F264F0A33}"/>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99976" y="2086346"/>
            <a:ext cx="309095" cy="309095"/>
          </a:xfrm>
          <a:prstGeom prst="rect">
            <a:avLst/>
          </a:prstGeom>
        </p:spPr>
      </p:pic>
      <p:pic>
        <p:nvPicPr>
          <p:cNvPr id="25" name="Graphic 24" descr="Close with solid fill">
            <a:extLst>
              <a:ext uri="{FF2B5EF4-FFF2-40B4-BE49-F238E27FC236}">
                <a16:creationId xmlns:a16="http://schemas.microsoft.com/office/drawing/2014/main" id="{0ED285EE-31B9-4224-997D-9075972D228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02011" y="3138758"/>
            <a:ext cx="309600" cy="309600"/>
          </a:xfrm>
          <a:prstGeom prst="rect">
            <a:avLst/>
          </a:prstGeom>
        </p:spPr>
      </p:pic>
    </p:spTree>
    <p:extLst>
      <p:ext uri="{BB962C8B-B14F-4D97-AF65-F5344CB8AC3E}">
        <p14:creationId xmlns:p14="http://schemas.microsoft.com/office/powerpoint/2010/main" val="93852348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FB00C7C-D3E7-4A96-88AB-D8C4AFB7C271}"/>
              </a:ext>
            </a:extLst>
          </p:cNvPr>
          <p:cNvGraphicFramePr>
            <a:graphicFrameLocks noChangeAspect="1"/>
          </p:cNvGraphicFramePr>
          <p:nvPr>
            <p:custDataLst>
              <p:tags r:id="rId2"/>
            </p:custDataLst>
            <p:extLst>
              <p:ext uri="{D42A27DB-BD31-4B8C-83A1-F6EECF244321}">
                <p14:modId xmlns:p14="http://schemas.microsoft.com/office/powerpoint/2010/main" val="2279886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8" name="think-cell Slide" r:id="rId5" imgW="425" imgH="424" progId="TCLayout.ActiveDocument.1">
                  <p:embed/>
                </p:oleObj>
              </mc:Choice>
              <mc:Fallback>
                <p:oleObj name="think-cell Slide" r:id="rId5" imgW="425" imgH="424" progId="TCLayout.ActiveDocument.1">
                  <p:embed/>
                  <p:pic>
                    <p:nvPicPr>
                      <p:cNvPr id="8" name="Object 7" hidden="1">
                        <a:extLst>
                          <a:ext uri="{FF2B5EF4-FFF2-40B4-BE49-F238E27FC236}">
                            <a16:creationId xmlns:a16="http://schemas.microsoft.com/office/drawing/2014/main" id="{5FB00C7C-D3E7-4A96-88AB-D8C4AFB7C2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1" name="Content Placeholder 10">
            <a:extLst>
              <a:ext uri="{FF2B5EF4-FFF2-40B4-BE49-F238E27FC236}">
                <a16:creationId xmlns:a16="http://schemas.microsoft.com/office/drawing/2014/main" id="{C112B762-71D9-4496-BD4B-F845798302AA}"/>
              </a:ext>
            </a:extLst>
          </p:cNvPr>
          <p:cNvGraphicFramePr>
            <a:graphicFrameLocks noGrp="1"/>
          </p:cNvGraphicFramePr>
          <p:nvPr>
            <p:ph sz="quarter" idx="18"/>
            <p:extLst>
              <p:ext uri="{D42A27DB-BD31-4B8C-83A1-F6EECF244321}">
                <p14:modId xmlns:p14="http://schemas.microsoft.com/office/powerpoint/2010/main" val="847048754"/>
              </p:ext>
            </p:extLst>
          </p:nvPr>
        </p:nvGraphicFramePr>
        <p:xfrm>
          <a:off x="666750" y="1592263"/>
          <a:ext cx="10866438" cy="3564000"/>
        </p:xfrm>
        <a:graphic>
          <a:graphicData uri="http://schemas.openxmlformats.org/drawingml/2006/table">
            <a:tbl>
              <a:tblPr firstRow="1" bandRow="1">
                <a:tableStyleId>{5C22544A-7EE6-4342-B048-85BDC9FD1C3A}</a:tableStyleId>
              </a:tblPr>
              <a:tblGrid>
                <a:gridCol w="1754233">
                  <a:extLst>
                    <a:ext uri="{9D8B030D-6E8A-4147-A177-3AD203B41FA5}">
                      <a16:colId xmlns:a16="http://schemas.microsoft.com/office/drawing/2014/main" val="1933676351"/>
                    </a:ext>
                  </a:extLst>
                </a:gridCol>
                <a:gridCol w="9112205">
                  <a:extLst>
                    <a:ext uri="{9D8B030D-6E8A-4147-A177-3AD203B41FA5}">
                      <a16:colId xmlns:a16="http://schemas.microsoft.com/office/drawing/2014/main" val="864462212"/>
                    </a:ext>
                  </a:extLst>
                </a:gridCol>
              </a:tblGrid>
              <a:tr h="324000">
                <a:tc>
                  <a:txBody>
                    <a:bodyPr/>
                    <a:lstStyle/>
                    <a:p>
                      <a:pPr algn="ctr" rtl="0"/>
                      <a:r>
                        <a:rPr lang="nl-NL" sz="1000" i="0" dirty="0"/>
                        <a:t>Term</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algn="ctr" rtl="0"/>
                      <a:r>
                        <a:rPr lang="nl-NL" sz="1000" dirty="0"/>
                        <a:t>Toelichting</a:t>
                      </a:r>
                    </a:p>
                  </a:txBody>
                  <a:tcPr anchor="ctr">
                    <a:lnL w="9525" cap="flat" cmpd="sng" algn="ctr">
                      <a:solidFill>
                        <a:schemeClr val="bg1"/>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82091210"/>
                  </a:ext>
                </a:extLst>
              </a:tr>
              <a:tr h="540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b="1" i="0" dirty="0"/>
                        <a:t>Collectief Wmo-vervoer</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000000"/>
                          </a:solidFill>
                          <a:effectLst/>
                          <a:uLnTx/>
                          <a:uFillTx/>
                          <a:latin typeface="Corbel"/>
                          <a:ea typeface="+mn-ea"/>
                          <a:cs typeface="+mn-cs"/>
                        </a:rPr>
                        <a:t>Betreft voorziening binnen het doelgroepenvervoer voor inwoners met een Wmo-indicatie die voor sociaal-recreatieve doeleinden met het vervoer willen reizen. Gemeenten hanteren soms nog andere termen zoals </a:t>
                      </a:r>
                      <a:r>
                        <a:rPr kumimoji="0" lang="nl-NL" sz="1000" b="0" i="1" u="none" strike="noStrike" kern="1200" cap="none" spc="0" normalizeH="0" baseline="0" noProof="0" dirty="0">
                          <a:ln>
                            <a:noFill/>
                          </a:ln>
                          <a:solidFill>
                            <a:srgbClr val="000000"/>
                          </a:solidFill>
                          <a:effectLst/>
                          <a:uLnTx/>
                          <a:uFillTx/>
                          <a:latin typeface="Corbel"/>
                          <a:ea typeface="+mn-ea"/>
                          <a:cs typeface="+mn-cs"/>
                        </a:rPr>
                        <a:t>‘Sociaal Vervoer’</a:t>
                      </a:r>
                      <a:r>
                        <a:rPr kumimoji="0" lang="nl-NL" sz="1000" b="0" i="0" u="none" strike="noStrike" kern="1200" cap="none" spc="0" normalizeH="0" baseline="0" noProof="0" dirty="0">
                          <a:ln>
                            <a:noFill/>
                          </a:ln>
                          <a:solidFill>
                            <a:srgbClr val="000000"/>
                          </a:solidFill>
                          <a:effectLst/>
                          <a:uLnTx/>
                          <a:uFillTx/>
                          <a:latin typeface="Corbel"/>
                          <a:ea typeface="+mn-ea"/>
                          <a:cs typeface="+mn-cs"/>
                        </a:rPr>
                        <a:t>, </a:t>
                      </a:r>
                      <a:r>
                        <a:rPr kumimoji="0" lang="nl-NL" sz="1000" b="0" i="1" u="none" strike="noStrike" kern="1200" cap="none" spc="0" normalizeH="0" baseline="0" noProof="0" dirty="0">
                          <a:ln>
                            <a:noFill/>
                          </a:ln>
                          <a:solidFill>
                            <a:srgbClr val="000000"/>
                          </a:solidFill>
                          <a:effectLst/>
                          <a:uLnTx/>
                          <a:uFillTx/>
                          <a:latin typeface="Corbel"/>
                          <a:ea typeface="+mn-ea"/>
                          <a:cs typeface="+mn-cs"/>
                        </a:rPr>
                        <a:t>‘Aanvullend Openbaar Vervoer’</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1276804784"/>
                  </a:ext>
                </a:extLst>
              </a:tr>
              <a:tr h="540000">
                <a:tc>
                  <a:txBody>
                    <a:bodyPr/>
                    <a:lstStyle/>
                    <a:p>
                      <a:pPr marL="0" marR="0" lvl="0" indent="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kumimoji="0" lang="nl-NL" sz="1000" b="1" i="0" u="none" strike="noStrike" kern="1200" cap="none" spc="0" normalizeH="0" baseline="0" dirty="0">
                          <a:ln>
                            <a:noFill/>
                          </a:ln>
                          <a:solidFill>
                            <a:srgbClr val="000000"/>
                          </a:solidFill>
                          <a:effectLst/>
                          <a:uLnTx/>
                          <a:uFillTx/>
                          <a:latin typeface="Corbel"/>
                          <a:ea typeface="+mn-ea"/>
                          <a:cs typeface="+mn-cs"/>
                        </a:rPr>
                        <a:t>Indicatie</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000000"/>
                          </a:solidFill>
                          <a:effectLst/>
                          <a:uLnTx/>
                          <a:uFillTx/>
                          <a:latin typeface="Corbel"/>
                          <a:ea typeface="+mn-ea"/>
                          <a:cs typeface="+mn-cs"/>
                        </a:rPr>
                        <a:t>Om aanspraak te kunnen maken op Wmo-vervoer (of andere Wmo-voorzieningen) moet men een aanvraag doen bij de gemeente. De gemeente bepaalt dan aan de hand van een aantal vragen of de persoon in kwestie wel/geen recht heeft op een vervoerspas. </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3416549717"/>
                  </a:ext>
                </a:extLst>
              </a:tr>
              <a:tr h="540000">
                <a:tc>
                  <a:txBody>
                    <a:bodyPr/>
                    <a:lstStyle/>
                    <a:p>
                      <a:pPr marL="0" marR="0" lvl="0" indent="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kumimoji="0" lang="nl-NL" sz="1000" b="1" i="0" u="none" strike="noStrike" kern="1200" cap="none" spc="0" normalizeH="0" baseline="0" dirty="0">
                          <a:ln>
                            <a:noFill/>
                          </a:ln>
                          <a:solidFill>
                            <a:srgbClr val="000000"/>
                          </a:solidFill>
                          <a:effectLst/>
                          <a:uLnTx/>
                          <a:uFillTx/>
                          <a:latin typeface="Corbel"/>
                          <a:ea typeface="+mn-ea"/>
                          <a:cs typeface="+mn-cs"/>
                        </a:rPr>
                        <a:t>Lichamelijke beperking</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000000"/>
                          </a:solidFill>
                          <a:effectLst/>
                          <a:uLnTx/>
                          <a:uFillTx/>
                          <a:latin typeface="Corbel"/>
                          <a:ea typeface="+mn-ea"/>
                          <a:cs typeface="+mn-cs"/>
                        </a:rPr>
                        <a:t>Iemand met een lichamelijke beperking ervaart één of meer beperkingen op het gebied van bewegen, zien en horen.</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3603776361"/>
                  </a:ext>
                </a:extLst>
              </a:tr>
              <a:tr h="540000">
                <a:tc>
                  <a:txBody>
                    <a:bodyPr/>
                    <a:lstStyle/>
                    <a:p>
                      <a:pPr rtl="0"/>
                      <a:r>
                        <a:rPr lang="nl-NL" sz="1000" b="1" i="0" dirty="0"/>
                        <a:t>Regiecentrale</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rtl="0"/>
                      <a:r>
                        <a:rPr lang="nl-NL" sz="1000" dirty="0"/>
                        <a:t>Gemeenten kunnen een deel van hun taken delegeren aan een regiecentrale:meestal zijn dat de ritplanning en het boekingsproces maar het kan ook gaan om de aanbesteding, contractmanagement en het indicatieproces. Regiecentrales kunnen alleen voor doelgroepenvervoer worden ingezet en/of openbaar vervoer.  </a:t>
                      </a:r>
                      <a:r>
                        <a:rPr lang="nl-NL" sz="1000" i="1" dirty="0"/>
                        <a:t>Synoniemen:  ‘vervoercentrale’, ‘mobiliteitscentrale’ </a:t>
                      </a:r>
                      <a:endParaRPr lang="nl-NL" sz="1000" dirty="0"/>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1019053033"/>
                  </a:ext>
                </a:extLst>
              </a:tr>
              <a:tr h="540000">
                <a:tc>
                  <a:txBody>
                    <a:bodyPr/>
                    <a:lstStyle/>
                    <a:p>
                      <a:pPr rtl="0"/>
                      <a:r>
                        <a:rPr lang="nl-NL" sz="1000" b="1" i="0" dirty="0"/>
                        <a:t>Routevervoer</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rtl="0"/>
                      <a:r>
                        <a:rPr lang="nl-NL" sz="1000" dirty="0"/>
                        <a:t>Vervoersdienst die in een vaste samenstelling van reizigers rijdt op bepaalde tijdstippen. In het doelgroepenvervoer zijn bijvoorbeeld leerlingenvervoer en vervoer naar dagbesteding route- en tijdgebonden. </a:t>
                      </a:r>
                      <a:r>
                        <a:rPr lang="nl-NL" sz="1000" i="1" dirty="0"/>
                        <a:t>Synoniemen: </a:t>
                      </a:r>
                      <a:r>
                        <a:rPr lang="nl-NL" sz="1000" dirty="0"/>
                        <a:t> ‘</a:t>
                      </a:r>
                      <a:r>
                        <a:rPr lang="nl-NL" sz="1000" i="1" dirty="0"/>
                        <a:t>Route- en tijdgebonden vervoer</a:t>
                      </a:r>
                      <a:r>
                        <a:rPr lang="nl-NL" sz="1000" dirty="0"/>
                        <a:t>’, </a:t>
                      </a:r>
                      <a:r>
                        <a:rPr lang="nl-NL" sz="1000" i="1" dirty="0"/>
                        <a:t>‘planbaar vervoer’.</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179404237"/>
                  </a:ext>
                </a:extLst>
              </a:tr>
              <a:tr h="540000">
                <a:tc>
                  <a:txBody>
                    <a:bodyPr/>
                    <a:lstStyle/>
                    <a:p>
                      <a:pPr rtl="0"/>
                      <a:r>
                        <a:rPr lang="nl-NL" sz="1000" b="1" i="0" dirty="0"/>
                        <a:t>Vraagafhankelijk vervoer</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solidFill>
                      <a:srgbClr val="DBDBDB"/>
                    </a:solidFill>
                  </a:tcPr>
                </a:tc>
                <a:tc>
                  <a:txBody>
                    <a:bodyPr/>
                    <a:lstStyle/>
                    <a:p>
                      <a:pPr rtl="0"/>
                      <a:r>
                        <a:rPr lang="nl-NL" sz="1000" dirty="0"/>
                        <a:t>Vervoersdienst op afroep die alleen rijdt indien deze door de reiziger wordt gereserveerd. In het doelgroepenvervoer zijn bijvoorbeeld Wmo-vervoer en vervoer naar specialistische jeugdhulp vraagafhankelijk.</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2270849735"/>
                  </a:ext>
                </a:extLst>
              </a:tr>
            </a:tbl>
          </a:graphicData>
        </a:graphic>
      </p:graphicFrame>
      <p:sp>
        <p:nvSpPr>
          <p:cNvPr id="3" name="Title 2">
            <a:extLst>
              <a:ext uri="{FF2B5EF4-FFF2-40B4-BE49-F238E27FC236}">
                <a16:creationId xmlns:a16="http://schemas.microsoft.com/office/drawing/2014/main" id="{9630E9AB-705F-46EE-86D7-5A5A17CCA6B8}"/>
              </a:ext>
            </a:extLst>
          </p:cNvPr>
          <p:cNvSpPr>
            <a:spLocks noGrp="1"/>
          </p:cNvSpPr>
          <p:nvPr>
            <p:ph type="title"/>
          </p:nvPr>
        </p:nvSpPr>
        <p:spPr/>
        <p:txBody>
          <a:bodyPr vert="horz"/>
          <a:lstStyle/>
          <a:p>
            <a:r>
              <a:rPr lang="en-NL"/>
              <a:t>Begrippenlijst</a:t>
            </a:r>
            <a:endParaRPr lang="nl-NL" dirty="0"/>
          </a:p>
        </p:txBody>
      </p:sp>
      <p:sp>
        <p:nvSpPr>
          <p:cNvPr id="4" name="Slide Number Placeholder 3">
            <a:extLst>
              <a:ext uri="{FF2B5EF4-FFF2-40B4-BE49-F238E27FC236}">
                <a16:creationId xmlns:a16="http://schemas.microsoft.com/office/drawing/2014/main" id="{C5B4047C-26F9-4FE2-B821-7F0B77AC4B7F}"/>
              </a:ext>
            </a:extLst>
          </p:cNvPr>
          <p:cNvSpPr>
            <a:spLocks noGrp="1"/>
          </p:cNvSpPr>
          <p:nvPr>
            <p:ph type="sldNum" sz="quarter" idx="12"/>
          </p:nvPr>
        </p:nvSpPr>
        <p:spPr/>
        <p:txBody>
          <a:bodyPr/>
          <a:lstStyle/>
          <a:p>
            <a:fld id="{992CD0B2-8AB2-4C6C-8876-E15753662C9B}" type="slidenum">
              <a:rPr lang="nl-NL" noProof="0" smtClean="0"/>
              <a:pPr/>
              <a:t>38</a:t>
            </a:fld>
            <a:endParaRPr lang="nl-NL" noProof="0" dirty="0"/>
          </a:p>
        </p:txBody>
      </p:sp>
    </p:spTree>
    <p:extLst>
      <p:ext uri="{BB962C8B-B14F-4D97-AF65-F5344CB8AC3E}">
        <p14:creationId xmlns:p14="http://schemas.microsoft.com/office/powerpoint/2010/main" val="26950116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DEC004-6B00-4CFA-8DC7-3DA9B3FBB307}"/>
              </a:ext>
            </a:extLst>
          </p:cNvPr>
          <p:cNvGraphicFramePr>
            <a:graphicFrameLocks noChangeAspect="1"/>
          </p:cNvGraphicFramePr>
          <p:nvPr>
            <p:custDataLst>
              <p:tags r:id="rId2"/>
            </p:custDataLst>
            <p:extLst>
              <p:ext uri="{D42A27DB-BD31-4B8C-83A1-F6EECF244321}">
                <p14:modId xmlns:p14="http://schemas.microsoft.com/office/powerpoint/2010/main" val="3655702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2"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FCDEC004-6B00-4CFA-8DC7-3DA9B3FBB3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90A2C3DE-CA27-4A95-9B2D-056D546F70DD}"/>
              </a:ext>
            </a:extLst>
          </p:cNvPr>
          <p:cNvSpPr>
            <a:spLocks noGrp="1"/>
          </p:cNvSpPr>
          <p:nvPr>
            <p:ph type="sldNum" sz="quarter" idx="10"/>
          </p:nvPr>
        </p:nvSpPr>
        <p:spPr/>
        <p:txBody>
          <a:bodyPr/>
          <a:lstStyle/>
          <a:p>
            <a:fld id="{992CD0B2-8AB2-4C6C-8876-E15753662C9B}" type="slidenum">
              <a:rPr lang="nl-NL" noProof="0" smtClean="0"/>
              <a:pPr/>
              <a:t>39</a:t>
            </a:fld>
            <a:endParaRPr lang="nl-NL" noProof="0" dirty="0"/>
          </a:p>
        </p:txBody>
      </p:sp>
      <p:sp>
        <p:nvSpPr>
          <p:cNvPr id="3" name="Text Placeholder 2">
            <a:extLst>
              <a:ext uri="{FF2B5EF4-FFF2-40B4-BE49-F238E27FC236}">
                <a16:creationId xmlns:a16="http://schemas.microsoft.com/office/drawing/2014/main" id="{7EFE448F-41DC-406D-9E47-77FF6A073C9B}"/>
              </a:ext>
            </a:extLst>
          </p:cNvPr>
          <p:cNvSpPr>
            <a:spLocks noGrp="1"/>
          </p:cNvSpPr>
          <p:nvPr>
            <p:ph type="body" sz="quarter" idx="24"/>
          </p:nvPr>
        </p:nvSpPr>
        <p:spPr/>
        <p:txBody>
          <a:bodyPr/>
          <a:lstStyle/>
          <a:p>
            <a:pPr marL="0" indent="0">
              <a:buNone/>
            </a:pPr>
            <a:r>
              <a:rPr lang="nl-NL" dirty="0"/>
              <a:t>Foto op omslag: Evert Jan Luchies, Nationale Beeldbank</a:t>
            </a:r>
          </a:p>
        </p:txBody>
      </p:sp>
      <p:sp>
        <p:nvSpPr>
          <p:cNvPr id="4" name="Text Placeholder 3">
            <a:extLst>
              <a:ext uri="{FF2B5EF4-FFF2-40B4-BE49-F238E27FC236}">
                <a16:creationId xmlns:a16="http://schemas.microsoft.com/office/drawing/2014/main" id="{6C4F5A4B-AE13-49B0-8139-EB4D8E8B98F3}"/>
              </a:ext>
            </a:extLst>
          </p:cNvPr>
          <p:cNvSpPr>
            <a:spLocks noGrp="1"/>
          </p:cNvSpPr>
          <p:nvPr>
            <p:ph type="body" sz="quarter" idx="23"/>
          </p:nvPr>
        </p:nvSpPr>
        <p:spPr/>
        <p:txBody>
          <a:bodyPr/>
          <a:lstStyle/>
          <a:p>
            <a:r>
              <a:rPr lang="nl-NL" dirty="0">
                <a:solidFill>
                  <a:srgbClr val="FFFFFF"/>
                </a:solidFill>
              </a:rPr>
              <a:t>Kees van der Meeren (</a:t>
            </a:r>
            <a:r>
              <a:rPr lang="nl-NL" dirty="0">
                <a:solidFill>
                  <a:srgbClr val="FFFFFF"/>
                </a:solidFill>
                <a:hlinkClick r:id="rId7">
                  <a:extLst>
                    <a:ext uri="{A12FA001-AC4F-418D-AE19-62706E023703}">
                      <ahyp:hlinkClr xmlns:ahyp="http://schemas.microsoft.com/office/drawing/2018/hyperlinkcolor" val="tx"/>
                    </a:ext>
                  </a:extLst>
                </a:hlinkClick>
              </a:rPr>
              <a:t>kees.vandermeeren@itspublic.nl</a:t>
            </a:r>
            <a:r>
              <a:rPr lang="nl-NL" dirty="0">
                <a:solidFill>
                  <a:srgbClr val="FFFFFF"/>
                </a:solidFill>
              </a:rPr>
              <a:t>) </a:t>
            </a:r>
          </a:p>
          <a:p>
            <a:r>
              <a:rPr lang="nl-NL" dirty="0">
                <a:solidFill>
                  <a:srgbClr val="FFFFFF"/>
                </a:solidFill>
              </a:rPr>
              <a:t>Eva Nivard (</a:t>
            </a:r>
            <a:r>
              <a:rPr lang="nl-NL" dirty="0">
                <a:solidFill>
                  <a:srgbClr val="FFFFFF"/>
                </a:solidFill>
                <a:hlinkClick r:id="rId8">
                  <a:extLst>
                    <a:ext uri="{A12FA001-AC4F-418D-AE19-62706E023703}">
                      <ahyp:hlinkClr xmlns:ahyp="http://schemas.microsoft.com/office/drawing/2018/hyperlinkcolor" val="tx"/>
                    </a:ext>
                  </a:extLst>
                </a:hlinkClick>
              </a:rPr>
              <a:t>eva.nivard@itspublic.nl</a:t>
            </a:r>
            <a:r>
              <a:rPr lang="nl-NL" dirty="0">
                <a:solidFill>
                  <a:srgbClr val="FFFFFF"/>
                </a:solidFill>
              </a:rPr>
              <a:t>)</a:t>
            </a:r>
          </a:p>
        </p:txBody>
      </p:sp>
      <p:pic>
        <p:nvPicPr>
          <p:cNvPr id="6" name="Picture 5">
            <a:extLst>
              <a:ext uri="{FF2B5EF4-FFF2-40B4-BE49-F238E27FC236}">
                <a16:creationId xmlns:a16="http://schemas.microsoft.com/office/drawing/2014/main" id="{4896B327-D0EB-49FE-A310-23DE70A9C899}"/>
              </a:ext>
            </a:extLst>
          </p:cNvPr>
          <p:cNvPicPr>
            <a:picLocks noChangeAspect="1"/>
          </p:cNvPicPr>
          <p:nvPr/>
        </p:nvPicPr>
        <p:blipFill rotWithShape="1">
          <a:blip r:embed="rId9"/>
          <a:srcRect l="12160" r="20302"/>
          <a:stretch/>
        </p:blipFill>
        <p:spPr>
          <a:xfrm>
            <a:off x="6307998" y="1790274"/>
            <a:ext cx="2539910" cy="211541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9985718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4461027-B7E8-4033-A473-05F8F109B023}"/>
              </a:ext>
            </a:extLst>
          </p:cNvPr>
          <p:cNvGraphicFramePr>
            <a:graphicFrameLocks noChangeAspect="1"/>
          </p:cNvGraphicFramePr>
          <p:nvPr>
            <p:custDataLst>
              <p:tags r:id="rId2"/>
            </p:custDataLst>
            <p:extLst>
              <p:ext uri="{D42A27DB-BD31-4B8C-83A1-F6EECF244321}">
                <p14:modId xmlns:p14="http://schemas.microsoft.com/office/powerpoint/2010/main" val="1872386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2"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id="{14461027-B7E8-4033-A473-05F8F109B0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5" name="Rectangle: Rounded Corners 34">
            <a:extLst>
              <a:ext uri="{FF2B5EF4-FFF2-40B4-BE49-F238E27FC236}">
                <a16:creationId xmlns:a16="http://schemas.microsoft.com/office/drawing/2014/main" id="{342A7928-34BC-4526-B34D-B663B7588F04}"/>
              </a:ext>
            </a:extLst>
          </p:cNvPr>
          <p:cNvSpPr/>
          <p:nvPr/>
        </p:nvSpPr>
        <p:spPr>
          <a:xfrm>
            <a:off x="672186" y="2451325"/>
            <a:ext cx="3842395" cy="2949470"/>
          </a:xfrm>
          <a:prstGeom prst="roundRect">
            <a:avLst/>
          </a:prstGeom>
          <a:solidFill>
            <a:srgbClr val="408E94"/>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lang="nl-NL">
                <a:solidFill>
                  <a:srgbClr val="FFFFFF"/>
                </a:solidFill>
              </a:rPr>
              <a:t>Doelgroepenvervoer biedt mensen</a:t>
            </a:r>
            <a:r>
              <a:rPr lang="en-NL">
                <a:solidFill>
                  <a:srgbClr val="FFFFFF"/>
                </a:solidFill>
              </a:rPr>
              <a:t>, van jong tot oud, </a:t>
            </a:r>
            <a:r>
              <a:rPr lang="nl-NL">
                <a:solidFill>
                  <a:srgbClr val="FFFFFF"/>
                </a:solidFill>
              </a:rPr>
              <a:t>die</a:t>
            </a:r>
            <a:r>
              <a:rPr lang="en-NL">
                <a:solidFill>
                  <a:srgbClr val="FFFFFF"/>
                </a:solidFill>
              </a:rPr>
              <a:t> zich</a:t>
            </a:r>
            <a:r>
              <a:rPr lang="nl-NL">
                <a:solidFill>
                  <a:srgbClr val="FFFFFF"/>
                </a:solidFill>
              </a:rPr>
              <a:t> </a:t>
            </a:r>
            <a:r>
              <a:rPr lang="nl-NL" dirty="0">
                <a:solidFill>
                  <a:srgbClr val="FFFFFF"/>
                </a:solidFill>
              </a:rPr>
              <a:t>niet met het reguliere openbaar vervoer of </a:t>
            </a:r>
            <a:r>
              <a:rPr lang="nl-NL">
                <a:solidFill>
                  <a:srgbClr val="FFFFFF"/>
                </a:solidFill>
              </a:rPr>
              <a:t>andere vervoersmiddelen kunnen verplaatsen</a:t>
            </a:r>
            <a:r>
              <a:rPr lang="en-NL">
                <a:solidFill>
                  <a:srgbClr val="FFFFFF"/>
                </a:solidFill>
              </a:rPr>
              <a:t> (oftewel met een mobiliteitsbeperking), </a:t>
            </a:r>
            <a:r>
              <a:rPr lang="nl-NL" b="1">
                <a:solidFill>
                  <a:srgbClr val="FFFFFF"/>
                </a:solidFill>
              </a:rPr>
              <a:t>de </a:t>
            </a:r>
            <a:r>
              <a:rPr lang="nl-NL" b="1" dirty="0">
                <a:solidFill>
                  <a:srgbClr val="FFFFFF"/>
                </a:solidFill>
              </a:rPr>
              <a:t>mogelijkheid om van A naar B te </a:t>
            </a:r>
            <a:r>
              <a:rPr lang="nl-NL" b="1">
                <a:solidFill>
                  <a:srgbClr val="FFFFFF"/>
                </a:solidFill>
              </a:rPr>
              <a:t>reizen</a:t>
            </a:r>
            <a:r>
              <a:rPr lang="nl-NL">
                <a:solidFill>
                  <a:srgbClr val="FFFFFF"/>
                </a:solidFill>
              </a:rPr>
              <a:t>.</a:t>
            </a:r>
            <a:endParaRPr lang="en-NL">
              <a:solidFill>
                <a:srgbClr val="FFFFFF"/>
              </a:solidFill>
            </a:endParaRPr>
          </a:p>
          <a:p>
            <a:pPr marL="0" indent="0">
              <a:buClr>
                <a:schemeClr val="tx2"/>
              </a:buClr>
              <a:buNone/>
            </a:pPr>
            <a:endParaRPr lang="en-NL" b="1">
              <a:solidFill>
                <a:srgbClr val="FFFFFF"/>
              </a:solidFill>
            </a:endParaRPr>
          </a:p>
          <a:p>
            <a:pPr marL="0" indent="0">
              <a:buClr>
                <a:schemeClr val="tx2"/>
              </a:buClr>
              <a:buNone/>
            </a:pPr>
            <a:r>
              <a:rPr lang="nl-NL">
                <a:solidFill>
                  <a:srgbClr val="FFFFFF"/>
                </a:solidFill>
              </a:rPr>
              <a:t>Zodoende </a:t>
            </a:r>
            <a:r>
              <a:rPr lang="nl-NL" dirty="0">
                <a:solidFill>
                  <a:srgbClr val="FFFFFF"/>
                </a:solidFill>
              </a:rPr>
              <a:t>zorgt doelgroepenvervoer voor de </a:t>
            </a:r>
            <a:r>
              <a:rPr lang="nl-NL" b="1" dirty="0">
                <a:solidFill>
                  <a:srgbClr val="FFFFFF"/>
                </a:solidFill>
              </a:rPr>
              <a:t>participatie van kwetsbare groepen in een inclusieve samenleving.</a:t>
            </a:r>
          </a:p>
        </p:txBody>
      </p:sp>
      <p:sp>
        <p:nvSpPr>
          <p:cNvPr id="5" name="Slide Number Placeholder 4">
            <a:extLst>
              <a:ext uri="{FF2B5EF4-FFF2-40B4-BE49-F238E27FC236}">
                <a16:creationId xmlns:a16="http://schemas.microsoft.com/office/drawing/2014/main" id="{8CA138E6-30C6-4E15-9E23-7EDAE7782763}"/>
              </a:ext>
            </a:extLst>
          </p:cNvPr>
          <p:cNvSpPr>
            <a:spLocks noGrp="1"/>
          </p:cNvSpPr>
          <p:nvPr>
            <p:ph type="sldNum" sz="quarter" idx="12"/>
          </p:nvPr>
        </p:nvSpPr>
        <p:spPr/>
        <p:txBody>
          <a:bodyPr/>
          <a:lstStyle/>
          <a:p>
            <a:fld id="{992CD0B2-8AB2-4C6C-8876-E15753662C9B}" type="slidenum">
              <a:rPr lang="nl-NL" noProof="0" smtClean="0"/>
              <a:pPr/>
              <a:t>4</a:t>
            </a:fld>
            <a:endParaRPr lang="nl-NL" noProof="0" dirty="0"/>
          </a:p>
        </p:txBody>
      </p:sp>
      <p:sp>
        <p:nvSpPr>
          <p:cNvPr id="7" name="Title 6">
            <a:extLst>
              <a:ext uri="{FF2B5EF4-FFF2-40B4-BE49-F238E27FC236}">
                <a16:creationId xmlns:a16="http://schemas.microsoft.com/office/drawing/2014/main" id="{09E5AA66-D9EB-4537-AA84-6B7F53F3D65A}"/>
              </a:ext>
            </a:extLst>
          </p:cNvPr>
          <p:cNvSpPr>
            <a:spLocks noGrp="1"/>
          </p:cNvSpPr>
          <p:nvPr>
            <p:ph type="title"/>
          </p:nvPr>
        </p:nvSpPr>
        <p:spPr/>
        <p:txBody>
          <a:bodyPr vert="horz"/>
          <a:lstStyle/>
          <a:p>
            <a:r>
              <a:rPr lang="en-NL"/>
              <a:t>H</a:t>
            </a:r>
            <a:r>
              <a:rPr lang="nl-NL"/>
              <a:t>et </a:t>
            </a:r>
            <a:r>
              <a:rPr lang="nl-NL" dirty="0"/>
              <a:t>hoofddoel </a:t>
            </a:r>
            <a:r>
              <a:rPr lang="nl-NL"/>
              <a:t>van doelgroepenvervoer</a:t>
            </a:r>
            <a:r>
              <a:rPr lang="en-NL"/>
              <a:t>: meedoen als ieder ander</a:t>
            </a:r>
            <a:endParaRPr lang="nl-NL" dirty="0"/>
          </a:p>
        </p:txBody>
      </p:sp>
      <p:sp>
        <p:nvSpPr>
          <p:cNvPr id="106" name="Rectangle: Rounded Corners 105">
            <a:extLst>
              <a:ext uri="{FF2B5EF4-FFF2-40B4-BE49-F238E27FC236}">
                <a16:creationId xmlns:a16="http://schemas.microsoft.com/office/drawing/2014/main" id="{7BA101F4-2164-477C-B87F-A0F412133059}"/>
              </a:ext>
            </a:extLst>
          </p:cNvPr>
          <p:cNvSpPr/>
          <p:nvPr/>
        </p:nvSpPr>
        <p:spPr>
          <a:xfrm>
            <a:off x="9079212" y="1617042"/>
            <a:ext cx="2448000" cy="1080000"/>
          </a:xfrm>
          <a:prstGeom prst="roundRect">
            <a:avLst/>
          </a:prstGeom>
          <a:solidFill>
            <a:schemeClr val="accent4">
              <a:lumMod val="20000"/>
              <a:lumOff val="80000"/>
            </a:schemeClr>
          </a:solidFill>
          <a:ln>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Clr>
                <a:schemeClr val="tx2"/>
              </a:buClr>
              <a:buNone/>
            </a:pPr>
            <a:r>
              <a:rPr lang="nl-NL" b="1" dirty="0"/>
              <a:t>Deelname aan onderwijs</a:t>
            </a:r>
            <a:endParaRPr kumimoji="0" lang="nl-NL" sz="1400" b="1" i="0" u="none" strike="noStrike" kern="1200" cap="none" spc="0" normalizeH="0" baseline="0" noProof="0" dirty="0">
              <a:ln>
                <a:noFill/>
              </a:ln>
              <a:effectLst/>
              <a:uLnTx/>
              <a:uFillTx/>
            </a:endParaRPr>
          </a:p>
          <a:p>
            <a:pPr marL="0" indent="0" algn="ctr">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1" name="Rectangle: Rounded Corners 110">
            <a:extLst>
              <a:ext uri="{FF2B5EF4-FFF2-40B4-BE49-F238E27FC236}">
                <a16:creationId xmlns:a16="http://schemas.microsoft.com/office/drawing/2014/main" id="{FE419067-E6C6-4AC5-B369-221518A50300}"/>
              </a:ext>
            </a:extLst>
          </p:cNvPr>
          <p:cNvSpPr/>
          <p:nvPr/>
        </p:nvSpPr>
        <p:spPr>
          <a:xfrm>
            <a:off x="9079212" y="5229148"/>
            <a:ext cx="2448000" cy="1080000"/>
          </a:xfrm>
          <a:prstGeom prst="roundRect">
            <a:avLst/>
          </a:prstGeom>
          <a:solidFill>
            <a:schemeClr val="accent4">
              <a:lumMod val="20000"/>
              <a:lumOff val="80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lang="en-NL" b="1"/>
              <a:t>Kans op </a:t>
            </a:r>
            <a:r>
              <a:rPr lang="nl-NL" b="1"/>
              <a:t>socia</a:t>
            </a:r>
            <a:r>
              <a:rPr lang="en-NL" b="1"/>
              <a:t>le interactie</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pSp>
        <p:nvGrpSpPr>
          <p:cNvPr id="145" name="Group 144">
            <a:extLst>
              <a:ext uri="{FF2B5EF4-FFF2-40B4-BE49-F238E27FC236}">
                <a16:creationId xmlns:a16="http://schemas.microsoft.com/office/drawing/2014/main" id="{A28DE839-25E6-44D3-8C04-54C403F93DCD}"/>
              </a:ext>
            </a:extLst>
          </p:cNvPr>
          <p:cNvGrpSpPr/>
          <p:nvPr/>
        </p:nvGrpSpPr>
        <p:grpSpPr>
          <a:xfrm>
            <a:off x="9951414" y="1998163"/>
            <a:ext cx="713125" cy="679779"/>
            <a:chOff x="6469638" y="1435755"/>
            <a:chExt cx="959255" cy="914400"/>
          </a:xfrm>
        </p:grpSpPr>
        <p:pic>
          <p:nvPicPr>
            <p:cNvPr id="133" name="Graphic 132" descr="Female Profile with solid fill">
              <a:extLst>
                <a:ext uri="{FF2B5EF4-FFF2-40B4-BE49-F238E27FC236}">
                  <a16:creationId xmlns:a16="http://schemas.microsoft.com/office/drawing/2014/main" id="{D39EE836-35FD-4AB8-87A9-77E2B144A93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69638" y="1435755"/>
              <a:ext cx="914400" cy="914400"/>
            </a:xfrm>
            <a:prstGeom prst="rect">
              <a:avLst/>
            </a:prstGeom>
          </p:spPr>
        </p:pic>
        <p:pic>
          <p:nvPicPr>
            <p:cNvPr id="144" name="Graphic 143" descr="Closed book with solid fill">
              <a:extLst>
                <a:ext uri="{FF2B5EF4-FFF2-40B4-BE49-F238E27FC236}">
                  <a16:creationId xmlns:a16="http://schemas.microsoft.com/office/drawing/2014/main" id="{7C980804-21E7-40CD-88F0-D4CC12B84B09}"/>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rot="1982168">
              <a:off x="7087664" y="1849023"/>
              <a:ext cx="341229" cy="341229"/>
            </a:xfrm>
            <a:prstGeom prst="rect">
              <a:avLst/>
            </a:prstGeom>
          </p:spPr>
        </p:pic>
      </p:grpSp>
      <p:sp>
        <p:nvSpPr>
          <p:cNvPr id="11" name="Rectangle: Rounded Corners 10">
            <a:extLst>
              <a:ext uri="{FF2B5EF4-FFF2-40B4-BE49-F238E27FC236}">
                <a16:creationId xmlns:a16="http://schemas.microsoft.com/office/drawing/2014/main" id="{41A0111B-6379-4119-AD07-28BD9F9A4AA6}"/>
              </a:ext>
            </a:extLst>
          </p:cNvPr>
          <p:cNvSpPr/>
          <p:nvPr/>
        </p:nvSpPr>
        <p:spPr>
          <a:xfrm>
            <a:off x="9079212" y="2821077"/>
            <a:ext cx="2448000" cy="1080000"/>
          </a:xfrm>
          <a:prstGeom prst="roundRect">
            <a:avLst/>
          </a:prstGeom>
          <a:solidFill>
            <a:schemeClr val="accent4">
              <a:lumMod val="20000"/>
              <a:lumOff val="80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lang="en-GB" b="1" dirty="0" err="1"/>
              <a:t>Mogelijkheid</a:t>
            </a:r>
            <a:r>
              <a:rPr lang="en-GB" b="1" dirty="0"/>
              <a:t> tot </a:t>
            </a:r>
            <a:r>
              <a:rPr lang="nl-NL" b="1" dirty="0"/>
              <a:t>werk</a:t>
            </a:r>
            <a:endParaRPr kumimoji="0" lang="nl-NL" sz="1400" b="1" i="0" u="none" strike="noStrike" kern="1200" cap="none" spc="0" normalizeH="0" baseline="0" noProof="0" dirty="0">
              <a:ln>
                <a:noFill/>
              </a:ln>
              <a:effectLst/>
              <a:uLnTx/>
              <a:uFillTx/>
            </a:endParaRPr>
          </a:p>
          <a:p>
            <a:pPr marL="0" indent="0" algn="ctr">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pSp>
        <p:nvGrpSpPr>
          <p:cNvPr id="159" name="Group 158">
            <a:extLst>
              <a:ext uri="{FF2B5EF4-FFF2-40B4-BE49-F238E27FC236}">
                <a16:creationId xmlns:a16="http://schemas.microsoft.com/office/drawing/2014/main" id="{868397CC-747E-494B-BC87-B978E5D03766}"/>
              </a:ext>
            </a:extLst>
          </p:cNvPr>
          <p:cNvGrpSpPr/>
          <p:nvPr/>
        </p:nvGrpSpPr>
        <p:grpSpPr>
          <a:xfrm>
            <a:off x="9079212" y="4025112"/>
            <a:ext cx="2448000" cy="1080000"/>
            <a:chOff x="9079212" y="4025112"/>
            <a:chExt cx="2448000" cy="1080000"/>
          </a:xfrm>
        </p:grpSpPr>
        <p:sp>
          <p:nvSpPr>
            <p:cNvPr id="125" name="Rectangle: Rounded Corners 124">
              <a:extLst>
                <a:ext uri="{FF2B5EF4-FFF2-40B4-BE49-F238E27FC236}">
                  <a16:creationId xmlns:a16="http://schemas.microsoft.com/office/drawing/2014/main" id="{34EE2242-773F-4A06-9716-4D15837FCBB3}"/>
                </a:ext>
              </a:extLst>
            </p:cNvPr>
            <p:cNvSpPr/>
            <p:nvPr/>
          </p:nvSpPr>
          <p:spPr>
            <a:xfrm>
              <a:off x="9079212" y="4025112"/>
              <a:ext cx="2448000" cy="1080000"/>
            </a:xfrm>
            <a:prstGeom prst="roundRect">
              <a:avLst/>
            </a:prstGeom>
            <a:solidFill>
              <a:schemeClr val="accent4">
                <a:lumMod val="20000"/>
                <a:lumOff val="80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lang="nl-NL" b="1" dirty="0"/>
                <a:t>Toegang tot zorg</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158" name="Graphic 157" descr="Man with cane with solid fill">
              <a:extLst>
                <a:ext uri="{FF2B5EF4-FFF2-40B4-BE49-F238E27FC236}">
                  <a16:creationId xmlns:a16="http://schemas.microsoft.com/office/drawing/2014/main" id="{ADEE81E3-92FA-4DF1-886D-75D2C07680C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48148" y="4503539"/>
              <a:ext cx="510128" cy="510128"/>
            </a:xfrm>
            <a:prstGeom prst="rect">
              <a:avLst/>
            </a:prstGeom>
          </p:spPr>
        </p:pic>
      </p:grpSp>
      <p:grpSp>
        <p:nvGrpSpPr>
          <p:cNvPr id="170" name="Group 169">
            <a:extLst>
              <a:ext uri="{FF2B5EF4-FFF2-40B4-BE49-F238E27FC236}">
                <a16:creationId xmlns:a16="http://schemas.microsoft.com/office/drawing/2014/main" id="{7E13775F-4DDD-43F1-83B3-E34D24D61118}"/>
              </a:ext>
            </a:extLst>
          </p:cNvPr>
          <p:cNvGrpSpPr/>
          <p:nvPr/>
        </p:nvGrpSpPr>
        <p:grpSpPr>
          <a:xfrm>
            <a:off x="10009607" y="3157591"/>
            <a:ext cx="587210" cy="652429"/>
            <a:chOff x="7440076" y="1937904"/>
            <a:chExt cx="587210" cy="652429"/>
          </a:xfrm>
        </p:grpSpPr>
        <p:pic>
          <p:nvPicPr>
            <p:cNvPr id="162" name="Graphic 161" descr="Moustache with solid fill">
              <a:extLst>
                <a:ext uri="{FF2B5EF4-FFF2-40B4-BE49-F238E27FC236}">
                  <a16:creationId xmlns:a16="http://schemas.microsoft.com/office/drawing/2014/main" id="{187A4539-0976-4BBD-AA88-4A79947E4AEB}"/>
                </a:ext>
              </a:extLst>
            </p:cNvPr>
            <p:cNvPicPr>
              <a:picLocks noChangeAspect="1"/>
            </p:cNvPicPr>
            <p:nvPr/>
          </p:nvPicPr>
          <p:blipFill rotWithShape="1">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rcRect r="48063"/>
            <a:stretch/>
          </p:blipFill>
          <p:spPr>
            <a:xfrm rot="20905506">
              <a:off x="7518474" y="1937904"/>
              <a:ext cx="145128" cy="279430"/>
            </a:xfrm>
            <a:prstGeom prst="rect">
              <a:avLst/>
            </a:prstGeom>
          </p:spPr>
        </p:pic>
        <p:grpSp>
          <p:nvGrpSpPr>
            <p:cNvPr id="169" name="Group 168">
              <a:extLst>
                <a:ext uri="{FF2B5EF4-FFF2-40B4-BE49-F238E27FC236}">
                  <a16:creationId xmlns:a16="http://schemas.microsoft.com/office/drawing/2014/main" id="{56B441EF-0387-4DB6-B876-A90801B75D91}"/>
                </a:ext>
              </a:extLst>
            </p:cNvPr>
            <p:cNvGrpSpPr/>
            <p:nvPr/>
          </p:nvGrpSpPr>
          <p:grpSpPr>
            <a:xfrm>
              <a:off x="7440076" y="1969294"/>
              <a:ext cx="587210" cy="621039"/>
              <a:chOff x="7440076" y="1969294"/>
              <a:chExt cx="587210" cy="621039"/>
            </a:xfrm>
          </p:grpSpPr>
          <p:pic>
            <p:nvPicPr>
              <p:cNvPr id="164" name="Graphic 163" descr="Person in wheelchair with solid fill">
                <a:extLst>
                  <a:ext uri="{FF2B5EF4-FFF2-40B4-BE49-F238E27FC236}">
                    <a16:creationId xmlns:a16="http://schemas.microsoft.com/office/drawing/2014/main" id="{8648B04E-D12A-443A-963A-BC370A5A9CC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440076" y="2003123"/>
                <a:ext cx="587210" cy="587210"/>
              </a:xfrm>
              <a:prstGeom prst="rect">
                <a:avLst/>
              </a:prstGeom>
            </p:spPr>
          </p:pic>
          <p:sp>
            <p:nvSpPr>
              <p:cNvPr id="165" name="Flowchart: Stored Data 164">
                <a:extLst>
                  <a:ext uri="{FF2B5EF4-FFF2-40B4-BE49-F238E27FC236}">
                    <a16:creationId xmlns:a16="http://schemas.microsoft.com/office/drawing/2014/main" id="{F8C5E111-9341-4B02-AF21-DA658CFD47C0}"/>
                  </a:ext>
                </a:extLst>
              </p:cNvPr>
              <p:cNvSpPr/>
              <p:nvPr/>
            </p:nvSpPr>
            <p:spPr>
              <a:xfrm rot="15913320">
                <a:off x="7848188" y="1966983"/>
                <a:ext cx="23119" cy="27742"/>
              </a:xfrm>
              <a:prstGeom prst="flowChartOnlineStorage">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166" name="Graphic 165" descr="Person in wheelchair with solid fill">
                <a:extLst>
                  <a:ext uri="{FF2B5EF4-FFF2-40B4-BE49-F238E27FC236}">
                    <a16:creationId xmlns:a16="http://schemas.microsoft.com/office/drawing/2014/main" id="{F5866D93-4DEC-4A9D-9FC4-33B45D950079}"/>
                  </a:ext>
                </a:extLst>
              </p:cNvPr>
              <p:cNvPicPr>
                <a:picLocks noChangeAspect="1"/>
              </p:cNvPicPr>
              <p:nvPr/>
            </p:nvPicPr>
            <p:blipFill rotWithShape="1">
              <a:blip r:embed="rId17"/>
              <a:srcRect/>
              <a:stretch/>
            </p:blipFill>
            <p:spPr>
              <a:xfrm>
                <a:off x="7623446" y="2147906"/>
                <a:ext cx="107060" cy="157690"/>
              </a:xfrm>
              <a:prstGeom prst="rect">
                <a:avLst/>
              </a:prstGeom>
            </p:spPr>
          </p:pic>
          <p:pic>
            <p:nvPicPr>
              <p:cNvPr id="167" name="Graphic 166" descr="Dress with solid fill">
                <a:extLst>
                  <a:ext uri="{FF2B5EF4-FFF2-40B4-BE49-F238E27FC236}">
                    <a16:creationId xmlns:a16="http://schemas.microsoft.com/office/drawing/2014/main" id="{356C5E66-E363-4B5D-9616-DC494E8E0096}"/>
                  </a:ext>
                </a:extLst>
              </p:cNvPr>
              <p:cNvPicPr>
                <a:picLocks noChangeAspect="1"/>
              </p:cNvPicPr>
              <p:nvPr/>
            </p:nvPicPr>
            <p:blipFill rotWithShape="1">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rcRect t="35809"/>
              <a:stretch/>
            </p:blipFill>
            <p:spPr>
              <a:xfrm rot="18100316">
                <a:off x="7597564" y="2255193"/>
                <a:ext cx="235812" cy="151370"/>
              </a:xfrm>
              <a:prstGeom prst="rect">
                <a:avLst/>
              </a:prstGeom>
            </p:spPr>
          </p:pic>
        </p:grpSp>
      </p:grpSp>
      <p:grpSp>
        <p:nvGrpSpPr>
          <p:cNvPr id="236" name="Group 235">
            <a:extLst>
              <a:ext uri="{FF2B5EF4-FFF2-40B4-BE49-F238E27FC236}">
                <a16:creationId xmlns:a16="http://schemas.microsoft.com/office/drawing/2014/main" id="{B252BED1-20DF-4641-8C7D-A801434B53D5}"/>
              </a:ext>
            </a:extLst>
          </p:cNvPr>
          <p:cNvGrpSpPr/>
          <p:nvPr/>
        </p:nvGrpSpPr>
        <p:grpSpPr>
          <a:xfrm>
            <a:off x="9986398" y="5607725"/>
            <a:ext cx="633628" cy="649113"/>
            <a:chOff x="5386020" y="1428575"/>
            <a:chExt cx="1226941" cy="1256926"/>
          </a:xfrm>
        </p:grpSpPr>
        <p:pic>
          <p:nvPicPr>
            <p:cNvPr id="215" name="Graphic 214" descr="Confused person with solid fill">
              <a:extLst>
                <a:ext uri="{FF2B5EF4-FFF2-40B4-BE49-F238E27FC236}">
                  <a16:creationId xmlns:a16="http://schemas.microsoft.com/office/drawing/2014/main" id="{68D9080D-3196-4324-813B-36DE2A25224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698561" y="1650045"/>
              <a:ext cx="914400" cy="914400"/>
            </a:xfrm>
            <a:prstGeom prst="rect">
              <a:avLst/>
            </a:prstGeom>
          </p:spPr>
        </p:pic>
        <p:pic>
          <p:nvPicPr>
            <p:cNvPr id="223" name="Graphic 222" descr="Woman with solid fill">
              <a:extLst>
                <a:ext uri="{FF2B5EF4-FFF2-40B4-BE49-F238E27FC236}">
                  <a16:creationId xmlns:a16="http://schemas.microsoft.com/office/drawing/2014/main" id="{4B15BFE1-EE9C-41A2-B1F7-CA961BCE41B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5386020" y="1771101"/>
              <a:ext cx="914400" cy="914400"/>
            </a:xfrm>
            <a:prstGeom prst="rect">
              <a:avLst/>
            </a:prstGeom>
          </p:spPr>
        </p:pic>
        <p:pic>
          <p:nvPicPr>
            <p:cNvPr id="231" name="Graphic 230" descr="Chat with solid fill">
              <a:extLst>
                <a:ext uri="{FF2B5EF4-FFF2-40B4-BE49-F238E27FC236}">
                  <a16:creationId xmlns:a16="http://schemas.microsoft.com/office/drawing/2014/main" id="{8CB0AA0E-2A51-436C-81A4-B562B740522E}"/>
                </a:ext>
              </a:extLst>
            </p:cNvPr>
            <p:cNvPicPr>
              <a:picLocks noChangeAspect="1"/>
            </p:cNvPicPr>
            <p:nvPr/>
          </p:nvPicPr>
          <p:blipFill>
            <a:blip r:embed="rId24" cstate="print">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flipH="1">
              <a:off x="5713295" y="1428575"/>
              <a:ext cx="418895" cy="418895"/>
            </a:xfrm>
            <a:prstGeom prst="rect">
              <a:avLst/>
            </a:prstGeom>
          </p:spPr>
        </p:pic>
      </p:grpSp>
      <p:grpSp>
        <p:nvGrpSpPr>
          <p:cNvPr id="268" name="Group 267">
            <a:extLst>
              <a:ext uri="{FF2B5EF4-FFF2-40B4-BE49-F238E27FC236}">
                <a16:creationId xmlns:a16="http://schemas.microsoft.com/office/drawing/2014/main" id="{9B2888EE-F5DA-4EB5-AE08-F41E9FD92DDD}"/>
              </a:ext>
            </a:extLst>
          </p:cNvPr>
          <p:cNvGrpSpPr/>
          <p:nvPr/>
        </p:nvGrpSpPr>
        <p:grpSpPr>
          <a:xfrm>
            <a:off x="4234511" y="2063702"/>
            <a:ext cx="3808715" cy="3808715"/>
            <a:chOff x="4309156" y="2175674"/>
            <a:chExt cx="3808715" cy="3808715"/>
          </a:xfrm>
        </p:grpSpPr>
        <p:sp>
          <p:nvSpPr>
            <p:cNvPr id="124" name="Freeform 333">
              <a:extLst>
                <a:ext uri="{FF2B5EF4-FFF2-40B4-BE49-F238E27FC236}">
                  <a16:creationId xmlns:a16="http://schemas.microsoft.com/office/drawing/2014/main" id="{57E084F6-78B1-45BF-8E4C-68F556DC5E98}"/>
                </a:ext>
              </a:extLst>
            </p:cNvPr>
            <p:cNvSpPr>
              <a:spLocks noChangeArrowheads="1"/>
            </p:cNvSpPr>
            <p:nvPr/>
          </p:nvSpPr>
          <p:spPr bwMode="auto">
            <a:xfrm>
              <a:off x="6306918" y="3736639"/>
              <a:ext cx="389704" cy="686787"/>
            </a:xfrm>
            <a:custGeom>
              <a:avLst/>
              <a:gdLst>
                <a:gd name="T0" fmla="*/ 469 w 470"/>
                <a:gd name="T1" fmla="*/ 252 h 818"/>
                <a:gd name="T2" fmla="*/ 469 w 470"/>
                <a:gd name="T3" fmla="*/ 252 h 818"/>
                <a:gd name="T4" fmla="*/ 445 w 470"/>
                <a:gd name="T5" fmla="*/ 204 h 818"/>
                <a:gd name="T6" fmla="*/ 445 w 470"/>
                <a:gd name="T7" fmla="*/ 204 h 818"/>
                <a:gd name="T8" fmla="*/ 385 w 470"/>
                <a:gd name="T9" fmla="*/ 72 h 818"/>
                <a:gd name="T10" fmla="*/ 204 w 470"/>
                <a:gd name="T11" fmla="*/ 0 h 818"/>
                <a:gd name="T12" fmla="*/ 24 w 470"/>
                <a:gd name="T13" fmla="*/ 156 h 818"/>
                <a:gd name="T14" fmla="*/ 0 w 470"/>
                <a:gd name="T15" fmla="*/ 637 h 818"/>
                <a:gd name="T16" fmla="*/ 180 w 470"/>
                <a:gd name="T17" fmla="*/ 817 h 818"/>
                <a:gd name="T18" fmla="*/ 385 w 470"/>
                <a:gd name="T19" fmla="*/ 661 h 818"/>
                <a:gd name="T20" fmla="*/ 385 w 470"/>
                <a:gd name="T21" fmla="*/ 360 h 818"/>
                <a:gd name="T22" fmla="*/ 469 w 470"/>
                <a:gd name="T23" fmla="*/ 252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818">
                  <a:moveTo>
                    <a:pt x="469" y="252"/>
                  </a:moveTo>
                  <a:lnTo>
                    <a:pt x="469" y="252"/>
                  </a:lnTo>
                  <a:cubicBezTo>
                    <a:pt x="469" y="252"/>
                    <a:pt x="469" y="228"/>
                    <a:pt x="445" y="204"/>
                  </a:cubicBezTo>
                  <a:lnTo>
                    <a:pt x="445" y="204"/>
                  </a:lnTo>
                  <a:cubicBezTo>
                    <a:pt x="385" y="72"/>
                    <a:pt x="385" y="72"/>
                    <a:pt x="385" y="72"/>
                  </a:cubicBezTo>
                  <a:cubicBezTo>
                    <a:pt x="337" y="24"/>
                    <a:pt x="289" y="0"/>
                    <a:pt x="204" y="0"/>
                  </a:cubicBezTo>
                  <a:cubicBezTo>
                    <a:pt x="108" y="0"/>
                    <a:pt x="24" y="48"/>
                    <a:pt x="24" y="156"/>
                  </a:cubicBezTo>
                  <a:cubicBezTo>
                    <a:pt x="0" y="637"/>
                    <a:pt x="0" y="637"/>
                    <a:pt x="0" y="637"/>
                  </a:cubicBezTo>
                  <a:cubicBezTo>
                    <a:pt x="0" y="745"/>
                    <a:pt x="84" y="793"/>
                    <a:pt x="180" y="817"/>
                  </a:cubicBezTo>
                  <a:cubicBezTo>
                    <a:pt x="289" y="817"/>
                    <a:pt x="361" y="745"/>
                    <a:pt x="385" y="661"/>
                  </a:cubicBezTo>
                  <a:cubicBezTo>
                    <a:pt x="385" y="360"/>
                    <a:pt x="385" y="360"/>
                    <a:pt x="385" y="360"/>
                  </a:cubicBezTo>
                  <a:cubicBezTo>
                    <a:pt x="445" y="336"/>
                    <a:pt x="469" y="300"/>
                    <a:pt x="469" y="252"/>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Arial" panose="020B0604020202020204" pitchFamily="34" charset="0"/>
              </a:endParaRPr>
            </a:p>
          </p:txBody>
        </p:sp>
        <p:sp>
          <p:nvSpPr>
            <p:cNvPr id="116" name="Freeform 333">
              <a:extLst>
                <a:ext uri="{FF2B5EF4-FFF2-40B4-BE49-F238E27FC236}">
                  <a16:creationId xmlns:a16="http://schemas.microsoft.com/office/drawing/2014/main" id="{22693FC2-18F9-45CA-B679-D78BBEFF7F7E}"/>
                </a:ext>
              </a:extLst>
            </p:cNvPr>
            <p:cNvSpPr>
              <a:spLocks noChangeArrowheads="1"/>
            </p:cNvSpPr>
            <p:nvPr/>
          </p:nvSpPr>
          <p:spPr bwMode="auto">
            <a:xfrm>
              <a:off x="7348276" y="4038032"/>
              <a:ext cx="389704" cy="385393"/>
            </a:xfrm>
            <a:custGeom>
              <a:avLst/>
              <a:gdLst>
                <a:gd name="T0" fmla="*/ 469 w 470"/>
                <a:gd name="T1" fmla="*/ 252 h 818"/>
                <a:gd name="T2" fmla="*/ 469 w 470"/>
                <a:gd name="T3" fmla="*/ 252 h 818"/>
                <a:gd name="T4" fmla="*/ 445 w 470"/>
                <a:gd name="T5" fmla="*/ 204 h 818"/>
                <a:gd name="T6" fmla="*/ 445 w 470"/>
                <a:gd name="T7" fmla="*/ 204 h 818"/>
                <a:gd name="T8" fmla="*/ 385 w 470"/>
                <a:gd name="T9" fmla="*/ 72 h 818"/>
                <a:gd name="T10" fmla="*/ 204 w 470"/>
                <a:gd name="T11" fmla="*/ 0 h 818"/>
                <a:gd name="T12" fmla="*/ 24 w 470"/>
                <a:gd name="T13" fmla="*/ 156 h 818"/>
                <a:gd name="T14" fmla="*/ 0 w 470"/>
                <a:gd name="T15" fmla="*/ 637 h 818"/>
                <a:gd name="T16" fmla="*/ 180 w 470"/>
                <a:gd name="T17" fmla="*/ 817 h 818"/>
                <a:gd name="T18" fmla="*/ 385 w 470"/>
                <a:gd name="T19" fmla="*/ 661 h 818"/>
                <a:gd name="T20" fmla="*/ 385 w 470"/>
                <a:gd name="T21" fmla="*/ 360 h 818"/>
                <a:gd name="T22" fmla="*/ 469 w 470"/>
                <a:gd name="T23" fmla="*/ 252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818">
                  <a:moveTo>
                    <a:pt x="469" y="252"/>
                  </a:moveTo>
                  <a:lnTo>
                    <a:pt x="469" y="252"/>
                  </a:lnTo>
                  <a:cubicBezTo>
                    <a:pt x="469" y="252"/>
                    <a:pt x="469" y="228"/>
                    <a:pt x="445" y="204"/>
                  </a:cubicBezTo>
                  <a:lnTo>
                    <a:pt x="445" y="204"/>
                  </a:lnTo>
                  <a:cubicBezTo>
                    <a:pt x="385" y="72"/>
                    <a:pt x="385" y="72"/>
                    <a:pt x="385" y="72"/>
                  </a:cubicBezTo>
                  <a:cubicBezTo>
                    <a:pt x="337" y="24"/>
                    <a:pt x="289" y="0"/>
                    <a:pt x="204" y="0"/>
                  </a:cubicBezTo>
                  <a:cubicBezTo>
                    <a:pt x="108" y="0"/>
                    <a:pt x="24" y="48"/>
                    <a:pt x="24" y="156"/>
                  </a:cubicBezTo>
                  <a:cubicBezTo>
                    <a:pt x="0" y="637"/>
                    <a:pt x="0" y="637"/>
                    <a:pt x="0" y="637"/>
                  </a:cubicBezTo>
                  <a:cubicBezTo>
                    <a:pt x="0" y="745"/>
                    <a:pt x="84" y="793"/>
                    <a:pt x="180" y="817"/>
                  </a:cubicBezTo>
                  <a:cubicBezTo>
                    <a:pt x="289" y="817"/>
                    <a:pt x="361" y="745"/>
                    <a:pt x="385" y="661"/>
                  </a:cubicBezTo>
                  <a:cubicBezTo>
                    <a:pt x="385" y="360"/>
                    <a:pt x="385" y="360"/>
                    <a:pt x="385" y="360"/>
                  </a:cubicBezTo>
                  <a:cubicBezTo>
                    <a:pt x="445" y="336"/>
                    <a:pt x="469" y="300"/>
                    <a:pt x="469" y="252"/>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Arial" panose="020B0604020202020204" pitchFamily="34" charset="0"/>
              </a:endParaRPr>
            </a:p>
          </p:txBody>
        </p:sp>
        <p:grpSp>
          <p:nvGrpSpPr>
            <p:cNvPr id="263" name="Graphic 260" descr="Bus with solid fill">
              <a:extLst>
                <a:ext uri="{FF2B5EF4-FFF2-40B4-BE49-F238E27FC236}">
                  <a16:creationId xmlns:a16="http://schemas.microsoft.com/office/drawing/2014/main" id="{5A77B932-E205-48BB-B1CD-396EBB0F5040}"/>
                </a:ext>
              </a:extLst>
            </p:cNvPr>
            <p:cNvGrpSpPr/>
            <p:nvPr/>
          </p:nvGrpSpPr>
          <p:grpSpPr>
            <a:xfrm>
              <a:off x="4309156" y="2175674"/>
              <a:ext cx="3808715" cy="3808715"/>
              <a:chOff x="4309156" y="2175674"/>
              <a:chExt cx="3808715" cy="3808715"/>
            </a:xfrm>
          </p:grpSpPr>
          <p:sp>
            <p:nvSpPr>
              <p:cNvPr id="264" name="Freeform: Shape 263">
                <a:extLst>
                  <a:ext uri="{FF2B5EF4-FFF2-40B4-BE49-F238E27FC236}">
                    <a16:creationId xmlns:a16="http://schemas.microsoft.com/office/drawing/2014/main" id="{6ECDB2BF-4D6D-4E40-A7D9-2A58ABB612C7}"/>
                  </a:ext>
                </a:extLst>
              </p:cNvPr>
              <p:cNvSpPr/>
              <p:nvPr/>
            </p:nvSpPr>
            <p:spPr>
              <a:xfrm>
                <a:off x="4467852" y="3123885"/>
                <a:ext cx="3491322" cy="1749628"/>
              </a:xfrm>
              <a:custGeom>
                <a:avLst/>
                <a:gdLst>
                  <a:gd name="connsiteX0" fmla="*/ 158696 w 3491322"/>
                  <a:gd name="connsiteY0" fmla="*/ 242012 h 1749628"/>
                  <a:gd name="connsiteX1" fmla="*/ 238045 w 3491322"/>
                  <a:gd name="connsiteY1" fmla="*/ 162664 h 1749628"/>
                  <a:gd name="connsiteX2" fmla="*/ 793482 w 3491322"/>
                  <a:gd name="connsiteY2" fmla="*/ 162664 h 1749628"/>
                  <a:gd name="connsiteX3" fmla="*/ 793482 w 3491322"/>
                  <a:gd name="connsiteY3" fmla="*/ 797450 h 1749628"/>
                  <a:gd name="connsiteX4" fmla="*/ 158696 w 3491322"/>
                  <a:gd name="connsiteY4" fmla="*/ 797450 h 1749628"/>
                  <a:gd name="connsiteX5" fmla="*/ 158696 w 3491322"/>
                  <a:gd name="connsiteY5" fmla="*/ 242012 h 1749628"/>
                  <a:gd name="connsiteX6" fmla="*/ 952179 w 3491322"/>
                  <a:gd name="connsiteY6" fmla="*/ 162664 h 1749628"/>
                  <a:gd name="connsiteX7" fmla="*/ 1586965 w 3491322"/>
                  <a:gd name="connsiteY7" fmla="*/ 162664 h 1749628"/>
                  <a:gd name="connsiteX8" fmla="*/ 1586965 w 3491322"/>
                  <a:gd name="connsiteY8" fmla="*/ 797450 h 1749628"/>
                  <a:gd name="connsiteX9" fmla="*/ 952179 w 3491322"/>
                  <a:gd name="connsiteY9" fmla="*/ 797450 h 1749628"/>
                  <a:gd name="connsiteX10" fmla="*/ 952179 w 3491322"/>
                  <a:gd name="connsiteY10" fmla="*/ 162664 h 1749628"/>
                  <a:gd name="connsiteX11" fmla="*/ 1745661 w 3491322"/>
                  <a:gd name="connsiteY11" fmla="*/ 162664 h 1749628"/>
                  <a:gd name="connsiteX12" fmla="*/ 2380447 w 3491322"/>
                  <a:gd name="connsiteY12" fmla="*/ 162664 h 1749628"/>
                  <a:gd name="connsiteX13" fmla="*/ 2380447 w 3491322"/>
                  <a:gd name="connsiteY13" fmla="*/ 797450 h 1749628"/>
                  <a:gd name="connsiteX14" fmla="*/ 1745661 w 3491322"/>
                  <a:gd name="connsiteY14" fmla="*/ 797450 h 1749628"/>
                  <a:gd name="connsiteX15" fmla="*/ 1745661 w 3491322"/>
                  <a:gd name="connsiteY15" fmla="*/ 162664 h 1749628"/>
                  <a:gd name="connsiteX16" fmla="*/ 2539143 w 3491322"/>
                  <a:gd name="connsiteY16" fmla="*/ 162664 h 1749628"/>
                  <a:gd name="connsiteX17" fmla="*/ 3066809 w 3491322"/>
                  <a:gd name="connsiteY17" fmla="*/ 162664 h 1749628"/>
                  <a:gd name="connsiteX18" fmla="*/ 3221538 w 3491322"/>
                  <a:gd name="connsiteY18" fmla="*/ 293588 h 1749628"/>
                  <a:gd name="connsiteX19" fmla="*/ 3312789 w 3491322"/>
                  <a:gd name="connsiteY19" fmla="*/ 856961 h 1749628"/>
                  <a:gd name="connsiteX20" fmla="*/ 3328658 w 3491322"/>
                  <a:gd name="connsiteY20" fmla="*/ 1035494 h 1749628"/>
                  <a:gd name="connsiteX21" fmla="*/ 2777188 w 3491322"/>
                  <a:gd name="connsiteY21" fmla="*/ 1035494 h 1749628"/>
                  <a:gd name="connsiteX22" fmla="*/ 2539143 w 3491322"/>
                  <a:gd name="connsiteY22" fmla="*/ 797450 h 1749628"/>
                  <a:gd name="connsiteX23" fmla="*/ 2539143 w 3491322"/>
                  <a:gd name="connsiteY23" fmla="*/ 162664 h 1749628"/>
                  <a:gd name="connsiteX24" fmla="*/ 0 w 3491322"/>
                  <a:gd name="connsiteY24" fmla="*/ 162664 h 1749628"/>
                  <a:gd name="connsiteX25" fmla="*/ 0 w 3491322"/>
                  <a:gd name="connsiteY25" fmla="*/ 1590932 h 1749628"/>
                  <a:gd name="connsiteX26" fmla="*/ 158696 w 3491322"/>
                  <a:gd name="connsiteY26" fmla="*/ 1749629 h 1749628"/>
                  <a:gd name="connsiteX27" fmla="*/ 166631 w 3491322"/>
                  <a:gd name="connsiteY27" fmla="*/ 1749629 h 1749628"/>
                  <a:gd name="connsiteX28" fmla="*/ 158696 w 3491322"/>
                  <a:gd name="connsiteY28" fmla="*/ 1670280 h 1749628"/>
                  <a:gd name="connsiteX29" fmla="*/ 555438 w 3491322"/>
                  <a:gd name="connsiteY29" fmla="*/ 1273539 h 1749628"/>
                  <a:gd name="connsiteX30" fmla="*/ 952179 w 3491322"/>
                  <a:gd name="connsiteY30" fmla="*/ 1670280 h 1749628"/>
                  <a:gd name="connsiteX31" fmla="*/ 944244 w 3491322"/>
                  <a:gd name="connsiteY31" fmla="*/ 1749629 h 1749628"/>
                  <a:gd name="connsiteX32" fmla="*/ 2388382 w 3491322"/>
                  <a:gd name="connsiteY32" fmla="*/ 1749629 h 1749628"/>
                  <a:gd name="connsiteX33" fmla="*/ 2380447 w 3491322"/>
                  <a:gd name="connsiteY33" fmla="*/ 1670280 h 1749628"/>
                  <a:gd name="connsiteX34" fmla="*/ 2777188 w 3491322"/>
                  <a:gd name="connsiteY34" fmla="*/ 1273539 h 1749628"/>
                  <a:gd name="connsiteX35" fmla="*/ 3173929 w 3491322"/>
                  <a:gd name="connsiteY35" fmla="*/ 1670280 h 1749628"/>
                  <a:gd name="connsiteX36" fmla="*/ 3165995 w 3491322"/>
                  <a:gd name="connsiteY36" fmla="*/ 1749629 h 1749628"/>
                  <a:gd name="connsiteX37" fmla="*/ 3332626 w 3491322"/>
                  <a:gd name="connsiteY37" fmla="*/ 1749629 h 1749628"/>
                  <a:gd name="connsiteX38" fmla="*/ 3491322 w 3491322"/>
                  <a:gd name="connsiteY38" fmla="*/ 1590932 h 1749628"/>
                  <a:gd name="connsiteX39" fmla="*/ 3491322 w 3491322"/>
                  <a:gd name="connsiteY39" fmla="*/ 1083103 h 1749628"/>
                  <a:gd name="connsiteX40" fmla="*/ 3471485 w 3491322"/>
                  <a:gd name="connsiteY40" fmla="*/ 829189 h 1749628"/>
                  <a:gd name="connsiteX41" fmla="*/ 3380235 w 3491322"/>
                  <a:gd name="connsiteY41" fmla="*/ 261849 h 1749628"/>
                  <a:gd name="connsiteX42" fmla="*/ 3066809 w 3491322"/>
                  <a:gd name="connsiteY42" fmla="*/ 0 h 1749628"/>
                  <a:gd name="connsiteX43" fmla="*/ 158696 w 3491322"/>
                  <a:gd name="connsiteY43" fmla="*/ 0 h 1749628"/>
                  <a:gd name="connsiteX44" fmla="*/ 0 w 3491322"/>
                  <a:gd name="connsiteY44" fmla="*/ 162664 h 1749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491322" h="1749628">
                    <a:moveTo>
                      <a:pt x="158696" y="242012"/>
                    </a:moveTo>
                    <a:cubicBezTo>
                      <a:pt x="158696" y="198371"/>
                      <a:pt x="194403" y="162664"/>
                      <a:pt x="238045" y="162664"/>
                    </a:cubicBezTo>
                    <a:lnTo>
                      <a:pt x="793482" y="162664"/>
                    </a:lnTo>
                    <a:lnTo>
                      <a:pt x="793482" y="797450"/>
                    </a:lnTo>
                    <a:lnTo>
                      <a:pt x="158696" y="797450"/>
                    </a:lnTo>
                    <a:lnTo>
                      <a:pt x="158696" y="242012"/>
                    </a:lnTo>
                    <a:close/>
                    <a:moveTo>
                      <a:pt x="952179" y="162664"/>
                    </a:moveTo>
                    <a:lnTo>
                      <a:pt x="1586965" y="162664"/>
                    </a:lnTo>
                    <a:lnTo>
                      <a:pt x="1586965" y="797450"/>
                    </a:lnTo>
                    <a:lnTo>
                      <a:pt x="952179" y="797450"/>
                    </a:lnTo>
                    <a:lnTo>
                      <a:pt x="952179" y="162664"/>
                    </a:lnTo>
                    <a:close/>
                    <a:moveTo>
                      <a:pt x="1745661" y="162664"/>
                    </a:moveTo>
                    <a:lnTo>
                      <a:pt x="2380447" y="162664"/>
                    </a:lnTo>
                    <a:lnTo>
                      <a:pt x="2380447" y="797450"/>
                    </a:lnTo>
                    <a:lnTo>
                      <a:pt x="1745661" y="797450"/>
                    </a:lnTo>
                    <a:lnTo>
                      <a:pt x="1745661" y="162664"/>
                    </a:lnTo>
                    <a:close/>
                    <a:moveTo>
                      <a:pt x="2539143" y="162664"/>
                    </a:moveTo>
                    <a:lnTo>
                      <a:pt x="3066809" y="162664"/>
                    </a:lnTo>
                    <a:cubicBezTo>
                      <a:pt x="3142190" y="162664"/>
                      <a:pt x="3209636" y="218208"/>
                      <a:pt x="3221538" y="293588"/>
                    </a:cubicBezTo>
                    <a:lnTo>
                      <a:pt x="3312789" y="856961"/>
                    </a:lnTo>
                    <a:cubicBezTo>
                      <a:pt x="3320723" y="916472"/>
                      <a:pt x="3328658" y="975983"/>
                      <a:pt x="3328658" y="1035494"/>
                    </a:cubicBezTo>
                    <a:lnTo>
                      <a:pt x="2777188" y="1035494"/>
                    </a:lnTo>
                    <a:lnTo>
                      <a:pt x="2539143" y="797450"/>
                    </a:lnTo>
                    <a:lnTo>
                      <a:pt x="2539143" y="162664"/>
                    </a:lnTo>
                    <a:close/>
                    <a:moveTo>
                      <a:pt x="0" y="162664"/>
                    </a:moveTo>
                    <a:lnTo>
                      <a:pt x="0" y="1590932"/>
                    </a:lnTo>
                    <a:cubicBezTo>
                      <a:pt x="0" y="1678215"/>
                      <a:pt x="71413" y="1749629"/>
                      <a:pt x="158696" y="1749629"/>
                    </a:cubicBezTo>
                    <a:lnTo>
                      <a:pt x="166631" y="1749629"/>
                    </a:lnTo>
                    <a:cubicBezTo>
                      <a:pt x="162664" y="1725824"/>
                      <a:pt x="158696" y="1698052"/>
                      <a:pt x="158696" y="1670280"/>
                    </a:cubicBezTo>
                    <a:cubicBezTo>
                      <a:pt x="158696" y="1452073"/>
                      <a:pt x="337230" y="1273539"/>
                      <a:pt x="555438" y="1273539"/>
                    </a:cubicBezTo>
                    <a:cubicBezTo>
                      <a:pt x="773645" y="1273539"/>
                      <a:pt x="952179" y="1452073"/>
                      <a:pt x="952179" y="1670280"/>
                    </a:cubicBezTo>
                    <a:cubicBezTo>
                      <a:pt x="952179" y="1698052"/>
                      <a:pt x="948211" y="1725824"/>
                      <a:pt x="944244" y="1749629"/>
                    </a:cubicBezTo>
                    <a:lnTo>
                      <a:pt x="2388382" y="1749629"/>
                    </a:lnTo>
                    <a:cubicBezTo>
                      <a:pt x="2384414" y="1725824"/>
                      <a:pt x="2380447" y="1698052"/>
                      <a:pt x="2380447" y="1670280"/>
                    </a:cubicBezTo>
                    <a:cubicBezTo>
                      <a:pt x="2380447" y="1452073"/>
                      <a:pt x="2558981" y="1273539"/>
                      <a:pt x="2777188" y="1273539"/>
                    </a:cubicBezTo>
                    <a:cubicBezTo>
                      <a:pt x="2995396" y="1273539"/>
                      <a:pt x="3173929" y="1452073"/>
                      <a:pt x="3173929" y="1670280"/>
                    </a:cubicBezTo>
                    <a:cubicBezTo>
                      <a:pt x="3173929" y="1698052"/>
                      <a:pt x="3169962" y="1725824"/>
                      <a:pt x="3165995" y="1749629"/>
                    </a:cubicBezTo>
                    <a:lnTo>
                      <a:pt x="3332626" y="1749629"/>
                    </a:lnTo>
                    <a:cubicBezTo>
                      <a:pt x="3419909" y="1749629"/>
                      <a:pt x="3491322" y="1678215"/>
                      <a:pt x="3491322" y="1590932"/>
                    </a:cubicBezTo>
                    <a:lnTo>
                      <a:pt x="3491322" y="1083103"/>
                    </a:lnTo>
                    <a:cubicBezTo>
                      <a:pt x="3491322" y="999788"/>
                      <a:pt x="3483388" y="912505"/>
                      <a:pt x="3471485" y="829189"/>
                    </a:cubicBezTo>
                    <a:lnTo>
                      <a:pt x="3380235" y="261849"/>
                    </a:lnTo>
                    <a:cubicBezTo>
                      <a:pt x="3352463" y="111088"/>
                      <a:pt x="3221538" y="0"/>
                      <a:pt x="3066809" y="0"/>
                    </a:cubicBezTo>
                    <a:lnTo>
                      <a:pt x="158696" y="0"/>
                    </a:lnTo>
                    <a:cubicBezTo>
                      <a:pt x="71413" y="3967"/>
                      <a:pt x="0" y="75381"/>
                      <a:pt x="0" y="162664"/>
                    </a:cubicBezTo>
                    <a:close/>
                  </a:path>
                </a:pathLst>
              </a:custGeom>
              <a:solidFill>
                <a:srgbClr val="000000"/>
              </a:solidFill>
              <a:ln w="39588" cap="flat">
                <a:noFill/>
                <a:prstDash val="solid"/>
                <a:miter/>
              </a:ln>
            </p:spPr>
            <p:txBody>
              <a:bodyPr rtlCol="0" anchor="ctr"/>
              <a:lstStyle/>
              <a:p>
                <a:endParaRPr lang="nl-NL"/>
              </a:p>
            </p:txBody>
          </p:sp>
          <p:sp>
            <p:nvSpPr>
              <p:cNvPr id="265" name="Freeform: Shape 264">
                <a:extLst>
                  <a:ext uri="{FF2B5EF4-FFF2-40B4-BE49-F238E27FC236}">
                    <a16:creationId xmlns:a16="http://schemas.microsoft.com/office/drawing/2014/main" id="{4CBEFF4E-829D-4BF3-B1E9-0EFEE083D053}"/>
                  </a:ext>
                </a:extLst>
              </p:cNvPr>
              <p:cNvSpPr/>
              <p:nvPr/>
            </p:nvSpPr>
            <p:spPr>
              <a:xfrm>
                <a:off x="6967321" y="4516446"/>
                <a:ext cx="555437" cy="555437"/>
              </a:xfrm>
              <a:custGeom>
                <a:avLst/>
                <a:gdLst>
                  <a:gd name="connsiteX0" fmla="*/ 555438 w 555437"/>
                  <a:gd name="connsiteY0" fmla="*/ 277719 h 555437"/>
                  <a:gd name="connsiteX1" fmla="*/ 277719 w 555437"/>
                  <a:gd name="connsiteY1" fmla="*/ 555438 h 555437"/>
                  <a:gd name="connsiteX2" fmla="*/ 0 w 555437"/>
                  <a:gd name="connsiteY2" fmla="*/ 277719 h 555437"/>
                  <a:gd name="connsiteX3" fmla="*/ 277719 w 555437"/>
                  <a:gd name="connsiteY3" fmla="*/ 0 h 555437"/>
                  <a:gd name="connsiteX4" fmla="*/ 555438 w 555437"/>
                  <a:gd name="connsiteY4" fmla="*/ 277719 h 555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437" h="555437">
                    <a:moveTo>
                      <a:pt x="555438" y="277719"/>
                    </a:moveTo>
                    <a:cubicBezTo>
                      <a:pt x="555438" y="431099"/>
                      <a:pt x="431099" y="555438"/>
                      <a:pt x="277719" y="555438"/>
                    </a:cubicBezTo>
                    <a:cubicBezTo>
                      <a:pt x="124339" y="555438"/>
                      <a:pt x="0" y="431099"/>
                      <a:pt x="0" y="277719"/>
                    </a:cubicBezTo>
                    <a:cubicBezTo>
                      <a:pt x="0" y="124339"/>
                      <a:pt x="124339" y="0"/>
                      <a:pt x="277719" y="0"/>
                    </a:cubicBezTo>
                    <a:cubicBezTo>
                      <a:pt x="431099" y="0"/>
                      <a:pt x="555438" y="124339"/>
                      <a:pt x="555438" y="277719"/>
                    </a:cubicBezTo>
                    <a:close/>
                  </a:path>
                </a:pathLst>
              </a:custGeom>
              <a:solidFill>
                <a:srgbClr val="000000"/>
              </a:solidFill>
              <a:ln w="39588" cap="flat">
                <a:noFill/>
                <a:prstDash val="solid"/>
                <a:miter/>
              </a:ln>
            </p:spPr>
            <p:txBody>
              <a:bodyPr rtlCol="0" anchor="ctr"/>
              <a:lstStyle/>
              <a:p>
                <a:endParaRPr lang="nl-NL"/>
              </a:p>
            </p:txBody>
          </p:sp>
          <p:sp>
            <p:nvSpPr>
              <p:cNvPr id="266" name="Freeform: Shape 265">
                <a:extLst>
                  <a:ext uri="{FF2B5EF4-FFF2-40B4-BE49-F238E27FC236}">
                    <a16:creationId xmlns:a16="http://schemas.microsoft.com/office/drawing/2014/main" id="{C94E5E6D-206D-4C39-9F10-CDD0C1D51725}"/>
                  </a:ext>
                </a:extLst>
              </p:cNvPr>
              <p:cNvSpPr/>
              <p:nvPr/>
            </p:nvSpPr>
            <p:spPr>
              <a:xfrm>
                <a:off x="4745571" y="4516446"/>
                <a:ext cx="555437" cy="555437"/>
              </a:xfrm>
              <a:custGeom>
                <a:avLst/>
                <a:gdLst>
                  <a:gd name="connsiteX0" fmla="*/ 555438 w 555437"/>
                  <a:gd name="connsiteY0" fmla="*/ 277719 h 555437"/>
                  <a:gd name="connsiteX1" fmla="*/ 277719 w 555437"/>
                  <a:gd name="connsiteY1" fmla="*/ 555438 h 555437"/>
                  <a:gd name="connsiteX2" fmla="*/ 0 w 555437"/>
                  <a:gd name="connsiteY2" fmla="*/ 277719 h 555437"/>
                  <a:gd name="connsiteX3" fmla="*/ 277719 w 555437"/>
                  <a:gd name="connsiteY3" fmla="*/ 0 h 555437"/>
                  <a:gd name="connsiteX4" fmla="*/ 555438 w 555437"/>
                  <a:gd name="connsiteY4" fmla="*/ 277719 h 555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437" h="555437">
                    <a:moveTo>
                      <a:pt x="555438" y="277719"/>
                    </a:moveTo>
                    <a:cubicBezTo>
                      <a:pt x="555438" y="431099"/>
                      <a:pt x="431099" y="555438"/>
                      <a:pt x="277719" y="555438"/>
                    </a:cubicBezTo>
                    <a:cubicBezTo>
                      <a:pt x="124339" y="555438"/>
                      <a:pt x="0" y="431099"/>
                      <a:pt x="0" y="277719"/>
                    </a:cubicBezTo>
                    <a:cubicBezTo>
                      <a:pt x="0" y="124339"/>
                      <a:pt x="124339" y="0"/>
                      <a:pt x="277719" y="0"/>
                    </a:cubicBezTo>
                    <a:cubicBezTo>
                      <a:pt x="431099" y="0"/>
                      <a:pt x="555438" y="124339"/>
                      <a:pt x="555438" y="277719"/>
                    </a:cubicBezTo>
                    <a:close/>
                  </a:path>
                </a:pathLst>
              </a:custGeom>
              <a:solidFill>
                <a:srgbClr val="000000"/>
              </a:solidFill>
              <a:ln w="39588" cap="flat">
                <a:noFill/>
                <a:prstDash val="solid"/>
                <a:miter/>
              </a:ln>
            </p:spPr>
            <p:txBody>
              <a:bodyPr rtlCol="0" anchor="ctr"/>
              <a:lstStyle/>
              <a:p>
                <a:endParaRPr lang="nl-NL"/>
              </a:p>
            </p:txBody>
          </p:sp>
        </p:grpSp>
        <p:sp>
          <p:nvSpPr>
            <p:cNvPr id="115" name="Freeform 332">
              <a:extLst>
                <a:ext uri="{FF2B5EF4-FFF2-40B4-BE49-F238E27FC236}">
                  <a16:creationId xmlns:a16="http://schemas.microsoft.com/office/drawing/2014/main" id="{B7250F05-5F4E-42E2-A425-02849FEF436E}"/>
                </a:ext>
              </a:extLst>
            </p:cNvPr>
            <p:cNvSpPr>
              <a:spLocks noChangeArrowheads="1"/>
            </p:cNvSpPr>
            <p:nvPr/>
          </p:nvSpPr>
          <p:spPr bwMode="auto">
            <a:xfrm>
              <a:off x="7359312" y="3715058"/>
              <a:ext cx="298651" cy="304413"/>
            </a:xfrm>
            <a:custGeom>
              <a:avLst/>
              <a:gdLst>
                <a:gd name="T0" fmla="*/ 180 w 362"/>
                <a:gd name="T1" fmla="*/ 0 h 361"/>
                <a:gd name="T2" fmla="*/ 180 w 362"/>
                <a:gd name="T3" fmla="*/ 0 h 361"/>
                <a:gd name="T4" fmla="*/ 0 w 362"/>
                <a:gd name="T5" fmla="*/ 180 h 361"/>
                <a:gd name="T6" fmla="*/ 180 w 362"/>
                <a:gd name="T7" fmla="*/ 360 h 361"/>
                <a:gd name="T8" fmla="*/ 361 w 362"/>
                <a:gd name="T9" fmla="*/ 180 h 361"/>
                <a:gd name="T10" fmla="*/ 180 w 362"/>
                <a:gd name="T11" fmla="*/ 0 h 361"/>
              </a:gdLst>
              <a:ahLst/>
              <a:cxnLst>
                <a:cxn ang="0">
                  <a:pos x="T0" y="T1"/>
                </a:cxn>
                <a:cxn ang="0">
                  <a:pos x="T2" y="T3"/>
                </a:cxn>
                <a:cxn ang="0">
                  <a:pos x="T4" y="T5"/>
                </a:cxn>
                <a:cxn ang="0">
                  <a:pos x="T6" y="T7"/>
                </a:cxn>
                <a:cxn ang="0">
                  <a:pos x="T8" y="T9"/>
                </a:cxn>
                <a:cxn ang="0">
                  <a:pos x="T10" y="T11"/>
                </a:cxn>
              </a:cxnLst>
              <a:rect l="0" t="0" r="r" b="b"/>
              <a:pathLst>
                <a:path w="362" h="361">
                  <a:moveTo>
                    <a:pt x="180" y="0"/>
                  </a:moveTo>
                  <a:lnTo>
                    <a:pt x="180" y="0"/>
                  </a:lnTo>
                  <a:cubicBezTo>
                    <a:pt x="84" y="0"/>
                    <a:pt x="0" y="72"/>
                    <a:pt x="0" y="180"/>
                  </a:cubicBezTo>
                  <a:cubicBezTo>
                    <a:pt x="0" y="276"/>
                    <a:pt x="84" y="360"/>
                    <a:pt x="180" y="360"/>
                  </a:cubicBezTo>
                  <a:cubicBezTo>
                    <a:pt x="265" y="360"/>
                    <a:pt x="337" y="276"/>
                    <a:pt x="361" y="180"/>
                  </a:cubicBezTo>
                  <a:cubicBezTo>
                    <a:pt x="361" y="96"/>
                    <a:pt x="289" y="24"/>
                    <a:pt x="180"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Arial" panose="020B0604020202020204" pitchFamily="34" charset="0"/>
              </a:endParaRPr>
            </a:p>
          </p:txBody>
        </p:sp>
        <p:sp>
          <p:nvSpPr>
            <p:cNvPr id="123" name="Freeform 1">
              <a:extLst>
                <a:ext uri="{FF2B5EF4-FFF2-40B4-BE49-F238E27FC236}">
                  <a16:creationId xmlns:a16="http://schemas.microsoft.com/office/drawing/2014/main" id="{15ABF31D-5A7C-4A9A-BD25-8343A1072C60}"/>
                </a:ext>
              </a:extLst>
            </p:cNvPr>
            <p:cNvSpPr>
              <a:spLocks noChangeArrowheads="1"/>
            </p:cNvSpPr>
            <p:nvPr/>
          </p:nvSpPr>
          <p:spPr bwMode="auto">
            <a:xfrm>
              <a:off x="6283042" y="3438465"/>
              <a:ext cx="298651" cy="328516"/>
            </a:xfrm>
            <a:custGeom>
              <a:avLst/>
              <a:gdLst>
                <a:gd name="T0" fmla="*/ 1062 w 1251"/>
                <a:gd name="T1" fmla="*/ 188 h 1033"/>
                <a:gd name="T2" fmla="*/ 1062 w 1251"/>
                <a:gd name="T3" fmla="*/ 188 h 1033"/>
                <a:gd name="T4" fmla="*/ 499 w 1251"/>
                <a:gd name="T5" fmla="*/ 94 h 1033"/>
                <a:gd name="T6" fmla="*/ 281 w 1251"/>
                <a:gd name="T7" fmla="*/ 0 h 1033"/>
                <a:gd name="T8" fmla="*/ 0 w 1251"/>
                <a:gd name="T9" fmla="*/ 282 h 1033"/>
                <a:gd name="T10" fmla="*/ 250 w 1251"/>
                <a:gd name="T11" fmla="*/ 532 h 1033"/>
                <a:gd name="T12" fmla="*/ 375 w 1251"/>
                <a:gd name="T13" fmla="*/ 844 h 1033"/>
                <a:gd name="T14" fmla="*/ 1062 w 1251"/>
                <a:gd name="T15" fmla="*/ 844 h 1033"/>
                <a:gd name="T16" fmla="*/ 1062 w 1251"/>
                <a:gd name="T17" fmla="*/ 188 h 1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1" h="1033">
                  <a:moveTo>
                    <a:pt x="1062" y="188"/>
                  </a:moveTo>
                  <a:lnTo>
                    <a:pt x="1062" y="188"/>
                  </a:lnTo>
                  <a:cubicBezTo>
                    <a:pt x="906" y="32"/>
                    <a:pt x="687" y="0"/>
                    <a:pt x="499" y="94"/>
                  </a:cubicBezTo>
                  <a:cubicBezTo>
                    <a:pt x="437" y="32"/>
                    <a:pt x="375" y="0"/>
                    <a:pt x="281" y="0"/>
                  </a:cubicBezTo>
                  <a:cubicBezTo>
                    <a:pt x="125" y="0"/>
                    <a:pt x="0" y="126"/>
                    <a:pt x="0" y="282"/>
                  </a:cubicBezTo>
                  <a:cubicBezTo>
                    <a:pt x="0" y="407"/>
                    <a:pt x="125" y="532"/>
                    <a:pt x="250" y="532"/>
                  </a:cubicBezTo>
                  <a:cubicBezTo>
                    <a:pt x="250" y="657"/>
                    <a:pt x="312" y="751"/>
                    <a:pt x="375" y="844"/>
                  </a:cubicBezTo>
                  <a:cubicBezTo>
                    <a:pt x="562" y="1032"/>
                    <a:pt x="875" y="1032"/>
                    <a:pt x="1062" y="844"/>
                  </a:cubicBezTo>
                  <a:cubicBezTo>
                    <a:pt x="1250" y="657"/>
                    <a:pt x="1250" y="376"/>
                    <a:pt x="1062" y="188"/>
                  </a:cubicBezTo>
                </a:path>
              </a:pathLst>
            </a:custGeom>
            <a:solidFill>
              <a:srgbClr val="22777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nl-NL" dirty="0"/>
            </a:p>
          </p:txBody>
        </p:sp>
        <p:grpSp>
          <p:nvGrpSpPr>
            <p:cNvPr id="203" name="Group 202">
              <a:extLst>
                <a:ext uri="{FF2B5EF4-FFF2-40B4-BE49-F238E27FC236}">
                  <a16:creationId xmlns:a16="http://schemas.microsoft.com/office/drawing/2014/main" id="{5FE25EEA-287D-44ED-AC0D-756554515914}"/>
                </a:ext>
              </a:extLst>
            </p:cNvPr>
            <p:cNvGrpSpPr/>
            <p:nvPr/>
          </p:nvGrpSpPr>
          <p:grpSpPr>
            <a:xfrm>
              <a:off x="5430312" y="3527212"/>
              <a:ext cx="472075" cy="601015"/>
              <a:chOff x="5945860" y="2075620"/>
              <a:chExt cx="468164" cy="596036"/>
            </a:xfrm>
          </p:grpSpPr>
          <p:pic>
            <p:nvPicPr>
              <p:cNvPr id="205" name="Graphic 204" descr="Moustache with solid fill">
                <a:extLst>
                  <a:ext uri="{FF2B5EF4-FFF2-40B4-BE49-F238E27FC236}">
                    <a16:creationId xmlns:a16="http://schemas.microsoft.com/office/drawing/2014/main" id="{E2B29CA4-403E-414B-9975-F55051E70549}"/>
                  </a:ext>
                </a:extLst>
              </p:cNvPr>
              <p:cNvPicPr>
                <a:picLocks noChangeAspect="1"/>
              </p:cNvPicPr>
              <p:nvPr/>
            </p:nvPicPr>
            <p:blipFill rotWithShape="1">
              <a:blip r:embed="rId26" cstate="print">
                <a:extLst>
                  <a:ext uri="{28A0092B-C50C-407E-A947-70E740481C1C}">
                    <a14:useLocalDpi xmlns:a14="http://schemas.microsoft.com/office/drawing/2010/main"/>
                  </a:ext>
                  <a:ext uri="{96DAC541-7B7A-43D3-8B79-37D633B846F1}">
                    <asvg:svgBlip xmlns:asvg="http://schemas.microsoft.com/office/drawing/2016/SVG/main" r:embed="rId27"/>
                  </a:ext>
                </a:extLst>
              </a:blip>
              <a:srcRect r="48063"/>
              <a:stretch/>
            </p:blipFill>
            <p:spPr>
              <a:xfrm rot="19111111">
                <a:off x="5945860" y="2075620"/>
                <a:ext cx="309564" cy="596036"/>
              </a:xfrm>
              <a:prstGeom prst="rect">
                <a:avLst/>
              </a:prstGeom>
            </p:spPr>
          </p:pic>
          <p:sp>
            <p:nvSpPr>
              <p:cNvPr id="206" name="Freeform: Shape 205">
                <a:extLst>
                  <a:ext uri="{FF2B5EF4-FFF2-40B4-BE49-F238E27FC236}">
                    <a16:creationId xmlns:a16="http://schemas.microsoft.com/office/drawing/2014/main" id="{9DD3B33D-2852-4CE3-9644-8141F5857500}"/>
                  </a:ext>
                </a:extLst>
              </p:cNvPr>
              <p:cNvSpPr/>
              <p:nvPr/>
            </p:nvSpPr>
            <p:spPr>
              <a:xfrm>
                <a:off x="6205267" y="2250566"/>
                <a:ext cx="208757" cy="208757"/>
              </a:xfrm>
              <a:custGeom>
                <a:avLst/>
                <a:gdLst>
                  <a:gd name="connsiteX0" fmla="*/ 97868 w 97868"/>
                  <a:gd name="connsiteY0" fmla="*/ 48934 h 97868"/>
                  <a:gd name="connsiteX1" fmla="*/ 48934 w 97868"/>
                  <a:gd name="connsiteY1" fmla="*/ 97868 h 97868"/>
                  <a:gd name="connsiteX2" fmla="*/ 0 w 97868"/>
                  <a:gd name="connsiteY2" fmla="*/ 48934 h 97868"/>
                  <a:gd name="connsiteX3" fmla="*/ 48934 w 97868"/>
                  <a:gd name="connsiteY3" fmla="*/ 0 h 97868"/>
                  <a:gd name="connsiteX4" fmla="*/ 97868 w 97868"/>
                  <a:gd name="connsiteY4" fmla="*/ 48934 h 9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868" h="97868">
                    <a:moveTo>
                      <a:pt x="97868" y="48934"/>
                    </a:moveTo>
                    <a:cubicBezTo>
                      <a:pt x="97868" y="75960"/>
                      <a:pt x="75960" y="97868"/>
                      <a:pt x="48934" y="97868"/>
                    </a:cubicBezTo>
                    <a:cubicBezTo>
                      <a:pt x="21909" y="97868"/>
                      <a:pt x="0" y="75960"/>
                      <a:pt x="0" y="48934"/>
                    </a:cubicBezTo>
                    <a:cubicBezTo>
                      <a:pt x="0" y="21909"/>
                      <a:pt x="21909" y="0"/>
                      <a:pt x="48934" y="0"/>
                    </a:cubicBezTo>
                    <a:cubicBezTo>
                      <a:pt x="75960" y="0"/>
                      <a:pt x="97868" y="21909"/>
                      <a:pt x="97868" y="48934"/>
                    </a:cubicBezTo>
                    <a:close/>
                  </a:path>
                </a:pathLst>
              </a:custGeom>
              <a:solidFill>
                <a:srgbClr val="22777B"/>
              </a:solidFill>
              <a:ln w="6052" cap="flat">
                <a:noFill/>
                <a:prstDash val="solid"/>
                <a:miter/>
              </a:ln>
            </p:spPr>
            <p:txBody>
              <a:bodyPr rtlCol="0" anchor="ctr"/>
              <a:lstStyle/>
              <a:p>
                <a:endParaRPr lang="nl-NL" dirty="0"/>
              </a:p>
            </p:txBody>
          </p:sp>
          <p:sp>
            <p:nvSpPr>
              <p:cNvPr id="207" name="Rectangle 206">
                <a:extLst>
                  <a:ext uri="{FF2B5EF4-FFF2-40B4-BE49-F238E27FC236}">
                    <a16:creationId xmlns:a16="http://schemas.microsoft.com/office/drawing/2014/main" id="{0C410BE6-ED04-4067-8605-C32620C0A73A}"/>
                  </a:ext>
                </a:extLst>
              </p:cNvPr>
              <p:cNvSpPr/>
              <p:nvPr/>
            </p:nvSpPr>
            <p:spPr>
              <a:xfrm rot="6484563">
                <a:off x="6195524" y="2243886"/>
                <a:ext cx="61340" cy="83313"/>
              </a:xfrm>
              <a:prstGeom prst="rect">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pSp>
        <p:grpSp>
          <p:nvGrpSpPr>
            <p:cNvPr id="211" name="Group 210">
              <a:extLst>
                <a:ext uri="{FF2B5EF4-FFF2-40B4-BE49-F238E27FC236}">
                  <a16:creationId xmlns:a16="http://schemas.microsoft.com/office/drawing/2014/main" id="{118D85FF-C597-40AA-8A45-820B7C0D3979}"/>
                </a:ext>
              </a:extLst>
            </p:cNvPr>
            <p:cNvGrpSpPr/>
            <p:nvPr/>
          </p:nvGrpSpPr>
          <p:grpSpPr>
            <a:xfrm rot="20542492">
              <a:off x="4703955" y="3475868"/>
              <a:ext cx="434301" cy="434301"/>
              <a:chOff x="6237533" y="2490598"/>
              <a:chExt cx="434301" cy="434301"/>
            </a:xfrm>
          </p:grpSpPr>
          <p:sp>
            <p:nvSpPr>
              <p:cNvPr id="210" name="Freeform 332">
                <a:extLst>
                  <a:ext uri="{FF2B5EF4-FFF2-40B4-BE49-F238E27FC236}">
                    <a16:creationId xmlns:a16="http://schemas.microsoft.com/office/drawing/2014/main" id="{D27FF726-336C-4FD5-9AF8-55829E9BA4E4}"/>
                  </a:ext>
                </a:extLst>
              </p:cNvPr>
              <p:cNvSpPr>
                <a:spLocks noChangeArrowheads="1"/>
              </p:cNvSpPr>
              <p:nvPr/>
            </p:nvSpPr>
            <p:spPr bwMode="auto">
              <a:xfrm>
                <a:off x="6268013" y="2618932"/>
                <a:ext cx="298651" cy="304413"/>
              </a:xfrm>
              <a:custGeom>
                <a:avLst/>
                <a:gdLst>
                  <a:gd name="T0" fmla="*/ 180 w 362"/>
                  <a:gd name="T1" fmla="*/ 0 h 361"/>
                  <a:gd name="T2" fmla="*/ 180 w 362"/>
                  <a:gd name="T3" fmla="*/ 0 h 361"/>
                  <a:gd name="T4" fmla="*/ 0 w 362"/>
                  <a:gd name="T5" fmla="*/ 180 h 361"/>
                  <a:gd name="T6" fmla="*/ 180 w 362"/>
                  <a:gd name="T7" fmla="*/ 360 h 361"/>
                  <a:gd name="T8" fmla="*/ 361 w 362"/>
                  <a:gd name="T9" fmla="*/ 180 h 361"/>
                  <a:gd name="T10" fmla="*/ 180 w 362"/>
                  <a:gd name="T11" fmla="*/ 0 h 361"/>
                </a:gdLst>
                <a:ahLst/>
                <a:cxnLst>
                  <a:cxn ang="0">
                    <a:pos x="T0" y="T1"/>
                  </a:cxn>
                  <a:cxn ang="0">
                    <a:pos x="T2" y="T3"/>
                  </a:cxn>
                  <a:cxn ang="0">
                    <a:pos x="T4" y="T5"/>
                  </a:cxn>
                  <a:cxn ang="0">
                    <a:pos x="T6" y="T7"/>
                  </a:cxn>
                  <a:cxn ang="0">
                    <a:pos x="T8" y="T9"/>
                  </a:cxn>
                  <a:cxn ang="0">
                    <a:pos x="T10" y="T11"/>
                  </a:cxn>
                </a:cxnLst>
                <a:rect l="0" t="0" r="r" b="b"/>
                <a:pathLst>
                  <a:path w="362" h="361">
                    <a:moveTo>
                      <a:pt x="180" y="0"/>
                    </a:moveTo>
                    <a:lnTo>
                      <a:pt x="180" y="0"/>
                    </a:lnTo>
                    <a:cubicBezTo>
                      <a:pt x="84" y="0"/>
                      <a:pt x="0" y="72"/>
                      <a:pt x="0" y="180"/>
                    </a:cubicBezTo>
                    <a:cubicBezTo>
                      <a:pt x="0" y="276"/>
                      <a:pt x="84" y="360"/>
                      <a:pt x="180" y="360"/>
                    </a:cubicBezTo>
                    <a:cubicBezTo>
                      <a:pt x="265" y="360"/>
                      <a:pt x="337" y="276"/>
                      <a:pt x="361" y="180"/>
                    </a:cubicBezTo>
                    <a:cubicBezTo>
                      <a:pt x="361" y="96"/>
                      <a:pt x="289" y="24"/>
                      <a:pt x="180"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Arial" panose="020B0604020202020204" pitchFamily="34" charset="0"/>
                </a:endParaRPr>
              </a:p>
            </p:txBody>
          </p:sp>
          <p:pic>
            <p:nvPicPr>
              <p:cNvPr id="209" name="Graphic 208" descr="Baseball hat with solid fill">
                <a:extLst>
                  <a:ext uri="{FF2B5EF4-FFF2-40B4-BE49-F238E27FC236}">
                    <a16:creationId xmlns:a16="http://schemas.microsoft.com/office/drawing/2014/main" id="{1F704667-3270-43B5-9794-E56ED19B518A}"/>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237533" y="2490598"/>
                <a:ext cx="434301" cy="434301"/>
              </a:xfrm>
              <a:prstGeom prst="rect">
                <a:avLst/>
              </a:prstGeom>
            </p:spPr>
          </p:pic>
        </p:grpSp>
        <p:sp>
          <p:nvSpPr>
            <p:cNvPr id="262" name="Freeform 332">
              <a:extLst>
                <a:ext uri="{FF2B5EF4-FFF2-40B4-BE49-F238E27FC236}">
                  <a16:creationId xmlns:a16="http://schemas.microsoft.com/office/drawing/2014/main" id="{363D5CA9-B53B-4643-BD2C-D72ABAA332EC}"/>
                </a:ext>
              </a:extLst>
            </p:cNvPr>
            <p:cNvSpPr>
              <a:spLocks noChangeArrowheads="1"/>
            </p:cNvSpPr>
            <p:nvPr/>
          </p:nvSpPr>
          <p:spPr bwMode="auto">
            <a:xfrm>
              <a:off x="7090291" y="4641805"/>
              <a:ext cx="298651" cy="304413"/>
            </a:xfrm>
            <a:custGeom>
              <a:avLst/>
              <a:gdLst>
                <a:gd name="T0" fmla="*/ 180 w 362"/>
                <a:gd name="T1" fmla="*/ 0 h 361"/>
                <a:gd name="T2" fmla="*/ 180 w 362"/>
                <a:gd name="T3" fmla="*/ 0 h 361"/>
                <a:gd name="T4" fmla="*/ 0 w 362"/>
                <a:gd name="T5" fmla="*/ 180 h 361"/>
                <a:gd name="T6" fmla="*/ 180 w 362"/>
                <a:gd name="T7" fmla="*/ 360 h 361"/>
                <a:gd name="T8" fmla="*/ 361 w 362"/>
                <a:gd name="T9" fmla="*/ 180 h 361"/>
                <a:gd name="T10" fmla="*/ 180 w 362"/>
                <a:gd name="T11" fmla="*/ 0 h 361"/>
              </a:gdLst>
              <a:ahLst/>
              <a:cxnLst>
                <a:cxn ang="0">
                  <a:pos x="T0" y="T1"/>
                </a:cxn>
                <a:cxn ang="0">
                  <a:pos x="T2" y="T3"/>
                </a:cxn>
                <a:cxn ang="0">
                  <a:pos x="T4" y="T5"/>
                </a:cxn>
                <a:cxn ang="0">
                  <a:pos x="T6" y="T7"/>
                </a:cxn>
                <a:cxn ang="0">
                  <a:pos x="T8" y="T9"/>
                </a:cxn>
                <a:cxn ang="0">
                  <a:pos x="T10" y="T11"/>
                </a:cxn>
              </a:cxnLst>
              <a:rect l="0" t="0" r="r" b="b"/>
              <a:pathLst>
                <a:path w="362" h="361">
                  <a:moveTo>
                    <a:pt x="180" y="0"/>
                  </a:moveTo>
                  <a:lnTo>
                    <a:pt x="180" y="0"/>
                  </a:lnTo>
                  <a:cubicBezTo>
                    <a:pt x="84" y="0"/>
                    <a:pt x="0" y="72"/>
                    <a:pt x="0" y="180"/>
                  </a:cubicBezTo>
                  <a:cubicBezTo>
                    <a:pt x="0" y="276"/>
                    <a:pt x="84" y="360"/>
                    <a:pt x="180" y="360"/>
                  </a:cubicBezTo>
                  <a:cubicBezTo>
                    <a:pt x="265" y="360"/>
                    <a:pt x="337" y="276"/>
                    <a:pt x="361" y="180"/>
                  </a:cubicBezTo>
                  <a:cubicBezTo>
                    <a:pt x="361" y="96"/>
                    <a:pt x="289" y="24"/>
                    <a:pt x="180"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Arial" panose="020B0604020202020204" pitchFamily="34" charset="0"/>
              </a:endParaRPr>
            </a:p>
          </p:txBody>
        </p:sp>
        <p:sp>
          <p:nvSpPr>
            <p:cNvPr id="267" name="Freeform 332">
              <a:extLst>
                <a:ext uri="{FF2B5EF4-FFF2-40B4-BE49-F238E27FC236}">
                  <a16:creationId xmlns:a16="http://schemas.microsoft.com/office/drawing/2014/main" id="{5389128E-277F-4BB8-8622-6A2EEA96D141}"/>
                </a:ext>
              </a:extLst>
            </p:cNvPr>
            <p:cNvSpPr>
              <a:spLocks noChangeArrowheads="1"/>
            </p:cNvSpPr>
            <p:nvPr/>
          </p:nvSpPr>
          <p:spPr bwMode="auto">
            <a:xfrm>
              <a:off x="4866135" y="4641805"/>
              <a:ext cx="298651" cy="304413"/>
            </a:xfrm>
            <a:custGeom>
              <a:avLst/>
              <a:gdLst>
                <a:gd name="T0" fmla="*/ 180 w 362"/>
                <a:gd name="T1" fmla="*/ 0 h 361"/>
                <a:gd name="T2" fmla="*/ 180 w 362"/>
                <a:gd name="T3" fmla="*/ 0 h 361"/>
                <a:gd name="T4" fmla="*/ 0 w 362"/>
                <a:gd name="T5" fmla="*/ 180 h 361"/>
                <a:gd name="T6" fmla="*/ 180 w 362"/>
                <a:gd name="T7" fmla="*/ 360 h 361"/>
                <a:gd name="T8" fmla="*/ 361 w 362"/>
                <a:gd name="T9" fmla="*/ 180 h 361"/>
                <a:gd name="T10" fmla="*/ 180 w 362"/>
                <a:gd name="T11" fmla="*/ 0 h 361"/>
              </a:gdLst>
              <a:ahLst/>
              <a:cxnLst>
                <a:cxn ang="0">
                  <a:pos x="T0" y="T1"/>
                </a:cxn>
                <a:cxn ang="0">
                  <a:pos x="T2" y="T3"/>
                </a:cxn>
                <a:cxn ang="0">
                  <a:pos x="T4" y="T5"/>
                </a:cxn>
                <a:cxn ang="0">
                  <a:pos x="T6" y="T7"/>
                </a:cxn>
                <a:cxn ang="0">
                  <a:pos x="T8" y="T9"/>
                </a:cxn>
                <a:cxn ang="0">
                  <a:pos x="T10" y="T11"/>
                </a:cxn>
              </a:cxnLst>
              <a:rect l="0" t="0" r="r" b="b"/>
              <a:pathLst>
                <a:path w="362" h="361">
                  <a:moveTo>
                    <a:pt x="180" y="0"/>
                  </a:moveTo>
                  <a:lnTo>
                    <a:pt x="180" y="0"/>
                  </a:lnTo>
                  <a:cubicBezTo>
                    <a:pt x="84" y="0"/>
                    <a:pt x="0" y="72"/>
                    <a:pt x="0" y="180"/>
                  </a:cubicBezTo>
                  <a:cubicBezTo>
                    <a:pt x="0" y="276"/>
                    <a:pt x="84" y="360"/>
                    <a:pt x="180" y="360"/>
                  </a:cubicBezTo>
                  <a:cubicBezTo>
                    <a:pt x="265" y="360"/>
                    <a:pt x="337" y="276"/>
                    <a:pt x="361" y="180"/>
                  </a:cubicBezTo>
                  <a:cubicBezTo>
                    <a:pt x="361" y="96"/>
                    <a:pt x="289" y="24"/>
                    <a:pt x="180"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Arial" panose="020B0604020202020204" pitchFamily="34" charset="0"/>
              </a:endParaRPr>
            </a:p>
          </p:txBody>
        </p:sp>
      </p:grpSp>
      <p:cxnSp>
        <p:nvCxnSpPr>
          <p:cNvPr id="34" name="Connector: Curved 33">
            <a:extLst>
              <a:ext uri="{FF2B5EF4-FFF2-40B4-BE49-F238E27FC236}">
                <a16:creationId xmlns:a16="http://schemas.microsoft.com/office/drawing/2014/main" id="{57EE3772-EAD0-4946-8DC7-BB562E687BC3}"/>
              </a:ext>
            </a:extLst>
          </p:cNvPr>
          <p:cNvCxnSpPr>
            <a:cxnSpLocks/>
          </p:cNvCxnSpPr>
          <p:nvPr/>
        </p:nvCxnSpPr>
        <p:spPr>
          <a:xfrm flipV="1">
            <a:off x="7884531" y="2148308"/>
            <a:ext cx="1145022" cy="1048375"/>
          </a:xfrm>
          <a:prstGeom prst="curvedConnector3">
            <a:avLst>
              <a:gd name="adj1" fmla="val 50000"/>
            </a:avLst>
          </a:prstGeom>
          <a:ln w="12700">
            <a:solidFill>
              <a:schemeClr val="tx1"/>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85" name="Connector: Curved 84">
            <a:extLst>
              <a:ext uri="{FF2B5EF4-FFF2-40B4-BE49-F238E27FC236}">
                <a16:creationId xmlns:a16="http://schemas.microsoft.com/office/drawing/2014/main" id="{319D1F0C-315F-4568-836E-C7BCC21CB84F}"/>
              </a:ext>
            </a:extLst>
          </p:cNvPr>
          <p:cNvCxnSpPr>
            <a:cxnSpLocks/>
          </p:cNvCxnSpPr>
          <p:nvPr/>
        </p:nvCxnSpPr>
        <p:spPr>
          <a:xfrm>
            <a:off x="7968345" y="4761543"/>
            <a:ext cx="1061208" cy="1005881"/>
          </a:xfrm>
          <a:prstGeom prst="curvedConnector3">
            <a:avLst>
              <a:gd name="adj1" fmla="val 50000"/>
            </a:avLst>
          </a:prstGeom>
          <a:ln w="12700">
            <a:solidFill>
              <a:schemeClr val="tx1"/>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86" name="Connector: Curved 85">
            <a:extLst>
              <a:ext uri="{FF2B5EF4-FFF2-40B4-BE49-F238E27FC236}">
                <a16:creationId xmlns:a16="http://schemas.microsoft.com/office/drawing/2014/main" id="{8F02FEFB-A4DA-4F46-9C0C-430BFB2EDBD0}"/>
              </a:ext>
            </a:extLst>
          </p:cNvPr>
          <p:cNvCxnSpPr>
            <a:cxnSpLocks/>
          </p:cNvCxnSpPr>
          <p:nvPr/>
        </p:nvCxnSpPr>
        <p:spPr>
          <a:xfrm flipV="1">
            <a:off x="7968343" y="3361076"/>
            <a:ext cx="1061211" cy="303447"/>
          </a:xfrm>
          <a:prstGeom prst="curvedConnector3">
            <a:avLst>
              <a:gd name="adj1" fmla="val 50000"/>
            </a:avLst>
          </a:prstGeom>
          <a:ln w="12700">
            <a:solidFill>
              <a:schemeClr val="tx1"/>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87" name="Connector: Curved 86">
            <a:extLst>
              <a:ext uri="{FF2B5EF4-FFF2-40B4-BE49-F238E27FC236}">
                <a16:creationId xmlns:a16="http://schemas.microsoft.com/office/drawing/2014/main" id="{7D90D0AE-FC0F-4D52-9F9A-F09A8770B92C}"/>
              </a:ext>
            </a:extLst>
          </p:cNvPr>
          <p:cNvCxnSpPr>
            <a:cxnSpLocks/>
          </p:cNvCxnSpPr>
          <p:nvPr/>
        </p:nvCxnSpPr>
        <p:spPr>
          <a:xfrm>
            <a:off x="8029303" y="4249783"/>
            <a:ext cx="1000251" cy="394277"/>
          </a:xfrm>
          <a:prstGeom prst="curvedConnector3">
            <a:avLst>
              <a:gd name="adj1" fmla="val 50000"/>
            </a:avLst>
          </a:prstGeom>
          <a:ln w="12700">
            <a:solidFill>
              <a:schemeClr val="tx1"/>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55" name="Text Placeholder 6">
            <a:extLst>
              <a:ext uri="{FF2B5EF4-FFF2-40B4-BE49-F238E27FC236}">
                <a16:creationId xmlns:a16="http://schemas.microsoft.com/office/drawing/2014/main" id="{4887B2C3-2626-482C-9E70-5FBE7FE637A1}"/>
              </a:ext>
            </a:extLst>
          </p:cNvPr>
          <p:cNvSpPr txBox="1">
            <a:spLocks/>
          </p:cNvSpPr>
          <p:nvPr/>
        </p:nvSpPr>
        <p:spPr>
          <a:xfrm>
            <a:off x="666750" y="1228725"/>
            <a:ext cx="10872000" cy="247650"/>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en-NL"/>
              <a:t>Wat is doelgroepenvervoer en waarom bestaat het?</a:t>
            </a:r>
            <a:endParaRPr lang="nl-NL" dirty="0"/>
          </a:p>
        </p:txBody>
      </p:sp>
    </p:spTree>
    <p:extLst>
      <p:ext uri="{BB962C8B-B14F-4D97-AF65-F5344CB8AC3E}">
        <p14:creationId xmlns:p14="http://schemas.microsoft.com/office/powerpoint/2010/main" val="15001777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9" name="Object 98" hidden="1">
            <a:extLst>
              <a:ext uri="{FF2B5EF4-FFF2-40B4-BE49-F238E27FC236}">
                <a16:creationId xmlns:a16="http://schemas.microsoft.com/office/drawing/2014/main" id="{3F8734F2-5892-4F9B-93E2-336423F64D51}"/>
              </a:ext>
            </a:extLst>
          </p:cNvPr>
          <p:cNvGraphicFramePr>
            <a:graphicFrameLocks noChangeAspect="1"/>
          </p:cNvGraphicFramePr>
          <p:nvPr>
            <p:custDataLst>
              <p:tags r:id="rId2"/>
            </p:custDataLst>
            <p:extLst>
              <p:ext uri="{D42A27DB-BD31-4B8C-83A1-F6EECF244321}">
                <p14:modId xmlns:p14="http://schemas.microsoft.com/office/powerpoint/2010/main" val="3228896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6" name="think-cell Slide" r:id="rId5" imgW="425" imgH="424" progId="TCLayout.ActiveDocument.1">
                  <p:embed/>
                </p:oleObj>
              </mc:Choice>
              <mc:Fallback>
                <p:oleObj name="think-cell Slide" r:id="rId5" imgW="425" imgH="424" progId="TCLayout.ActiveDocument.1">
                  <p:embed/>
                  <p:pic>
                    <p:nvPicPr>
                      <p:cNvPr id="99" name="Object 98" hidden="1">
                        <a:extLst>
                          <a:ext uri="{FF2B5EF4-FFF2-40B4-BE49-F238E27FC236}">
                            <a16:creationId xmlns:a16="http://schemas.microsoft.com/office/drawing/2014/main" id="{3F8734F2-5892-4F9B-93E2-336423F64D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Content Placeholder 6">
            <a:extLst>
              <a:ext uri="{FF2B5EF4-FFF2-40B4-BE49-F238E27FC236}">
                <a16:creationId xmlns:a16="http://schemas.microsoft.com/office/drawing/2014/main" id="{422A6741-4295-4DAB-A83B-9191D165000C}"/>
              </a:ext>
            </a:extLst>
          </p:cNvPr>
          <p:cNvSpPr txBox="1">
            <a:spLocks/>
          </p:cNvSpPr>
          <p:nvPr/>
        </p:nvSpPr>
        <p:spPr>
          <a:xfrm>
            <a:off x="4378800" y="1699963"/>
            <a:ext cx="3434400" cy="2206800"/>
          </a:xfrm>
          <a:prstGeom prst="rect">
            <a:avLst/>
          </a:prstGeom>
          <a:solidFill>
            <a:schemeClr val="bg1">
              <a:lumMod val="95000"/>
            </a:schemeClr>
          </a:solidFill>
          <a:ln w="9525">
            <a:noFill/>
          </a:ln>
        </p:spPr>
        <p:txBody>
          <a:bodyPr vert="horz" lIns="72000" tIns="72000" rIns="72000" bIns="72000" rtlCol="0">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r>
              <a:rPr lang="nl-NL" sz="1200" b="1" dirty="0"/>
              <a:t>Mensen </a:t>
            </a:r>
            <a:r>
              <a:rPr lang="nl-NL" sz="1200" b="1"/>
              <a:t>met </a:t>
            </a:r>
            <a:r>
              <a:rPr lang="en-NL" sz="1200" b="1"/>
              <a:t>een </a:t>
            </a:r>
            <a:r>
              <a:rPr lang="nl-NL" sz="1200" b="1"/>
              <a:t>beperking </a:t>
            </a:r>
            <a:r>
              <a:rPr lang="nl-NL" sz="1200" b="1" dirty="0"/>
              <a:t>in horen</a:t>
            </a:r>
          </a:p>
          <a:p>
            <a:pPr marL="0" indent="0" algn="ctr">
              <a:buClr>
                <a:schemeClr val="tx2"/>
              </a:buClr>
              <a:buNone/>
            </a:pPr>
            <a:r>
              <a:rPr kumimoji="0" lang="nl-NL" sz="1200" i="0" u="none" strike="noStrike" kern="1200" cap="none" spc="0" normalizeH="0" baseline="0" noProof="0" dirty="0">
                <a:ln>
                  <a:noFill/>
                </a:ln>
                <a:effectLst/>
                <a:uLnTx/>
                <a:uFillTx/>
                <a:latin typeface="+mj-lt"/>
                <a:ea typeface="+mn-ea"/>
                <a:cs typeface="+mn-cs"/>
              </a:rPr>
              <a:t>Aantal mensen (</a:t>
            </a:r>
            <a:r>
              <a:rPr kumimoji="0" lang="nl-NL" sz="1200" i="0" u="none" strike="noStrike" kern="1200" cap="none" spc="0" normalizeH="0" baseline="0" noProof="0" dirty="0">
                <a:ln>
                  <a:noFill/>
                </a:ln>
                <a:effectLst/>
                <a:uLnTx/>
                <a:uFillTx/>
                <a:latin typeface="+mj-lt"/>
                <a:cs typeface="Calibri" panose="020F0502020204030204" pitchFamily="34" charset="0"/>
              </a:rPr>
              <a:t>≥ 12 jaar) dat </a:t>
            </a:r>
            <a:r>
              <a:rPr kumimoji="0" lang="nl-NL" sz="1200" i="0" u="none" strike="noStrike" kern="1200" cap="none" spc="0" normalizeH="0" baseline="0" noProof="0" dirty="0">
                <a:ln>
                  <a:noFill/>
                </a:ln>
                <a:effectLst/>
                <a:uLnTx/>
                <a:uFillTx/>
                <a:latin typeface="Corbel" panose="020B0503020204020204" pitchFamily="34" charset="0"/>
                <a:ea typeface="+mn-ea"/>
                <a:cs typeface="+mn-cs"/>
              </a:rPr>
              <a:t>grote moeite heeft of niet in staat </a:t>
            </a:r>
            <a:r>
              <a:rPr lang="nl-NL" sz="1200" dirty="0"/>
              <a:t>is</a:t>
            </a:r>
            <a:r>
              <a:rPr kumimoji="0" lang="nl-NL" sz="1200" i="0" u="none" strike="noStrike" kern="1200" cap="none" spc="0" normalizeH="0" baseline="0" noProof="0" dirty="0">
                <a:ln>
                  <a:noFill/>
                </a:ln>
                <a:effectLst/>
                <a:uLnTx/>
                <a:uFillTx/>
                <a:latin typeface="Corbel" panose="020B0503020204020204" pitchFamily="34" charset="0"/>
                <a:ea typeface="+mn-ea"/>
                <a:cs typeface="+mn-cs"/>
              </a:rPr>
              <a:t> een gesprek te volgen met een of meerdere personen.</a:t>
            </a:r>
            <a:endParaRPr kumimoji="0" lang="nl-NL" sz="1200" b="1" i="0" u="none" strike="noStrike" kern="1200" cap="none" spc="0" normalizeH="0" baseline="0" noProof="0" dirty="0">
              <a:ln>
                <a:noFill/>
              </a:ln>
              <a:effectLst/>
              <a:uLnTx/>
              <a:uFillTx/>
              <a:latin typeface="Corbel" panose="020B0503020204020204" pitchFamily="34" charset="0"/>
              <a:ea typeface="+mn-ea"/>
              <a:cs typeface="+mn-cs"/>
            </a:endParaRPr>
          </a:p>
          <a:p>
            <a:pPr marL="0" indent="0">
              <a:buFont typeface="Wingdings" panose="05000000000000000000" pitchFamily="2" charset="2"/>
              <a:buNone/>
            </a:pPr>
            <a:endParaRPr lang="nl-NL" sz="1200" dirty="0"/>
          </a:p>
        </p:txBody>
      </p:sp>
      <p:sp>
        <p:nvSpPr>
          <p:cNvPr id="45" name="Rectangle: Rounded Corners 44">
            <a:extLst>
              <a:ext uri="{FF2B5EF4-FFF2-40B4-BE49-F238E27FC236}">
                <a16:creationId xmlns:a16="http://schemas.microsoft.com/office/drawing/2014/main" id="{53427443-41B1-4687-BFCE-74616F8C8FCB}"/>
              </a:ext>
            </a:extLst>
          </p:cNvPr>
          <p:cNvSpPr/>
          <p:nvPr/>
        </p:nvSpPr>
        <p:spPr>
          <a:xfrm>
            <a:off x="5232000" y="3565978"/>
            <a:ext cx="1728000" cy="216000"/>
          </a:xfrm>
          <a:prstGeom prst="roundRect">
            <a:avLst/>
          </a:prstGeom>
          <a:solidFill>
            <a:srgbClr val="408E94"/>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0,4 mln</a:t>
            </a:r>
            <a:endParaRPr kumimoji="0" lang="nl-NL" sz="120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10" name="Content Placeholder 6">
            <a:extLst>
              <a:ext uri="{FF2B5EF4-FFF2-40B4-BE49-F238E27FC236}">
                <a16:creationId xmlns:a16="http://schemas.microsoft.com/office/drawing/2014/main" id="{B6A6BAD6-2288-47BF-961D-1D1CB623A57E}"/>
              </a:ext>
            </a:extLst>
          </p:cNvPr>
          <p:cNvSpPr txBox="1">
            <a:spLocks/>
          </p:cNvSpPr>
          <p:nvPr/>
        </p:nvSpPr>
        <p:spPr>
          <a:xfrm>
            <a:off x="662780" y="4137163"/>
            <a:ext cx="3434400" cy="2206800"/>
          </a:xfrm>
          <a:prstGeom prst="rect">
            <a:avLst/>
          </a:prstGeom>
          <a:solidFill>
            <a:schemeClr val="bg1">
              <a:lumMod val="95000"/>
            </a:schemeClr>
          </a:solidFill>
          <a:ln w="9525">
            <a:noFill/>
          </a:ln>
        </p:spPr>
        <p:txBody>
          <a:bodyPr vert="horz" lIns="72000" tIns="72000" rIns="72000" bIns="72000" rtlCol="0">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r>
              <a:rPr lang="nl-NL" sz="1200" b="1" dirty="0"/>
              <a:t>Mensen met verstandelijke beperking</a:t>
            </a:r>
          </a:p>
          <a:p>
            <a:pPr marL="0" indent="0" algn="ctr">
              <a:buClr>
                <a:schemeClr val="tx2"/>
              </a:buClr>
              <a:buNone/>
            </a:pPr>
            <a:r>
              <a:rPr kumimoji="0" lang="nl-NL" sz="1200" i="0" u="none" strike="noStrike" kern="1200" cap="none" spc="0" normalizeH="0" baseline="0" noProof="0" dirty="0">
                <a:ln>
                  <a:noFill/>
                </a:ln>
                <a:effectLst/>
                <a:uLnTx/>
                <a:uFillTx/>
                <a:latin typeface="Corbel" panose="020B0503020204020204" pitchFamily="34" charset="0"/>
                <a:ea typeface="+mn-ea"/>
                <a:cs typeface="+mn-cs"/>
              </a:rPr>
              <a:t>Aantal mensen met een IQ onder de 85 </a:t>
            </a:r>
            <a:r>
              <a:rPr lang="nl-NL" sz="1200" dirty="0"/>
              <a:t>dat niet zelfredzaam is (2018).</a:t>
            </a:r>
            <a:endParaRPr kumimoji="0" lang="nl-NL" sz="1200" b="1" i="0" u="none" strike="noStrike" kern="1200" cap="none" spc="0" normalizeH="0" baseline="0" noProof="0" dirty="0">
              <a:ln>
                <a:noFill/>
              </a:ln>
              <a:effectLst/>
              <a:uLnTx/>
              <a:uFillTx/>
              <a:latin typeface="Corbel" panose="020B0503020204020204" pitchFamily="34" charset="0"/>
              <a:ea typeface="+mn-ea"/>
              <a:cs typeface="+mn-cs"/>
            </a:endParaRPr>
          </a:p>
          <a:p>
            <a:pPr marL="0" indent="0">
              <a:buFont typeface="Wingdings" panose="05000000000000000000" pitchFamily="2" charset="2"/>
              <a:buNone/>
            </a:pPr>
            <a:endParaRPr lang="nl-NL" sz="1200" dirty="0"/>
          </a:p>
        </p:txBody>
      </p:sp>
      <p:sp>
        <p:nvSpPr>
          <p:cNvPr id="7" name="Content Placeholder 6">
            <a:extLst>
              <a:ext uri="{FF2B5EF4-FFF2-40B4-BE49-F238E27FC236}">
                <a16:creationId xmlns:a16="http://schemas.microsoft.com/office/drawing/2014/main" id="{D2F8BE25-9C7D-471D-9707-2B9B18703E4E}"/>
              </a:ext>
            </a:extLst>
          </p:cNvPr>
          <p:cNvSpPr>
            <a:spLocks noGrp="1"/>
          </p:cNvSpPr>
          <p:nvPr>
            <p:ph sz="quarter" idx="31"/>
          </p:nvPr>
        </p:nvSpPr>
        <p:spPr>
          <a:xfrm>
            <a:off x="662780" y="1699963"/>
            <a:ext cx="3434400" cy="2206800"/>
          </a:xfrm>
          <a:prstGeom prst="rect">
            <a:avLst/>
          </a:prstGeom>
          <a:solidFill>
            <a:schemeClr val="bg1">
              <a:lumMod val="95000"/>
            </a:schemeClr>
          </a:solidFill>
          <a:ln w="9525">
            <a:noFill/>
          </a:ln>
        </p:spPr>
        <p:txBody>
          <a:bodyPr>
            <a:normAutofit/>
          </a:bodyPr>
          <a:lstStyle/>
          <a:p>
            <a:pPr marL="0" indent="0" algn="ctr">
              <a:buNone/>
            </a:pPr>
            <a:r>
              <a:rPr lang="nl-NL" sz="1200" b="1" dirty="0">
                <a:latin typeface="+mj-lt"/>
              </a:rPr>
              <a:t>Mensen met </a:t>
            </a:r>
            <a:r>
              <a:rPr lang="en-NL" sz="1200" b="1" dirty="0" err="1">
                <a:latin typeface="+mj-lt"/>
              </a:rPr>
              <a:t>een</a:t>
            </a:r>
            <a:r>
              <a:rPr lang="en-NL" sz="1200" b="1" dirty="0">
                <a:latin typeface="+mj-lt"/>
              </a:rPr>
              <a:t> </a:t>
            </a:r>
            <a:r>
              <a:rPr lang="nl-NL" sz="1200" b="1" dirty="0">
                <a:latin typeface="+mj-lt"/>
              </a:rPr>
              <a:t>beperking in bewegen</a:t>
            </a:r>
          </a:p>
          <a:p>
            <a:pPr marL="0" indent="0" algn="ctr">
              <a:buNone/>
            </a:pPr>
            <a:r>
              <a:rPr kumimoji="0" lang="nl-NL" sz="1200" i="0" u="none" strike="noStrike" kern="1200" cap="none" spc="0" normalizeH="0" baseline="0" noProof="0" dirty="0">
                <a:ln>
                  <a:noFill/>
                </a:ln>
                <a:effectLst/>
                <a:uLnTx/>
                <a:uFillTx/>
                <a:latin typeface="+mj-lt"/>
                <a:ea typeface="+mn-ea"/>
                <a:cs typeface="+mn-cs"/>
              </a:rPr>
              <a:t>Aantal mensen (</a:t>
            </a:r>
            <a:r>
              <a:rPr kumimoji="0" lang="nl-NL" sz="1200" i="0" u="none" strike="noStrike" kern="1200" cap="none" spc="0" normalizeH="0" baseline="0" noProof="0" dirty="0">
                <a:ln>
                  <a:noFill/>
                </a:ln>
                <a:effectLst/>
                <a:uLnTx/>
                <a:uFillTx/>
                <a:latin typeface="+mj-lt"/>
                <a:cs typeface="Calibri" panose="020F0502020204030204" pitchFamily="34" charset="0"/>
              </a:rPr>
              <a:t>≥ 12 jaar) dat </a:t>
            </a:r>
            <a:r>
              <a:rPr kumimoji="0" lang="nl-NL" sz="1200" i="0" u="none" strike="noStrike" kern="1200" cap="none" spc="0" normalizeH="0" baseline="0" noProof="0" dirty="0">
                <a:ln>
                  <a:noFill/>
                </a:ln>
                <a:effectLst/>
                <a:uLnTx/>
                <a:uFillTx/>
                <a:latin typeface="+mj-lt"/>
                <a:ea typeface="+mn-ea"/>
                <a:cs typeface="+mn-cs"/>
              </a:rPr>
              <a:t>grote moeite heeft of niet in staat is een zwaar voorwerp te dragen, te bukken of </a:t>
            </a:r>
            <a:r>
              <a:rPr kumimoji="0" lang="en-NL" sz="1200" i="0" u="none" strike="noStrike" kern="1200" cap="none" spc="0" normalizeH="0" baseline="0" noProof="0" dirty="0" err="1">
                <a:ln>
                  <a:noFill/>
                </a:ln>
                <a:effectLst/>
                <a:uLnTx/>
                <a:uFillTx/>
                <a:latin typeface="+mj-lt"/>
                <a:ea typeface="+mn-ea"/>
                <a:cs typeface="+mn-cs"/>
              </a:rPr>
              <a:t>een</a:t>
            </a:r>
            <a:r>
              <a:rPr kumimoji="0" lang="nl-NL" sz="1200" i="0" u="none" strike="noStrike" kern="1200" cap="none" spc="0" normalizeH="0" baseline="0" noProof="0" dirty="0">
                <a:ln>
                  <a:noFill/>
                </a:ln>
                <a:effectLst/>
                <a:uLnTx/>
                <a:uFillTx/>
                <a:latin typeface="+mj-lt"/>
                <a:ea typeface="+mn-ea"/>
                <a:cs typeface="+mn-cs"/>
              </a:rPr>
              <a:t> stuk te lopen.</a:t>
            </a:r>
            <a:endParaRPr lang="nl-NL" sz="1200" dirty="0">
              <a:latin typeface="+mj-lt"/>
            </a:endParaRPr>
          </a:p>
        </p:txBody>
      </p:sp>
      <p:sp>
        <p:nvSpPr>
          <p:cNvPr id="10" name="Slide Number Placeholder 9">
            <a:extLst>
              <a:ext uri="{FF2B5EF4-FFF2-40B4-BE49-F238E27FC236}">
                <a16:creationId xmlns:a16="http://schemas.microsoft.com/office/drawing/2014/main" id="{E3F7092D-9A85-4C62-89EF-0E11BA7BD4F5}"/>
              </a:ext>
            </a:extLst>
          </p:cNvPr>
          <p:cNvSpPr>
            <a:spLocks noGrp="1"/>
          </p:cNvSpPr>
          <p:nvPr>
            <p:ph type="sldNum" sz="quarter" idx="12"/>
          </p:nvPr>
        </p:nvSpPr>
        <p:spPr>
          <a:noFill/>
          <a:extLst>
            <a:ext uri="{909E8E84-426E-40DD-AFC4-6F175D3DCCD1}">
              <a14:hiddenFill xmlns:a14="http://schemas.microsoft.com/office/drawing/2010/main">
                <a:solidFill>
                  <a:schemeClr val="bg1">
                    <a:lumMod val="95000"/>
                  </a:schemeClr>
                </a:solidFill>
              </a14:hiddenFill>
            </a:ext>
          </a:extLst>
        </p:spPr>
        <p:txBody>
          <a:bodyPr/>
          <a:lstStyle/>
          <a:p>
            <a:fld id="{992CD0B2-8AB2-4C6C-8876-E15753662C9B}" type="slidenum">
              <a:rPr lang="nl-NL" smtClean="0"/>
              <a:pPr/>
              <a:t>5</a:t>
            </a:fld>
            <a:endParaRPr lang="nl-NL" dirty="0"/>
          </a:p>
        </p:txBody>
      </p:sp>
      <p:sp>
        <p:nvSpPr>
          <p:cNvPr id="11" name="Text Placeholder 10">
            <a:extLst>
              <a:ext uri="{FF2B5EF4-FFF2-40B4-BE49-F238E27FC236}">
                <a16:creationId xmlns:a16="http://schemas.microsoft.com/office/drawing/2014/main" id="{80CBC1C1-CBAA-4BEA-A284-E99FBD7E71CA}"/>
              </a:ext>
            </a:extLst>
          </p:cNvPr>
          <p:cNvSpPr>
            <a:spLocks noGrp="1"/>
          </p:cNvSpPr>
          <p:nvPr>
            <p:ph type="body" sz="quarter" idx="14"/>
          </p:nvPr>
        </p:nvSpPr>
        <p:spPr/>
        <p:txBody>
          <a:bodyPr anchor="ctr"/>
          <a:lstStyle/>
          <a:p>
            <a:r>
              <a:rPr lang="en-NL"/>
              <a:t>Indicatieve g</a:t>
            </a:r>
            <a:r>
              <a:rPr lang="nl-NL"/>
              <a:t>rootte van doelgroepen</a:t>
            </a:r>
            <a:r>
              <a:rPr lang="en-NL"/>
              <a:t> in Nederland</a:t>
            </a:r>
            <a:r>
              <a:rPr lang="nl-NL" b="0"/>
              <a:t>, </a:t>
            </a:r>
            <a:r>
              <a:rPr lang="nl-NL" b="0" dirty="0"/>
              <a:t>2019 (tenzij anders </a:t>
            </a:r>
            <a:r>
              <a:rPr lang="nl-NL" b="0"/>
              <a:t>vermeld)</a:t>
            </a:r>
            <a:r>
              <a:rPr lang="en-NL" b="0"/>
              <a:t>, niet iedereen in deze groepen ervaart een mobiliteitsbeperking</a:t>
            </a:r>
            <a:endParaRPr lang="nl-NL" b="0" dirty="0"/>
          </a:p>
        </p:txBody>
      </p:sp>
      <p:sp>
        <p:nvSpPr>
          <p:cNvPr id="12" name="Title 11">
            <a:extLst>
              <a:ext uri="{FF2B5EF4-FFF2-40B4-BE49-F238E27FC236}">
                <a16:creationId xmlns:a16="http://schemas.microsoft.com/office/drawing/2014/main" id="{5521DD00-A85D-40FE-8FCB-ACB3282D21C1}"/>
              </a:ext>
            </a:extLst>
          </p:cNvPr>
          <p:cNvSpPr>
            <a:spLocks noGrp="1"/>
          </p:cNvSpPr>
          <p:nvPr>
            <p:ph type="title"/>
          </p:nvPr>
        </p:nvSpPr>
        <p:spPr/>
        <p:txBody>
          <a:bodyPr vert="horz"/>
          <a:lstStyle/>
          <a:p>
            <a:r>
              <a:rPr lang="nl-NL" dirty="0"/>
              <a:t>E</a:t>
            </a:r>
            <a:r>
              <a:rPr lang="en-NL" dirty="0"/>
              <a:t>r </a:t>
            </a:r>
            <a:r>
              <a:rPr lang="en-NL" dirty="0" err="1"/>
              <a:t>zijn</a:t>
            </a:r>
            <a:r>
              <a:rPr lang="en-NL" dirty="0"/>
              <a:t> </a:t>
            </a:r>
            <a:r>
              <a:rPr lang="en-NL" dirty="0" err="1"/>
              <a:t>verschillende</a:t>
            </a:r>
            <a:r>
              <a:rPr lang="en-NL" dirty="0"/>
              <a:t> </a:t>
            </a:r>
            <a:r>
              <a:rPr lang="en-NL" dirty="0" err="1"/>
              <a:t>doelgroepen</a:t>
            </a:r>
            <a:r>
              <a:rPr lang="en-NL" dirty="0"/>
              <a:t> met e</a:t>
            </a:r>
            <a:r>
              <a:rPr lang="nl-NL" dirty="0"/>
              <a:t>en mobiliteitsbeperking</a:t>
            </a:r>
          </a:p>
        </p:txBody>
      </p:sp>
      <p:sp>
        <p:nvSpPr>
          <p:cNvPr id="16" name="Rectangle: Rounded Corners 15">
            <a:extLst>
              <a:ext uri="{FF2B5EF4-FFF2-40B4-BE49-F238E27FC236}">
                <a16:creationId xmlns:a16="http://schemas.microsoft.com/office/drawing/2014/main" id="{C4544C48-BE56-4EF1-B6F4-EC83D791F288}"/>
              </a:ext>
            </a:extLst>
          </p:cNvPr>
          <p:cNvSpPr/>
          <p:nvPr/>
        </p:nvSpPr>
        <p:spPr>
          <a:xfrm>
            <a:off x="1515980" y="3565978"/>
            <a:ext cx="1728000" cy="216000"/>
          </a:xfrm>
          <a:prstGeom prst="roundRect">
            <a:avLst/>
          </a:prstGeom>
          <a:solidFill>
            <a:srgbClr val="408E94"/>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3 mln </a:t>
            </a:r>
            <a:endParaRPr kumimoji="0" lang="nl-NL" sz="120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31" name="Content Placeholder 6">
            <a:extLst>
              <a:ext uri="{FF2B5EF4-FFF2-40B4-BE49-F238E27FC236}">
                <a16:creationId xmlns:a16="http://schemas.microsoft.com/office/drawing/2014/main" id="{03F43909-7C75-4DFF-B69A-2976C1415BEB}"/>
              </a:ext>
            </a:extLst>
          </p:cNvPr>
          <p:cNvSpPr txBox="1">
            <a:spLocks/>
          </p:cNvSpPr>
          <p:nvPr/>
        </p:nvSpPr>
        <p:spPr>
          <a:xfrm>
            <a:off x="8094820" y="1699963"/>
            <a:ext cx="3434400" cy="2206800"/>
          </a:xfrm>
          <a:prstGeom prst="rect">
            <a:avLst/>
          </a:prstGeom>
          <a:solidFill>
            <a:schemeClr val="bg1">
              <a:lumMod val="95000"/>
            </a:schemeClr>
          </a:solidFill>
          <a:ln w="9525">
            <a:noFill/>
          </a:ln>
        </p:spPr>
        <p:txBody>
          <a:bodyPr vert="horz" lIns="72000" tIns="72000" rIns="72000" bIns="72000" rtlCol="0">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r>
              <a:rPr lang="nl-NL" sz="1200" b="1" dirty="0"/>
              <a:t>Mensen </a:t>
            </a:r>
            <a:r>
              <a:rPr lang="nl-NL" sz="1200" b="1"/>
              <a:t>met </a:t>
            </a:r>
            <a:r>
              <a:rPr lang="en-NL" sz="1200" b="1"/>
              <a:t>een </a:t>
            </a:r>
            <a:r>
              <a:rPr lang="nl-NL" sz="1200" b="1"/>
              <a:t>beperking </a:t>
            </a:r>
            <a:r>
              <a:rPr lang="nl-NL" sz="1200" b="1" dirty="0"/>
              <a:t>in zien</a:t>
            </a:r>
          </a:p>
          <a:p>
            <a:pPr marL="0" indent="0" algn="ctr">
              <a:buClr>
                <a:schemeClr val="tx2"/>
              </a:buClr>
              <a:buNone/>
            </a:pPr>
            <a:r>
              <a:rPr kumimoji="0" lang="nl-NL" sz="1200" i="0" u="none" strike="noStrike" kern="1200" cap="none" spc="0" normalizeH="0" baseline="0" noProof="0" dirty="0">
                <a:ln>
                  <a:noFill/>
                </a:ln>
                <a:effectLst/>
                <a:uLnTx/>
                <a:uFillTx/>
                <a:latin typeface="+mj-lt"/>
                <a:ea typeface="+mn-ea"/>
                <a:cs typeface="+mn-cs"/>
              </a:rPr>
              <a:t>Aantal mensen (</a:t>
            </a:r>
            <a:r>
              <a:rPr kumimoji="0" lang="nl-NL" sz="1200" i="0" u="none" strike="noStrike" kern="1200" cap="none" spc="0" normalizeH="0" baseline="0" noProof="0" dirty="0">
                <a:ln>
                  <a:noFill/>
                </a:ln>
                <a:effectLst/>
                <a:uLnTx/>
                <a:uFillTx/>
                <a:latin typeface="+mj-lt"/>
                <a:cs typeface="Calibri" panose="020F0502020204030204" pitchFamily="34" charset="0"/>
              </a:rPr>
              <a:t>≥ 12 jaar) dat </a:t>
            </a:r>
            <a:r>
              <a:rPr kumimoji="0" lang="nl-NL" sz="1200" i="0" u="none" strike="noStrike" kern="1200" cap="none" spc="0" normalizeH="0" baseline="0" noProof="0" dirty="0">
                <a:ln>
                  <a:noFill/>
                </a:ln>
                <a:effectLst/>
                <a:uLnTx/>
                <a:uFillTx/>
                <a:latin typeface="Corbel" panose="020B0503020204020204" pitchFamily="34" charset="0"/>
                <a:ea typeface="+mn-ea"/>
                <a:cs typeface="+mn-cs"/>
              </a:rPr>
              <a:t>grote moeite heeft of niet in staat </a:t>
            </a:r>
            <a:r>
              <a:rPr lang="nl-NL" sz="1200" dirty="0"/>
              <a:t>is</a:t>
            </a:r>
            <a:r>
              <a:rPr kumimoji="0" lang="nl-NL" sz="1200" i="0" u="none" strike="noStrike" kern="1200" cap="none" spc="0" normalizeH="0" baseline="0" noProof="0" dirty="0">
                <a:ln>
                  <a:noFill/>
                </a:ln>
                <a:effectLst/>
                <a:uLnTx/>
                <a:uFillTx/>
                <a:latin typeface="Corbel" panose="020B0503020204020204" pitchFamily="34" charset="0"/>
                <a:ea typeface="+mn-ea"/>
                <a:cs typeface="+mn-cs"/>
              </a:rPr>
              <a:t> de kleine letters te lezen en/of iemand van een afstand te herkennen.</a:t>
            </a:r>
            <a:endParaRPr kumimoji="0" lang="nl-NL" sz="1200" b="1" i="0" u="none" strike="noStrike" kern="1200" cap="none" spc="0" normalizeH="0" baseline="0" noProof="0" dirty="0">
              <a:ln>
                <a:noFill/>
              </a:ln>
              <a:effectLst/>
              <a:uLnTx/>
              <a:uFillTx/>
              <a:latin typeface="Corbel" panose="020B0503020204020204" pitchFamily="34" charset="0"/>
              <a:ea typeface="+mn-ea"/>
              <a:cs typeface="+mn-cs"/>
            </a:endParaRPr>
          </a:p>
          <a:p>
            <a:pPr marL="0" indent="0">
              <a:buFont typeface="Wingdings" panose="05000000000000000000" pitchFamily="2" charset="2"/>
              <a:buNone/>
            </a:pPr>
            <a:endParaRPr lang="nl-NL" sz="1200" dirty="0"/>
          </a:p>
        </p:txBody>
      </p:sp>
      <p:sp>
        <p:nvSpPr>
          <p:cNvPr id="100" name="Content Placeholder 6">
            <a:extLst>
              <a:ext uri="{FF2B5EF4-FFF2-40B4-BE49-F238E27FC236}">
                <a16:creationId xmlns:a16="http://schemas.microsoft.com/office/drawing/2014/main" id="{462B5C84-1443-4F6F-BF94-B95986987DC7}"/>
              </a:ext>
            </a:extLst>
          </p:cNvPr>
          <p:cNvSpPr txBox="1">
            <a:spLocks/>
          </p:cNvSpPr>
          <p:nvPr/>
        </p:nvSpPr>
        <p:spPr>
          <a:xfrm>
            <a:off x="4378800" y="4137163"/>
            <a:ext cx="3434400" cy="2206800"/>
          </a:xfrm>
          <a:prstGeom prst="rect">
            <a:avLst/>
          </a:prstGeom>
          <a:solidFill>
            <a:schemeClr val="bg1">
              <a:lumMod val="95000"/>
            </a:schemeClr>
          </a:solidFill>
          <a:ln w="9525">
            <a:noFill/>
          </a:ln>
        </p:spPr>
        <p:txBody>
          <a:bodyPr vert="horz" lIns="72000" tIns="72000" rIns="72000" bIns="72000" rtlCol="0">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r>
              <a:rPr lang="nl-NL" sz="1200" b="1" dirty="0"/>
              <a:t>Senioren (65+)</a:t>
            </a:r>
          </a:p>
          <a:p>
            <a:pPr marL="0" indent="0" algn="ctr">
              <a:buNone/>
            </a:pPr>
            <a:r>
              <a:rPr lang="nl-NL" sz="1200" dirty="0"/>
              <a:t>Aantal mensen van 65 jaar en ouder.</a:t>
            </a:r>
          </a:p>
          <a:p>
            <a:pPr marL="0" indent="0">
              <a:buFont typeface="Wingdings" panose="05000000000000000000" pitchFamily="2" charset="2"/>
              <a:buNone/>
            </a:pPr>
            <a:endParaRPr lang="nl-NL" sz="1200" dirty="0"/>
          </a:p>
        </p:txBody>
      </p:sp>
      <p:sp>
        <p:nvSpPr>
          <p:cNvPr id="87" name="Content Placeholder 6">
            <a:extLst>
              <a:ext uri="{FF2B5EF4-FFF2-40B4-BE49-F238E27FC236}">
                <a16:creationId xmlns:a16="http://schemas.microsoft.com/office/drawing/2014/main" id="{4F208C85-D535-40C6-A308-EB50347823FF}"/>
              </a:ext>
            </a:extLst>
          </p:cNvPr>
          <p:cNvSpPr txBox="1">
            <a:spLocks/>
          </p:cNvSpPr>
          <p:nvPr/>
        </p:nvSpPr>
        <p:spPr>
          <a:xfrm>
            <a:off x="8094820" y="4137163"/>
            <a:ext cx="3434400" cy="2206800"/>
          </a:xfrm>
          <a:prstGeom prst="rect">
            <a:avLst/>
          </a:prstGeom>
          <a:solidFill>
            <a:schemeClr val="bg1">
              <a:lumMod val="95000"/>
            </a:schemeClr>
          </a:solidFill>
          <a:ln w="9525">
            <a:noFill/>
          </a:ln>
        </p:spPr>
        <p:txBody>
          <a:bodyPr vert="horz" lIns="72000" tIns="72000" rIns="72000" bIns="72000" rtlCol="0">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r>
              <a:rPr lang="nl-NL" sz="1200" b="1" dirty="0"/>
              <a:t>Leerlingen in speciaal onderwijs</a:t>
            </a:r>
          </a:p>
          <a:p>
            <a:pPr marL="0" indent="0" algn="ctr">
              <a:buClr>
                <a:schemeClr val="tx2"/>
              </a:buClr>
              <a:buNone/>
            </a:pPr>
            <a:r>
              <a:rPr kumimoji="0" lang="nl-NL" sz="1200" i="0" u="none" strike="noStrike" kern="1200" cap="none" spc="0" normalizeH="0" baseline="0" noProof="0" dirty="0">
                <a:ln>
                  <a:noFill/>
                </a:ln>
                <a:effectLst/>
                <a:uLnTx/>
                <a:uFillTx/>
                <a:latin typeface="Corbel" panose="020B0503020204020204" pitchFamily="34" charset="0"/>
                <a:ea typeface="+mn-ea"/>
                <a:cs typeface="+mn-cs"/>
              </a:rPr>
              <a:t>Aantal leerlingen in het </a:t>
            </a:r>
            <a:r>
              <a:rPr kumimoji="0" lang="nl-NL" sz="1200" i="0" u="none" strike="noStrike" kern="1200" cap="none" spc="0" normalizeH="0" baseline="0" noProof="0">
                <a:ln>
                  <a:noFill/>
                </a:ln>
                <a:effectLst/>
                <a:uLnTx/>
                <a:uFillTx/>
                <a:latin typeface="Corbel" panose="020B0503020204020204" pitchFamily="34" charset="0"/>
                <a:ea typeface="+mn-ea"/>
                <a:cs typeface="+mn-cs"/>
              </a:rPr>
              <a:t>speciaal </a:t>
            </a:r>
            <a:r>
              <a:rPr kumimoji="0" lang="en-NL" sz="1200" i="0" u="none" strike="noStrike" kern="1200" cap="none" spc="0" normalizeH="0" baseline="0" noProof="0">
                <a:ln>
                  <a:noFill/>
                </a:ln>
                <a:effectLst/>
                <a:uLnTx/>
                <a:uFillTx/>
                <a:latin typeface="Corbel" panose="020B0503020204020204" pitchFamily="34" charset="0"/>
                <a:ea typeface="+mn-ea"/>
                <a:cs typeface="+mn-cs"/>
              </a:rPr>
              <a:t>(</a:t>
            </a:r>
            <a:r>
              <a:rPr lang="en-NL" sz="1200"/>
              <a:t>basis- en voortgezet) </a:t>
            </a:r>
            <a:r>
              <a:rPr kumimoji="0" lang="nl-NL" sz="1200" i="0" u="none" strike="noStrike" kern="1200" cap="none" spc="0" normalizeH="0" baseline="0" noProof="0">
                <a:ln>
                  <a:noFill/>
                </a:ln>
                <a:effectLst/>
                <a:uLnTx/>
                <a:uFillTx/>
                <a:latin typeface="Corbel" panose="020B0503020204020204" pitchFamily="34" charset="0"/>
                <a:ea typeface="+mn-ea"/>
                <a:cs typeface="+mn-cs"/>
              </a:rPr>
              <a:t>onderwijs (</a:t>
            </a:r>
            <a:r>
              <a:rPr kumimoji="0" lang="nl-NL" sz="1200" i="0" u="none" strike="noStrike" kern="1200" cap="none" spc="0" normalizeH="0" baseline="0" noProof="0" dirty="0">
                <a:ln>
                  <a:noFill/>
                </a:ln>
                <a:effectLst/>
                <a:uLnTx/>
                <a:uFillTx/>
                <a:latin typeface="Corbel" panose="020B0503020204020204" pitchFamily="34" charset="0"/>
                <a:ea typeface="+mn-ea"/>
                <a:cs typeface="+mn-cs"/>
              </a:rPr>
              <a:t>2019-2020).</a:t>
            </a:r>
            <a:r>
              <a:rPr kumimoji="0" lang="nl-NL" sz="1200" i="0" u="none" strike="noStrike" kern="1200" cap="none" spc="0" normalizeH="0" baseline="30000" noProof="0" dirty="0">
                <a:ln>
                  <a:noFill/>
                </a:ln>
                <a:effectLst/>
                <a:uLnTx/>
                <a:uFillTx/>
                <a:latin typeface="Corbel" panose="020B0503020204020204" pitchFamily="34" charset="0"/>
                <a:ea typeface="+mn-ea"/>
                <a:cs typeface="+mn-cs"/>
              </a:rPr>
              <a:t>1</a:t>
            </a:r>
            <a:endParaRPr kumimoji="0" lang="nl-NL" sz="1200" b="1" i="1" u="none" strike="noStrike" kern="1200" cap="none" spc="0" normalizeH="0" baseline="0" noProof="0" dirty="0">
              <a:ln>
                <a:noFill/>
              </a:ln>
              <a:effectLst/>
              <a:uLnTx/>
              <a:uFillTx/>
              <a:latin typeface="Corbel" panose="020B0503020204020204" pitchFamily="34" charset="0"/>
              <a:ea typeface="+mn-ea"/>
              <a:cs typeface="+mn-cs"/>
            </a:endParaRPr>
          </a:p>
          <a:p>
            <a:pPr marL="0" indent="0">
              <a:buFont typeface="Wingdings" panose="05000000000000000000" pitchFamily="2" charset="2"/>
              <a:buNone/>
            </a:pPr>
            <a:endParaRPr lang="nl-NL" sz="1200" dirty="0"/>
          </a:p>
        </p:txBody>
      </p:sp>
      <p:pic>
        <p:nvPicPr>
          <p:cNvPr id="47" name="Graphic 46" descr="Deaf with solid fill">
            <a:extLst>
              <a:ext uri="{FF2B5EF4-FFF2-40B4-BE49-F238E27FC236}">
                <a16:creationId xmlns:a16="http://schemas.microsoft.com/office/drawing/2014/main" id="{1DE7D0B1-66D3-447C-BE49-7EB597B0A99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36000" y="2791424"/>
            <a:ext cx="720000" cy="720000"/>
          </a:xfrm>
          <a:prstGeom prst="rect">
            <a:avLst/>
          </a:prstGeom>
        </p:spPr>
      </p:pic>
      <p:pic>
        <p:nvPicPr>
          <p:cNvPr id="48" name="Graphic 47" descr="Blind with solid fill">
            <a:extLst>
              <a:ext uri="{FF2B5EF4-FFF2-40B4-BE49-F238E27FC236}">
                <a16:creationId xmlns:a16="http://schemas.microsoft.com/office/drawing/2014/main" id="{AB5603EA-317F-4EC1-B3AD-312E5E7CE69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52020" y="2791424"/>
            <a:ext cx="720000" cy="720000"/>
          </a:xfrm>
          <a:prstGeom prst="rect">
            <a:avLst/>
          </a:prstGeom>
        </p:spPr>
      </p:pic>
      <p:pic>
        <p:nvPicPr>
          <p:cNvPr id="49" name="Graphic 48" descr="Brain in head with solid fill">
            <a:extLst>
              <a:ext uri="{FF2B5EF4-FFF2-40B4-BE49-F238E27FC236}">
                <a16:creationId xmlns:a16="http://schemas.microsoft.com/office/drawing/2014/main" id="{DCDC56C4-6FE6-4A46-8E89-744E2573DE9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019980" y="5222371"/>
            <a:ext cx="720000" cy="720000"/>
          </a:xfrm>
          <a:prstGeom prst="rect">
            <a:avLst/>
          </a:prstGeom>
        </p:spPr>
      </p:pic>
      <p:sp>
        <p:nvSpPr>
          <p:cNvPr id="51" name="Rectangle: Rounded Corners 50">
            <a:extLst>
              <a:ext uri="{FF2B5EF4-FFF2-40B4-BE49-F238E27FC236}">
                <a16:creationId xmlns:a16="http://schemas.microsoft.com/office/drawing/2014/main" id="{3216A6CA-06E7-4E0E-A2E9-9B677F57E4A6}"/>
              </a:ext>
            </a:extLst>
          </p:cNvPr>
          <p:cNvSpPr/>
          <p:nvPr/>
        </p:nvSpPr>
        <p:spPr>
          <a:xfrm>
            <a:off x="8948020" y="3565978"/>
            <a:ext cx="1728000" cy="216000"/>
          </a:xfrm>
          <a:prstGeom prst="roundRect">
            <a:avLst/>
          </a:prstGeom>
          <a:solidFill>
            <a:srgbClr val="408E94"/>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0,4 mln</a:t>
            </a:r>
            <a:endParaRPr kumimoji="0" lang="nl-NL" sz="120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52" name="Rectangle: Rounded Corners 51">
            <a:extLst>
              <a:ext uri="{FF2B5EF4-FFF2-40B4-BE49-F238E27FC236}">
                <a16:creationId xmlns:a16="http://schemas.microsoft.com/office/drawing/2014/main" id="{46B20F9D-A299-4EE3-BC3E-E00CFE68E98F}"/>
              </a:ext>
            </a:extLst>
          </p:cNvPr>
          <p:cNvSpPr/>
          <p:nvPr/>
        </p:nvSpPr>
        <p:spPr>
          <a:xfrm>
            <a:off x="1515980" y="6003178"/>
            <a:ext cx="1728000" cy="216000"/>
          </a:xfrm>
          <a:prstGeom prst="roundRect">
            <a:avLst/>
          </a:prstGeom>
          <a:solidFill>
            <a:srgbClr val="408E94"/>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1 mln </a:t>
            </a:r>
            <a:endParaRPr kumimoji="0" lang="nl-NL" sz="120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58" name="Rectangle: Rounded Corners 57">
            <a:extLst>
              <a:ext uri="{FF2B5EF4-FFF2-40B4-BE49-F238E27FC236}">
                <a16:creationId xmlns:a16="http://schemas.microsoft.com/office/drawing/2014/main" id="{CCB1F663-94D0-4B1C-9C0A-07157FBF98D8}"/>
              </a:ext>
            </a:extLst>
          </p:cNvPr>
          <p:cNvSpPr/>
          <p:nvPr/>
        </p:nvSpPr>
        <p:spPr>
          <a:xfrm>
            <a:off x="5232000" y="6003178"/>
            <a:ext cx="1728000" cy="216000"/>
          </a:xfrm>
          <a:prstGeom prst="roundRect">
            <a:avLst/>
          </a:prstGeom>
          <a:solidFill>
            <a:srgbClr val="408E94"/>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4 mln </a:t>
            </a:r>
            <a:endParaRPr kumimoji="0" lang="nl-NL" sz="120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59" name="Rectangle: Rounded Corners 58">
            <a:extLst>
              <a:ext uri="{FF2B5EF4-FFF2-40B4-BE49-F238E27FC236}">
                <a16:creationId xmlns:a16="http://schemas.microsoft.com/office/drawing/2014/main" id="{0BE11DB8-140C-4BD7-98A0-B32451302C2C}"/>
              </a:ext>
            </a:extLst>
          </p:cNvPr>
          <p:cNvSpPr/>
          <p:nvPr/>
        </p:nvSpPr>
        <p:spPr>
          <a:xfrm>
            <a:off x="8948020" y="6003178"/>
            <a:ext cx="1728000" cy="216000"/>
          </a:xfrm>
          <a:prstGeom prst="roundRect">
            <a:avLst/>
          </a:prstGeom>
          <a:solidFill>
            <a:srgbClr val="408E94"/>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0,1 mln</a:t>
            </a:r>
            <a:endParaRPr kumimoji="0" lang="nl-NL" sz="120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grpSp>
        <p:nvGrpSpPr>
          <p:cNvPr id="53" name="Group 52">
            <a:extLst>
              <a:ext uri="{FF2B5EF4-FFF2-40B4-BE49-F238E27FC236}">
                <a16:creationId xmlns:a16="http://schemas.microsoft.com/office/drawing/2014/main" id="{ECE25281-176F-4C79-9BDE-2D6230C3EAC3}"/>
              </a:ext>
            </a:extLst>
          </p:cNvPr>
          <p:cNvGrpSpPr/>
          <p:nvPr/>
        </p:nvGrpSpPr>
        <p:grpSpPr>
          <a:xfrm>
            <a:off x="9385007" y="5178554"/>
            <a:ext cx="845641" cy="825116"/>
            <a:chOff x="6469638" y="1435755"/>
            <a:chExt cx="937146" cy="914400"/>
          </a:xfrm>
        </p:grpSpPr>
        <p:pic>
          <p:nvPicPr>
            <p:cNvPr id="54" name="Graphic 53" descr="Female Profile with solid fill">
              <a:extLst>
                <a:ext uri="{FF2B5EF4-FFF2-40B4-BE49-F238E27FC236}">
                  <a16:creationId xmlns:a16="http://schemas.microsoft.com/office/drawing/2014/main" id="{71C47BFD-E0A3-495C-8450-170B645A7B9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469638" y="1435755"/>
              <a:ext cx="914400" cy="914400"/>
            </a:xfrm>
            <a:prstGeom prst="rect">
              <a:avLst/>
            </a:prstGeom>
          </p:spPr>
        </p:pic>
        <p:pic>
          <p:nvPicPr>
            <p:cNvPr id="56" name="Graphic 55" descr="Closed book with solid fill">
              <a:extLst>
                <a:ext uri="{FF2B5EF4-FFF2-40B4-BE49-F238E27FC236}">
                  <a16:creationId xmlns:a16="http://schemas.microsoft.com/office/drawing/2014/main" id="{8C830C0F-2851-489F-9BCC-E9172EB6045C}"/>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rot="1982168">
              <a:off x="7065555" y="1854569"/>
              <a:ext cx="341229" cy="341229"/>
            </a:xfrm>
            <a:prstGeom prst="rect">
              <a:avLst/>
            </a:prstGeom>
          </p:spPr>
        </p:pic>
      </p:grpSp>
      <p:grpSp>
        <p:nvGrpSpPr>
          <p:cNvPr id="57" name="Group 56">
            <a:extLst>
              <a:ext uri="{FF2B5EF4-FFF2-40B4-BE49-F238E27FC236}">
                <a16:creationId xmlns:a16="http://schemas.microsoft.com/office/drawing/2014/main" id="{8A0CD552-43E0-4B78-809A-BC758CBE7093}"/>
              </a:ext>
            </a:extLst>
          </p:cNvPr>
          <p:cNvGrpSpPr/>
          <p:nvPr/>
        </p:nvGrpSpPr>
        <p:grpSpPr>
          <a:xfrm>
            <a:off x="1996944" y="2652580"/>
            <a:ext cx="766073" cy="851158"/>
            <a:chOff x="7440076" y="1937904"/>
            <a:chExt cx="587210" cy="652429"/>
          </a:xfrm>
        </p:grpSpPr>
        <p:pic>
          <p:nvPicPr>
            <p:cNvPr id="63" name="Graphic 62" descr="Moustache with solid fill">
              <a:extLst>
                <a:ext uri="{FF2B5EF4-FFF2-40B4-BE49-F238E27FC236}">
                  <a16:creationId xmlns:a16="http://schemas.microsoft.com/office/drawing/2014/main" id="{0137CC28-A25C-4A2C-A602-9EA575178A11}"/>
                </a:ext>
              </a:extLst>
            </p:cNvPr>
            <p:cNvPicPr>
              <a:picLocks noChangeAspect="1"/>
            </p:cNvPicPr>
            <p:nvPr/>
          </p:nvPicPr>
          <p:blipFill rotWithShape="1">
            <a:blip r:embed="rId17" cstate="print">
              <a:extLst>
                <a:ext uri="{28A0092B-C50C-407E-A947-70E740481C1C}">
                  <a14:useLocalDpi xmlns:a14="http://schemas.microsoft.com/office/drawing/2010/main"/>
                </a:ext>
                <a:ext uri="{96DAC541-7B7A-43D3-8B79-37D633B846F1}">
                  <asvg:svgBlip xmlns:asvg="http://schemas.microsoft.com/office/drawing/2016/SVG/main" r:embed="rId18"/>
                </a:ext>
              </a:extLst>
            </a:blip>
            <a:srcRect r="48063"/>
            <a:stretch/>
          </p:blipFill>
          <p:spPr>
            <a:xfrm rot="20905506">
              <a:off x="7518474" y="1937904"/>
              <a:ext cx="145128" cy="279430"/>
            </a:xfrm>
            <a:prstGeom prst="rect">
              <a:avLst/>
            </a:prstGeom>
          </p:spPr>
        </p:pic>
        <p:grpSp>
          <p:nvGrpSpPr>
            <p:cNvPr id="64" name="Group 63">
              <a:extLst>
                <a:ext uri="{FF2B5EF4-FFF2-40B4-BE49-F238E27FC236}">
                  <a16:creationId xmlns:a16="http://schemas.microsoft.com/office/drawing/2014/main" id="{419D44BD-E48C-4659-912A-D6E735556916}"/>
                </a:ext>
              </a:extLst>
            </p:cNvPr>
            <p:cNvGrpSpPr/>
            <p:nvPr/>
          </p:nvGrpSpPr>
          <p:grpSpPr>
            <a:xfrm>
              <a:off x="7440076" y="1969294"/>
              <a:ext cx="587210" cy="621039"/>
              <a:chOff x="7440076" y="1969294"/>
              <a:chExt cx="587210" cy="621039"/>
            </a:xfrm>
          </p:grpSpPr>
          <p:pic>
            <p:nvPicPr>
              <p:cNvPr id="66" name="Graphic 65" descr="Person in wheelchair with solid fill">
                <a:extLst>
                  <a:ext uri="{FF2B5EF4-FFF2-40B4-BE49-F238E27FC236}">
                    <a16:creationId xmlns:a16="http://schemas.microsoft.com/office/drawing/2014/main" id="{C112EA16-6C61-4B6B-8C02-10D0304B69F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440076" y="2003123"/>
                <a:ext cx="587210" cy="587210"/>
              </a:xfrm>
              <a:prstGeom prst="rect">
                <a:avLst/>
              </a:prstGeom>
            </p:spPr>
          </p:pic>
          <p:sp>
            <p:nvSpPr>
              <p:cNvPr id="75" name="Flowchart: Stored Data 74">
                <a:extLst>
                  <a:ext uri="{FF2B5EF4-FFF2-40B4-BE49-F238E27FC236}">
                    <a16:creationId xmlns:a16="http://schemas.microsoft.com/office/drawing/2014/main" id="{276C9512-F3D8-49AD-BD16-0506226627CD}"/>
                  </a:ext>
                </a:extLst>
              </p:cNvPr>
              <p:cNvSpPr/>
              <p:nvPr/>
            </p:nvSpPr>
            <p:spPr>
              <a:xfrm rot="15913320">
                <a:off x="7848188" y="1966983"/>
                <a:ext cx="23119" cy="27742"/>
              </a:xfrm>
              <a:prstGeom prst="flowChartOnlineStorage">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77" name="Graphic 76" descr="Person in wheelchair with solid fill">
                <a:extLst>
                  <a:ext uri="{FF2B5EF4-FFF2-40B4-BE49-F238E27FC236}">
                    <a16:creationId xmlns:a16="http://schemas.microsoft.com/office/drawing/2014/main" id="{317E3A66-D537-46F9-BE35-A0840E7607A1}"/>
                  </a:ext>
                </a:extLst>
              </p:cNvPr>
              <p:cNvPicPr>
                <a:picLocks noChangeAspect="1"/>
              </p:cNvPicPr>
              <p:nvPr/>
            </p:nvPicPr>
            <p:blipFill rotWithShape="1">
              <a:blip r:embed="rId21"/>
              <a:srcRect/>
              <a:stretch/>
            </p:blipFill>
            <p:spPr>
              <a:xfrm>
                <a:off x="7623446" y="2147906"/>
                <a:ext cx="107060" cy="157690"/>
              </a:xfrm>
              <a:prstGeom prst="rect">
                <a:avLst/>
              </a:prstGeom>
            </p:spPr>
          </p:pic>
          <p:pic>
            <p:nvPicPr>
              <p:cNvPr id="78" name="Graphic 77" descr="Dress with solid fill">
                <a:extLst>
                  <a:ext uri="{FF2B5EF4-FFF2-40B4-BE49-F238E27FC236}">
                    <a16:creationId xmlns:a16="http://schemas.microsoft.com/office/drawing/2014/main" id="{EA34A5D3-67C7-46DA-AD6D-4E68CB2231EE}"/>
                  </a:ext>
                </a:extLst>
              </p:cNvPr>
              <p:cNvPicPr>
                <a:picLocks noChangeAspect="1"/>
              </p:cNvPicPr>
              <p:nvPr/>
            </p:nvPicPr>
            <p:blipFill rotWithShape="1">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rcRect t="35809"/>
              <a:stretch/>
            </p:blipFill>
            <p:spPr>
              <a:xfrm rot="18100316">
                <a:off x="7597564" y="2255193"/>
                <a:ext cx="235812" cy="151370"/>
              </a:xfrm>
              <a:prstGeom prst="rect">
                <a:avLst/>
              </a:prstGeom>
            </p:spPr>
          </p:pic>
        </p:grpSp>
      </p:grpSp>
      <p:pic>
        <p:nvPicPr>
          <p:cNvPr id="79" name="Graphic 78" descr="Man with cane with solid fill">
            <a:extLst>
              <a:ext uri="{FF2B5EF4-FFF2-40B4-BE49-F238E27FC236}">
                <a16:creationId xmlns:a16="http://schemas.microsoft.com/office/drawing/2014/main" id="{84ACE99E-2E26-4CE2-97C2-F426379CDD19}"/>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682718" y="5104760"/>
            <a:ext cx="826564" cy="826564"/>
          </a:xfrm>
          <a:prstGeom prst="rect">
            <a:avLst/>
          </a:prstGeom>
        </p:spPr>
      </p:pic>
      <p:sp>
        <p:nvSpPr>
          <p:cNvPr id="38" name="Text Placeholder 7">
            <a:extLst>
              <a:ext uri="{FF2B5EF4-FFF2-40B4-BE49-F238E27FC236}">
                <a16:creationId xmlns:a16="http://schemas.microsoft.com/office/drawing/2014/main" id="{7D673CF7-4C5C-4CE1-B491-83FA9628FF09}"/>
              </a:ext>
            </a:extLst>
          </p:cNvPr>
          <p:cNvSpPr txBox="1">
            <a:spLocks/>
          </p:cNvSpPr>
          <p:nvPr/>
        </p:nvSpPr>
        <p:spPr>
          <a:xfrm>
            <a:off x="662780" y="6487298"/>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1 Speciaal onderwijs </a:t>
            </a:r>
            <a:r>
              <a:rPr lang="en-NL" dirty="0"/>
              <a:t>(</a:t>
            </a:r>
            <a:r>
              <a:rPr lang="en-NL" dirty="0" err="1"/>
              <a:t>zowel</a:t>
            </a:r>
            <a:r>
              <a:rPr lang="en-NL" dirty="0"/>
              <a:t> basis </a:t>
            </a:r>
            <a:r>
              <a:rPr lang="en-NL" dirty="0" err="1"/>
              <a:t>als</a:t>
            </a:r>
            <a:r>
              <a:rPr lang="en-NL" dirty="0"/>
              <a:t> </a:t>
            </a:r>
            <a:r>
              <a:rPr lang="en-NL" dirty="0" err="1"/>
              <a:t>voortgezet</a:t>
            </a:r>
            <a:r>
              <a:rPr lang="en-NL" dirty="0"/>
              <a:t>) </a:t>
            </a:r>
            <a:r>
              <a:rPr lang="nl-NL" dirty="0"/>
              <a:t>is voor leerlingen die lichamelijk, zintuigelijk of verstandelijk beperkt zijn en voor leerlingen met psychische- of gedragsproblemen (valt onder Wet op de expertisecentra); daarnaast is er speciaal basisonderwijs</a:t>
            </a:r>
            <a:r>
              <a:rPr lang="en-NL" dirty="0"/>
              <a:t> </a:t>
            </a:r>
            <a:r>
              <a:rPr lang="nl-NL" dirty="0"/>
              <a:t>(deze valt onder Wet PO), deze scholen zijn vo</a:t>
            </a:r>
            <a:r>
              <a:rPr lang="en-NL" dirty="0"/>
              <a:t>o</a:t>
            </a:r>
            <a:r>
              <a:rPr lang="nl-NL" dirty="0"/>
              <a:t>r leer</a:t>
            </a:r>
            <a:r>
              <a:rPr lang="en-NL" dirty="0"/>
              <a:t>l</a:t>
            </a:r>
            <a:r>
              <a:rPr lang="nl-NL" dirty="0"/>
              <a:t>ingen met leer-, gedrags- en of opvoedproblemen</a:t>
            </a:r>
          </a:p>
        </p:txBody>
      </p:sp>
      <p:sp>
        <p:nvSpPr>
          <p:cNvPr id="39" name="Footer Placeholder 8">
            <a:extLst>
              <a:ext uri="{FF2B5EF4-FFF2-40B4-BE49-F238E27FC236}">
                <a16:creationId xmlns:a16="http://schemas.microsoft.com/office/drawing/2014/main" id="{3C554623-E3DF-4C1D-B623-225BDEAA32CA}"/>
              </a:ext>
            </a:extLst>
          </p:cNvPr>
          <p:cNvSpPr txBox="1">
            <a:spLocks/>
          </p:cNvSpPr>
          <p:nvPr/>
        </p:nvSpPr>
        <p:spPr>
          <a:xfrm>
            <a:off x="661800" y="6624637"/>
            <a:ext cx="10868400" cy="122400"/>
          </a:xfrm>
          <a:prstGeom prst="rect">
            <a:avLst/>
          </a:prstGeom>
        </p:spPr>
        <p:txBody>
          <a:bodyPr vert="horz" lIns="36000" tIns="0" rIns="36000" bIns="0" rtlCol="0" anchor="b"/>
          <a:lstStyle>
            <a:defPPr>
              <a:defRPr lang="nl-NL"/>
            </a:defPPr>
            <a:lvl1pPr marL="0" indent="0" algn="l" defTabSz="685800" rtl="0" eaLnBrk="1" latinLnBrk="0" hangingPunct="1">
              <a:lnSpc>
                <a:spcPct val="90000"/>
              </a:lnSpc>
              <a:spcBef>
                <a:spcPts val="375"/>
              </a:spcBef>
              <a:buClr>
                <a:schemeClr val="dk2"/>
              </a:buClr>
              <a:buFont typeface="Wingdings" panose="05000000000000000000" pitchFamily="2" charset="2"/>
              <a:buNone/>
              <a:defRPr sz="800" kern="1200">
                <a:solidFill>
                  <a:srgbClr val="000000"/>
                </a:solidFill>
                <a:latin typeface="+mn-lt"/>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Bron: </a:t>
            </a:r>
            <a:r>
              <a:rPr lang="en-NL" dirty="0"/>
              <a:t>C</a:t>
            </a:r>
            <a:r>
              <a:rPr lang="nl-NL" dirty="0"/>
              <a:t>ijfers o.b.v. verschillende statistieken van CBS, m.u.v. aantal verstandelijk beperkten</a:t>
            </a:r>
            <a:r>
              <a:rPr lang="en-NL" dirty="0"/>
              <a:t> (</a:t>
            </a:r>
            <a:r>
              <a:rPr lang="nl-NL" dirty="0"/>
              <a:t>afkomstig van </a:t>
            </a:r>
            <a:r>
              <a:rPr lang="en-NL" dirty="0"/>
              <a:t>SCP-</a:t>
            </a:r>
            <a:r>
              <a:rPr lang="nl-NL" dirty="0"/>
              <a:t>notitie ‘Het aantal mensen met een licht verstandelijke beperking: een schatting’) </a:t>
            </a:r>
          </a:p>
        </p:txBody>
      </p:sp>
    </p:spTree>
    <p:extLst>
      <p:ext uri="{BB962C8B-B14F-4D97-AF65-F5344CB8AC3E}">
        <p14:creationId xmlns:p14="http://schemas.microsoft.com/office/powerpoint/2010/main" val="41988604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281365A-6DED-472A-870D-82E6D02FE218}"/>
              </a:ext>
            </a:extLst>
          </p:cNvPr>
          <p:cNvGraphicFramePr>
            <a:graphicFrameLocks noChangeAspect="1"/>
          </p:cNvGraphicFramePr>
          <p:nvPr>
            <p:custDataLst>
              <p:tags r:id="rId2"/>
            </p:custDataLst>
            <p:extLst>
              <p:ext uri="{D42A27DB-BD31-4B8C-83A1-F6EECF244321}">
                <p14:modId xmlns:p14="http://schemas.microsoft.com/office/powerpoint/2010/main" val="3930387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0" name="think-cell Slide" r:id="rId6" imgW="425" imgH="424" progId="TCLayout.ActiveDocument.1">
                  <p:embed/>
                </p:oleObj>
              </mc:Choice>
              <mc:Fallback>
                <p:oleObj name="think-cell Slide" r:id="rId6" imgW="425" imgH="424" progId="TCLayout.ActiveDocument.1">
                  <p:embed/>
                  <p:pic>
                    <p:nvPicPr>
                      <p:cNvPr id="9" name="Object 8" hidden="1">
                        <a:extLst>
                          <a:ext uri="{FF2B5EF4-FFF2-40B4-BE49-F238E27FC236}">
                            <a16:creationId xmlns:a16="http://schemas.microsoft.com/office/drawing/2014/main" id="{A281365A-6DED-472A-870D-82E6D02FE21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12" name="Table 10">
            <a:extLst>
              <a:ext uri="{FF2B5EF4-FFF2-40B4-BE49-F238E27FC236}">
                <a16:creationId xmlns:a16="http://schemas.microsoft.com/office/drawing/2014/main" id="{569ACA2B-DC39-4960-A4E9-B658C59CCDA9}"/>
              </a:ext>
            </a:extLst>
          </p:cNvPr>
          <p:cNvGraphicFramePr>
            <a:graphicFrameLocks/>
          </p:cNvGraphicFramePr>
          <p:nvPr>
            <p:extLst>
              <p:ext uri="{D42A27DB-BD31-4B8C-83A1-F6EECF244321}">
                <p14:modId xmlns:p14="http://schemas.microsoft.com/office/powerpoint/2010/main" val="1119082366"/>
              </p:ext>
            </p:extLst>
          </p:nvPr>
        </p:nvGraphicFramePr>
        <p:xfrm>
          <a:off x="669530" y="1592264"/>
          <a:ext cx="10872000" cy="4705316"/>
        </p:xfrm>
        <a:graphic>
          <a:graphicData uri="http://schemas.openxmlformats.org/drawingml/2006/table">
            <a:tbl>
              <a:tblPr firstRow="1" bandRow="1">
                <a:tableStyleId>{5C22544A-7EE6-4342-B048-85BDC9FD1C3A}</a:tableStyleId>
              </a:tblPr>
              <a:tblGrid>
                <a:gridCol w="1980000">
                  <a:extLst>
                    <a:ext uri="{9D8B030D-6E8A-4147-A177-3AD203B41FA5}">
                      <a16:colId xmlns:a16="http://schemas.microsoft.com/office/drawing/2014/main" val="2168218951"/>
                    </a:ext>
                  </a:extLst>
                </a:gridCol>
                <a:gridCol w="6840000">
                  <a:extLst>
                    <a:ext uri="{9D8B030D-6E8A-4147-A177-3AD203B41FA5}">
                      <a16:colId xmlns:a16="http://schemas.microsoft.com/office/drawing/2014/main" val="3379534952"/>
                    </a:ext>
                  </a:extLst>
                </a:gridCol>
                <a:gridCol w="2052000">
                  <a:extLst>
                    <a:ext uri="{9D8B030D-6E8A-4147-A177-3AD203B41FA5}">
                      <a16:colId xmlns:a16="http://schemas.microsoft.com/office/drawing/2014/main" val="1095537562"/>
                    </a:ext>
                  </a:extLst>
                </a:gridCol>
              </a:tblGrid>
              <a:tr h="277316">
                <a:tc>
                  <a:txBody>
                    <a:bodyPr/>
                    <a:lstStyle/>
                    <a:p>
                      <a:pPr algn="l" rtl="0"/>
                      <a:r>
                        <a:rPr lang="nl-NL" sz="1000" dirty="0">
                          <a:solidFill>
                            <a:srgbClr val="FFFFFF"/>
                          </a:solidFill>
                        </a:rPr>
                        <a:t>Vervoersvoorziening</a:t>
                      </a:r>
                    </a:p>
                  </a:txBody>
                  <a:tcPr marL="54000" marR="54000" marT="18000" marB="18000" anchor="ctr">
                    <a:lnL w="9525" cap="flat" cmpd="sng" algn="ctr">
                      <a:solidFill>
                        <a:schemeClr val="tx2"/>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tc>
                  <a:txBody>
                    <a:bodyPr/>
                    <a:lstStyle/>
                    <a:p>
                      <a:pPr algn="l" rtl="0"/>
                      <a:r>
                        <a:rPr lang="nl-NL" sz="1000" dirty="0"/>
                        <a:t>Korte omschrijving</a:t>
                      </a:r>
                    </a:p>
                  </a:txBody>
                  <a:tcPr marL="54000" marR="54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algn="l" rtl="0"/>
                      <a:r>
                        <a:rPr lang="en-NL" sz="1000" i="0" dirty="0" err="1"/>
                        <a:t>Aantal</a:t>
                      </a:r>
                      <a:r>
                        <a:rPr lang="nl-NL" sz="1000" i="0" dirty="0"/>
                        <a:t> gebruikers</a:t>
                      </a:r>
                      <a:r>
                        <a:rPr lang="nl-NL" sz="1000" i="0" baseline="0" dirty="0"/>
                        <a:t> </a:t>
                      </a:r>
                      <a:r>
                        <a:rPr lang="nl-NL" sz="1000" b="0" i="0" baseline="0" dirty="0"/>
                        <a:t>(indicatief)</a:t>
                      </a:r>
                      <a:r>
                        <a:rPr lang="en-NL" sz="1000" b="0" i="0" baseline="0" dirty="0"/>
                        <a:t> </a:t>
                      </a:r>
                      <a:r>
                        <a:rPr lang="nl-NL" sz="1000" b="0" i="0" baseline="30000" dirty="0"/>
                        <a:t>1</a:t>
                      </a:r>
                      <a:endParaRPr lang="nl-NL" sz="1000" b="0" i="0" dirty="0"/>
                    </a:p>
                  </a:txBody>
                  <a:tcPr marL="54000" marR="54000" marT="18000" marB="18000" anchor="ctr">
                    <a:lnL w="9525" cap="flat" cmpd="sng" algn="ctr">
                      <a:solidFill>
                        <a:schemeClr val="bg1"/>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537531575"/>
                  </a:ext>
                </a:extLst>
              </a:tr>
              <a:tr h="442800">
                <a:tc>
                  <a:txBody>
                    <a:bodyPr/>
                    <a:lstStyle/>
                    <a:p>
                      <a:pPr algn="ctr" rtl="0"/>
                      <a:r>
                        <a:rPr lang="nl-NL" sz="1000" b="1" dirty="0"/>
                        <a:t>Collectief Wmo-vervoer </a:t>
                      </a:r>
                    </a:p>
                  </a:txBody>
                  <a:tcPr marL="36000" marR="36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marR="0" lvl="0" indent="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lang="nl-NL" sz="1000" dirty="0"/>
                        <a:t>Vervoer voor mensen met een mobiliteitsbeperking die sociaal-recreatieve uitstapjes </a:t>
                      </a:r>
                      <a:r>
                        <a:rPr lang="nl-NL" sz="1000"/>
                        <a:t>binnen </a:t>
                      </a:r>
                      <a:r>
                        <a:rPr lang="en-NL" sz="1000"/>
                        <a:t>hun </a:t>
                      </a:r>
                      <a:r>
                        <a:rPr lang="nl-NL" sz="1000"/>
                        <a:t>eigen </a:t>
                      </a:r>
                      <a:r>
                        <a:rPr lang="nl-NL" sz="1000" dirty="0"/>
                        <a:t>regio willen </a:t>
                      </a:r>
                      <a:r>
                        <a:rPr lang="nl-NL" sz="1000"/>
                        <a:t>maken.</a:t>
                      </a:r>
                      <a:r>
                        <a:rPr lang="en-NL" sz="1000"/>
                        <a:t> Voor gemeenten is dit de hoofdmoot van het doelgroepenvervoer.</a:t>
                      </a:r>
                      <a:endParaRPr lang="nl-NL" sz="1000" dirty="0"/>
                    </a:p>
                  </a:txBody>
                  <a:tcPr marL="54000" marR="54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00"/>
                        </a:solidFill>
                        <a:effectLst/>
                        <a:uLnTx/>
                        <a:uFillTx/>
                        <a:latin typeface="Corbel"/>
                        <a:ea typeface="+mn-ea"/>
                        <a:cs typeface="+mn-cs"/>
                      </a:endParaRPr>
                    </a:p>
                  </a:txBody>
                  <a:tcPr marL="36000" marR="36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1233948570"/>
                  </a:ext>
                </a:extLst>
              </a:tr>
              <a:tr h="442800">
                <a:tc>
                  <a:txBody>
                    <a:bodyPr/>
                    <a:lstStyle/>
                    <a:p>
                      <a:pPr algn="ctr" rtl="0"/>
                      <a:r>
                        <a:rPr lang="nl-NL" sz="1000" b="1" dirty="0"/>
                        <a:t>Beschermd</a:t>
                      </a:r>
                      <a:r>
                        <a:rPr lang="en-NL" sz="1000" b="1" dirty="0"/>
                        <a:t> (</a:t>
                      </a:r>
                      <a:r>
                        <a:rPr lang="en-NL" sz="1000" b="1" dirty="0" err="1"/>
                        <a:t>senioren</a:t>
                      </a:r>
                      <a:r>
                        <a:rPr lang="en-NL" sz="1000" b="1" dirty="0"/>
                        <a:t>)</a:t>
                      </a:r>
                      <a:r>
                        <a:rPr lang="nl-NL" sz="1000" b="1" dirty="0"/>
                        <a:t>vervoer</a:t>
                      </a:r>
                    </a:p>
                  </a:txBody>
                  <a:tcPr marL="36000" marR="36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marR="0" lvl="0" indent="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lang="nl-NL" sz="1000" dirty="0"/>
                        <a:t>Bovenwett</a:t>
                      </a:r>
                      <a:r>
                        <a:rPr lang="en-NL" sz="1000" dirty="0" err="1"/>
                        <a:t>elijke</a:t>
                      </a:r>
                      <a:r>
                        <a:rPr lang="nl-NL" sz="1000" dirty="0"/>
                        <a:t> uitbreiding van collectief Wmo-vervoer voor senioren (van 65+ of 75+) die sociaal-recreatieve uitstapjes binnen de eigen regio willen maken. </a:t>
                      </a:r>
                      <a:r>
                        <a:rPr lang="en-NL" sz="1000" dirty="0" err="1"/>
                        <a:t>Gemeenten</a:t>
                      </a:r>
                      <a:r>
                        <a:rPr lang="en-NL" sz="1000" dirty="0"/>
                        <a:t> </a:t>
                      </a:r>
                      <a:r>
                        <a:rPr lang="en-NL" sz="1000" dirty="0" err="1"/>
                        <a:t>kunnen</a:t>
                      </a:r>
                      <a:r>
                        <a:rPr lang="en-NL" sz="1000" dirty="0"/>
                        <a:t> er </a:t>
                      </a:r>
                      <a:r>
                        <a:rPr lang="en-NL" sz="1000" dirty="0" err="1"/>
                        <a:t>zelf</a:t>
                      </a:r>
                      <a:r>
                        <a:rPr lang="en-NL" sz="1000" dirty="0"/>
                        <a:t> </a:t>
                      </a:r>
                      <a:r>
                        <a:rPr lang="en-NL" sz="1000" dirty="0" err="1"/>
                        <a:t>voor</a:t>
                      </a:r>
                      <a:r>
                        <a:rPr lang="en-NL" sz="1000" dirty="0"/>
                        <a:t> </a:t>
                      </a:r>
                      <a:r>
                        <a:rPr lang="en-NL" sz="1000" dirty="0" err="1"/>
                        <a:t>kiezen</a:t>
                      </a:r>
                      <a:r>
                        <a:rPr lang="en-NL" sz="1000" dirty="0"/>
                        <a:t> </a:t>
                      </a:r>
                      <a:r>
                        <a:rPr lang="en-NL" sz="1000" dirty="0" err="1"/>
                        <a:t>dit</a:t>
                      </a:r>
                      <a:r>
                        <a:rPr lang="en-NL" sz="1000" dirty="0"/>
                        <a:t> </a:t>
                      </a:r>
                      <a:r>
                        <a:rPr lang="en-NL" sz="1000" dirty="0" err="1"/>
                        <a:t>aan</a:t>
                      </a:r>
                      <a:r>
                        <a:rPr lang="en-NL" sz="1000" dirty="0"/>
                        <a:t> </a:t>
                      </a:r>
                      <a:r>
                        <a:rPr lang="en-NL" sz="1000" dirty="0" err="1"/>
                        <a:t>te</a:t>
                      </a:r>
                      <a:r>
                        <a:rPr lang="en-NL" sz="1000" dirty="0"/>
                        <a:t> </a:t>
                      </a:r>
                      <a:r>
                        <a:rPr lang="en-NL" sz="1000" dirty="0" err="1"/>
                        <a:t>bieden</a:t>
                      </a:r>
                      <a:r>
                        <a:rPr lang="en-NL" sz="1000" dirty="0"/>
                        <a:t>.</a:t>
                      </a:r>
                      <a:endParaRPr lang="nl-NL" sz="1000" dirty="0"/>
                    </a:p>
                  </a:txBody>
                  <a:tcPr marL="54000" marR="54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i="1" dirty="0"/>
                        <a:t>Niet bekend</a:t>
                      </a:r>
                    </a:p>
                  </a:txBody>
                  <a:tcPr marL="36000" marR="36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339549886"/>
                  </a:ext>
                </a:extLst>
              </a:tr>
              <a:tr h="442800">
                <a:tc>
                  <a:txBody>
                    <a:bodyPr/>
                    <a:lstStyle/>
                    <a:p>
                      <a:pPr algn="ctr" rtl="0"/>
                      <a:r>
                        <a:rPr lang="nl-NL" sz="1000" b="1" dirty="0"/>
                        <a:t>Leerlingenvervoer</a:t>
                      </a:r>
                    </a:p>
                  </a:txBody>
                  <a:tcPr marL="36000" marR="36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marR="0" lvl="0" indent="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kumimoji="0" lang="nl-NL" sz="1000" b="0" i="0" u="none" strike="noStrike" kern="1200" cap="none" spc="0" normalizeH="0" baseline="0" dirty="0">
                          <a:ln>
                            <a:noFill/>
                          </a:ln>
                          <a:solidFill>
                            <a:srgbClr val="000000"/>
                          </a:solidFill>
                          <a:effectLst/>
                          <a:uLnTx/>
                          <a:uFillTx/>
                          <a:latin typeface="Corbel"/>
                          <a:ea typeface="+mn-ea"/>
                          <a:cs typeface="+mn-cs"/>
                        </a:rPr>
                        <a:t>Vervoer van</a:t>
                      </a:r>
                      <a:r>
                        <a:rPr kumimoji="0" lang="en-NL" sz="1000" b="0" i="0" u="none" strike="noStrike" kern="1200" cap="none" spc="0" normalizeH="0" baseline="0" dirty="0">
                          <a:ln>
                            <a:noFill/>
                          </a:ln>
                          <a:solidFill>
                            <a:srgbClr val="000000"/>
                          </a:solidFill>
                          <a:effectLst/>
                          <a:uLnTx/>
                          <a:uFillTx/>
                          <a:latin typeface="Corbel"/>
                          <a:ea typeface="+mn-ea"/>
                          <a:cs typeface="+mn-cs"/>
                        </a:rPr>
                        <a:t>/</a:t>
                      </a:r>
                      <a:r>
                        <a:rPr kumimoji="0" lang="nl-NL" sz="1000" b="0" i="0" u="none" strike="noStrike" kern="1200" cap="none" spc="0" normalizeH="0" baseline="0" dirty="0">
                          <a:ln>
                            <a:noFill/>
                          </a:ln>
                          <a:solidFill>
                            <a:srgbClr val="000000"/>
                          </a:solidFill>
                          <a:effectLst/>
                          <a:uLnTx/>
                          <a:uFillTx/>
                          <a:latin typeface="Corbel"/>
                          <a:ea typeface="+mn-ea"/>
                          <a:cs typeface="+mn-cs"/>
                        </a:rPr>
                        <a:t>naar school voor leerlingen in het speciaal onderwijs of </a:t>
                      </a:r>
                      <a:r>
                        <a:rPr kumimoji="0" lang="en-NL" sz="1000" b="0" i="0" u="none" strike="noStrike" kern="1200" cap="none" spc="0" normalizeH="0" baseline="0" dirty="0" err="1">
                          <a:ln>
                            <a:noFill/>
                          </a:ln>
                          <a:solidFill>
                            <a:srgbClr val="000000"/>
                          </a:solidFill>
                          <a:effectLst/>
                          <a:uLnTx/>
                          <a:uFillTx/>
                          <a:latin typeface="Corbel"/>
                          <a:ea typeface="+mn-ea"/>
                          <a:cs typeface="+mn-cs"/>
                        </a:rPr>
                        <a:t>voor</a:t>
                      </a:r>
                      <a:r>
                        <a:rPr kumimoji="0" lang="en-NL" sz="1000" b="0" i="0" u="none" strike="noStrike" kern="1200" cap="none" spc="0" normalizeH="0" baseline="0" dirty="0">
                          <a:ln>
                            <a:noFill/>
                          </a:ln>
                          <a:solidFill>
                            <a:srgbClr val="000000"/>
                          </a:solidFill>
                          <a:effectLst/>
                          <a:uLnTx/>
                          <a:uFillTx/>
                          <a:latin typeface="Corbel"/>
                          <a:ea typeface="+mn-ea"/>
                          <a:cs typeface="+mn-cs"/>
                        </a:rPr>
                        <a:t> </a:t>
                      </a:r>
                      <a:r>
                        <a:rPr kumimoji="0" lang="nl-NL" sz="1000" b="0" i="0" u="none" strike="noStrike" kern="1200" cap="none" spc="0" normalizeH="0" baseline="0" dirty="0">
                          <a:ln>
                            <a:noFill/>
                          </a:ln>
                          <a:solidFill>
                            <a:srgbClr val="000000"/>
                          </a:solidFill>
                          <a:effectLst/>
                          <a:uLnTx/>
                          <a:uFillTx/>
                          <a:latin typeface="Corbel"/>
                          <a:ea typeface="+mn-ea"/>
                          <a:cs typeface="+mn-cs"/>
                        </a:rPr>
                        <a:t>leerlingen met een beperking in het reguliere onderwijs</a:t>
                      </a:r>
                      <a:r>
                        <a:rPr kumimoji="0" lang="en-NL" sz="1000" b="0" i="0" u="none" strike="noStrike" kern="1200" cap="none" spc="0" normalizeH="0" baseline="0" dirty="0">
                          <a:ln>
                            <a:noFill/>
                          </a:ln>
                          <a:solidFill>
                            <a:srgbClr val="000000"/>
                          </a:solidFill>
                          <a:effectLst/>
                          <a:uLnTx/>
                          <a:uFillTx/>
                          <a:latin typeface="Corbel"/>
                          <a:ea typeface="+mn-ea"/>
                          <a:cs typeface="+mn-cs"/>
                        </a:rPr>
                        <a:t>.</a:t>
                      </a:r>
                      <a:endParaRPr kumimoji="0" lang="nl-NL" sz="1000" b="0" i="0" u="none" strike="noStrike" kern="1200" cap="none" spc="0" normalizeH="0" baseline="0" dirty="0">
                        <a:ln>
                          <a:noFill/>
                        </a:ln>
                        <a:solidFill>
                          <a:srgbClr val="000000"/>
                        </a:solidFill>
                        <a:effectLst/>
                        <a:uLnTx/>
                        <a:uFillTx/>
                        <a:latin typeface="Corbel"/>
                        <a:ea typeface="+mn-ea"/>
                        <a:cs typeface="+mn-cs"/>
                      </a:endParaRPr>
                    </a:p>
                  </a:txBody>
                  <a:tcPr marL="54000" marR="54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00"/>
                        </a:solidFill>
                        <a:effectLst/>
                        <a:uLnTx/>
                        <a:uFillTx/>
                        <a:latin typeface="Corbel"/>
                        <a:ea typeface="+mn-ea"/>
                        <a:cs typeface="+mn-cs"/>
                      </a:endParaRPr>
                    </a:p>
                  </a:txBody>
                  <a:tcPr marL="36000" marR="36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633238672"/>
                  </a:ext>
                </a:extLst>
              </a:tr>
              <a:tr h="442800">
                <a:tc>
                  <a:txBody>
                    <a:bodyPr/>
                    <a:lstStyle/>
                    <a:p>
                      <a:pPr algn="ctr" rtl="0"/>
                      <a:r>
                        <a:rPr lang="nl-NL" sz="1000" b="1"/>
                        <a:t>Vervoer dagbesteding</a:t>
                      </a:r>
                      <a:r>
                        <a:rPr lang="en-NL" sz="1000" b="1"/>
                        <a:t> en                     -</a:t>
                      </a:r>
                      <a:r>
                        <a:rPr lang="nl-NL" sz="1000" b="1"/>
                        <a:t>behandeling</a:t>
                      </a:r>
                      <a:endParaRPr lang="nl-NL" sz="1000" b="1" dirty="0"/>
                    </a:p>
                  </a:txBody>
                  <a:tcPr marL="36000" marR="36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indent="0" rtl="0">
                        <a:buClr>
                          <a:schemeClr val="tx2"/>
                        </a:buClr>
                        <a:buFont typeface="Wingdings" panose="05000000000000000000" pitchFamily="2" charset="2"/>
                        <a:buNone/>
                      </a:pPr>
                      <a:r>
                        <a:rPr lang="nl-NL" sz="1000" dirty="0"/>
                        <a:t>Vervoer van</a:t>
                      </a:r>
                      <a:r>
                        <a:rPr lang="en-NL" sz="1000" dirty="0"/>
                        <a:t>/</a:t>
                      </a:r>
                      <a:r>
                        <a:rPr lang="nl-NL" sz="1000" dirty="0"/>
                        <a:t>naar dagbesteding</a:t>
                      </a:r>
                      <a:r>
                        <a:rPr lang="en-NL" sz="1000" dirty="0"/>
                        <a:t> </a:t>
                      </a:r>
                      <a:r>
                        <a:rPr lang="en-NL" sz="1000" dirty="0" err="1"/>
                        <a:t>en</a:t>
                      </a:r>
                      <a:r>
                        <a:rPr lang="en-NL" sz="1000" dirty="0"/>
                        <a:t> </a:t>
                      </a:r>
                      <a:r>
                        <a:rPr lang="nl-NL" sz="1000" dirty="0"/>
                        <a:t>-behandeling voor volwassenen met een verstandelijke of lichamelijke beperking en/of met een psychiatrische aandoening.</a:t>
                      </a:r>
                    </a:p>
                  </a:txBody>
                  <a:tcPr marL="54000" marR="54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algn="ctr" rtl="0"/>
                      <a:r>
                        <a:rPr lang="nl-NL" sz="1000" i="1" dirty="0"/>
                        <a:t>Niet bekend</a:t>
                      </a:r>
                    </a:p>
                  </a:txBody>
                  <a:tcPr marL="36000" marR="36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3363514226"/>
                  </a:ext>
                </a:extLst>
              </a:tr>
              <a:tr h="442800">
                <a:tc>
                  <a:txBody>
                    <a:bodyPr/>
                    <a:lstStyle/>
                    <a:p>
                      <a:pPr algn="ctr" rtl="0"/>
                      <a:r>
                        <a:rPr lang="nl-NL" sz="1000" b="1" dirty="0"/>
                        <a:t>Vervoer specialistische jeugdhulp</a:t>
                      </a:r>
                    </a:p>
                  </a:txBody>
                  <a:tcPr marL="36000" marR="36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indent="0" rtl="0">
                        <a:buClr>
                          <a:schemeClr val="tx2"/>
                        </a:buClr>
                        <a:buFont typeface="Wingdings" panose="05000000000000000000" pitchFamily="2" charset="2"/>
                        <a:buNone/>
                      </a:pPr>
                      <a:r>
                        <a:rPr lang="nl-NL" sz="1000"/>
                        <a:t>Vervoer van</a:t>
                      </a:r>
                      <a:r>
                        <a:rPr lang="en-NL" sz="1000"/>
                        <a:t>/</a:t>
                      </a:r>
                      <a:r>
                        <a:rPr lang="nl-NL" sz="1000"/>
                        <a:t>naar dagbesteding</a:t>
                      </a:r>
                      <a:r>
                        <a:rPr lang="en-NL" sz="1000"/>
                        <a:t> en </a:t>
                      </a:r>
                      <a:r>
                        <a:rPr lang="nl-NL" sz="1000"/>
                        <a:t>-behandeling voor jeu</a:t>
                      </a:r>
                      <a:r>
                        <a:rPr lang="en-NL" sz="1000"/>
                        <a:t>g</a:t>
                      </a:r>
                      <a:r>
                        <a:rPr lang="nl-NL" sz="1000"/>
                        <a:t>digen </a:t>
                      </a:r>
                      <a:r>
                        <a:rPr lang="nl-NL" sz="1000" dirty="0"/>
                        <a:t>met een verstandelijke of lichamelijke beperking en/of met een psychiatrische aandoening.</a:t>
                      </a:r>
                    </a:p>
                  </a:txBody>
                  <a:tcPr marL="54000" marR="54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rtl="0"/>
                      <a:endParaRPr lang="nl-NL" sz="1000" dirty="0"/>
                    </a:p>
                  </a:txBody>
                  <a:tcPr marL="36000" marR="36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1507984624"/>
                  </a:ext>
                </a:extLst>
              </a:tr>
              <a:tr h="442800">
                <a:tc>
                  <a:txBody>
                    <a:bodyPr/>
                    <a:lstStyle/>
                    <a:p>
                      <a:pPr algn="ctr" rtl="0"/>
                      <a:r>
                        <a:rPr lang="nl-NL" sz="1000" b="1" dirty="0"/>
                        <a:t>Zittend ziekenvervoer</a:t>
                      </a:r>
                    </a:p>
                  </a:txBody>
                  <a:tcPr marL="36000" marR="36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indent="0" rtl="0">
                        <a:buClr>
                          <a:schemeClr val="tx2"/>
                        </a:buClr>
                        <a:buFont typeface="Wingdings" panose="05000000000000000000" pitchFamily="2" charset="2"/>
                        <a:buNone/>
                      </a:pPr>
                      <a:r>
                        <a:rPr lang="nl-NL" sz="1000" dirty="0"/>
                        <a:t>Vergoeding van vervoer van</a:t>
                      </a:r>
                      <a:r>
                        <a:rPr lang="en-NL" sz="1000" dirty="0"/>
                        <a:t>/</a:t>
                      </a:r>
                      <a:r>
                        <a:rPr lang="nl-NL" sz="1000" dirty="0"/>
                        <a:t>naar het ziekenhuis of instellingen waar patiënten (</a:t>
                      </a:r>
                      <a:r>
                        <a:rPr lang="nl-NL" sz="1000" kern="1200" dirty="0">
                          <a:solidFill>
                            <a:schemeClr val="dk1"/>
                          </a:solidFill>
                          <a:latin typeface="+mn-lt"/>
                          <a:ea typeface="+mn-ea"/>
                          <a:cs typeface="+mn-cs"/>
                        </a:rPr>
                        <a:t>o.a. rolstoelgebruikers, visueel beperkten, nierdialysepatiënten, oncologi</a:t>
                      </a:r>
                      <a:r>
                        <a:rPr lang="en-NL" sz="1000" kern="1200" dirty="0">
                          <a:solidFill>
                            <a:schemeClr val="dk1"/>
                          </a:solidFill>
                          <a:latin typeface="+mn-lt"/>
                          <a:ea typeface="+mn-ea"/>
                          <a:cs typeface="+mn-cs"/>
                        </a:rPr>
                        <a:t>s</a:t>
                      </a:r>
                      <a:r>
                        <a:rPr lang="nl-NL" sz="1000" kern="1200" dirty="0">
                          <a:solidFill>
                            <a:schemeClr val="dk1"/>
                          </a:solidFill>
                          <a:latin typeface="+mn-lt"/>
                          <a:ea typeface="+mn-ea"/>
                          <a:cs typeface="+mn-cs"/>
                        </a:rPr>
                        <a:t>che patiënten)</a:t>
                      </a:r>
                      <a:r>
                        <a:rPr lang="nl-NL" sz="1000" dirty="0"/>
                        <a:t> zorg ontvangen.</a:t>
                      </a:r>
                      <a:r>
                        <a:rPr lang="en-NL" sz="1000" dirty="0"/>
                        <a:t> </a:t>
                      </a:r>
                      <a:r>
                        <a:rPr lang="en-NL" sz="1000" dirty="0" err="1"/>
                        <a:t>Verantwoordelijkheid</a:t>
                      </a:r>
                      <a:r>
                        <a:rPr lang="en-NL" sz="1000" dirty="0"/>
                        <a:t> van </a:t>
                      </a:r>
                      <a:r>
                        <a:rPr lang="en-NL" sz="1000" dirty="0" err="1"/>
                        <a:t>zorgverzekeraars</a:t>
                      </a:r>
                      <a:r>
                        <a:rPr lang="en-NL" sz="1000" dirty="0"/>
                        <a:t>.</a:t>
                      </a:r>
                      <a:endParaRPr lang="nl-NL" sz="1000" dirty="0"/>
                    </a:p>
                  </a:txBody>
                  <a:tcPr marL="54000" marR="54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rtl="0"/>
                      <a:endParaRPr lang="nl-NL" sz="1000" dirty="0"/>
                    </a:p>
                  </a:txBody>
                  <a:tcPr marL="36000" marR="36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3898558026"/>
                  </a:ext>
                </a:extLst>
              </a:tr>
              <a:tr h="442800">
                <a:tc>
                  <a:txBody>
                    <a:bodyPr/>
                    <a:lstStyle/>
                    <a:p>
                      <a:pPr algn="ctr" rtl="0"/>
                      <a:r>
                        <a:rPr lang="nl-NL" sz="1000" b="1" dirty="0"/>
                        <a:t>Vervoer beschutte en beschermde werkplekken</a:t>
                      </a:r>
                    </a:p>
                  </a:txBody>
                  <a:tcPr marL="36000" marR="36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indent="0" rtl="0">
                        <a:buClr>
                          <a:schemeClr val="tx2"/>
                        </a:buClr>
                        <a:buFont typeface="Wingdings" panose="05000000000000000000" pitchFamily="2" charset="2"/>
                        <a:buNone/>
                      </a:pPr>
                      <a:r>
                        <a:rPr lang="nl-NL" sz="1000" dirty="0"/>
                        <a:t>Vervoer van</a:t>
                      </a:r>
                      <a:r>
                        <a:rPr lang="en-NL" sz="1000" dirty="0"/>
                        <a:t>/</a:t>
                      </a:r>
                      <a:r>
                        <a:rPr lang="nl-NL" sz="1000" dirty="0"/>
                        <a:t>naar beschutte en beschermde werkplekken voor mensen met een arbeidsbeperking.</a:t>
                      </a:r>
                    </a:p>
                  </a:txBody>
                  <a:tcPr marL="54000" marR="54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algn="ctr" rtl="0"/>
                      <a:r>
                        <a:rPr lang="nl-NL" sz="1000" i="1" dirty="0"/>
                        <a:t>Niet bekend</a:t>
                      </a:r>
                    </a:p>
                  </a:txBody>
                  <a:tcPr marL="36000" marR="36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3092530591"/>
                  </a:ext>
                </a:extLst>
              </a:tr>
              <a:tr h="442800">
                <a:tc>
                  <a:txBody>
                    <a:bodyPr/>
                    <a:lstStyle/>
                    <a:p>
                      <a:pPr algn="ctr" rtl="0"/>
                      <a:r>
                        <a:rPr lang="nl-NL" sz="1000" b="1" dirty="0"/>
                        <a:t>Vervoer werkplek of  beroepsgerichte opleidingen</a:t>
                      </a:r>
                    </a:p>
                  </a:txBody>
                  <a:tcPr marL="36000" marR="36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indent="0" rtl="0">
                        <a:buClr>
                          <a:schemeClr val="tx2"/>
                        </a:buClr>
                        <a:buFont typeface="Wingdings" panose="05000000000000000000" pitchFamily="2" charset="2"/>
                        <a:buNone/>
                      </a:pPr>
                      <a:r>
                        <a:rPr lang="nl-NL" sz="1000" dirty="0"/>
                        <a:t>Vergoedingen voor vervoer van</a:t>
                      </a:r>
                      <a:r>
                        <a:rPr lang="en-NL" sz="1000" dirty="0"/>
                        <a:t>/</a:t>
                      </a:r>
                      <a:r>
                        <a:rPr lang="nl-NL" sz="1000" dirty="0"/>
                        <a:t>naar werkplekken of beroepsgerichte opleidingsplekken voor mensen met een structurele beperking.</a:t>
                      </a:r>
                    </a:p>
                  </a:txBody>
                  <a:tcPr marL="54000" marR="54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rtl="0"/>
                      <a:endParaRPr lang="nl-NL" sz="1000" dirty="0"/>
                    </a:p>
                  </a:txBody>
                  <a:tcPr marL="36000" marR="36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2827692676"/>
                  </a:ext>
                </a:extLst>
              </a:tr>
              <a:tr h="442800">
                <a:tc>
                  <a:txBody>
                    <a:bodyPr/>
                    <a:lstStyle/>
                    <a:p>
                      <a:pPr algn="ctr" rtl="0"/>
                      <a:r>
                        <a:rPr lang="nl-NL" sz="1000" b="1"/>
                        <a:t>Overig </a:t>
                      </a:r>
                      <a:r>
                        <a:rPr lang="nl-NL" sz="1000" b="1" dirty="0"/>
                        <a:t>vervoer</a:t>
                      </a:r>
                    </a:p>
                  </a:txBody>
                  <a:tcPr marL="36000" marR="36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indent="0" rtl="0">
                        <a:buClr>
                          <a:schemeClr val="tx2"/>
                        </a:buClr>
                        <a:buFont typeface="Wingdings" panose="05000000000000000000" pitchFamily="2" charset="2"/>
                        <a:buNone/>
                      </a:pPr>
                      <a:r>
                        <a:rPr lang="nl-NL" sz="1000" dirty="0"/>
                        <a:t>Bovenwettelijke voorzieningen voor doelgroepen waar gemeenten zelf graag vervoersoplossingen voor bieden (onder bepaalde omstandigheden) zoals vervoer voor leerlingen naar educatieve activiteiten</a:t>
                      </a:r>
                      <a:r>
                        <a:rPr lang="en-NL" sz="1000" dirty="0"/>
                        <a:t> (</a:t>
                      </a:r>
                      <a:r>
                        <a:rPr lang="en-NL" sz="1000" dirty="0" err="1"/>
                        <a:t>bijv</a:t>
                      </a:r>
                      <a:r>
                        <a:rPr lang="en-NL" sz="1000" dirty="0"/>
                        <a:t>. </a:t>
                      </a:r>
                      <a:r>
                        <a:rPr lang="en-NL" sz="1000" dirty="0" err="1"/>
                        <a:t>schooltuinen</a:t>
                      </a:r>
                      <a:r>
                        <a:rPr lang="en-NL" sz="1000" dirty="0"/>
                        <a:t>)</a:t>
                      </a:r>
                      <a:r>
                        <a:rPr lang="nl-NL" sz="1000" dirty="0"/>
                        <a:t>.</a:t>
                      </a:r>
                    </a:p>
                  </a:txBody>
                  <a:tcPr marL="54000" marR="54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algn="ctr" rtl="0"/>
                      <a:r>
                        <a:rPr lang="nl-NL" sz="1000" i="1" dirty="0"/>
                        <a:t>Niet bekend</a:t>
                      </a:r>
                    </a:p>
                  </a:txBody>
                  <a:tcPr marL="36000" marR="36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3431856994"/>
                  </a:ext>
                </a:extLst>
              </a:tr>
              <a:tr h="442800">
                <a:tc>
                  <a:txBody>
                    <a:bodyPr/>
                    <a:lstStyle/>
                    <a:p>
                      <a:pPr algn="ctr" rtl="0"/>
                      <a:r>
                        <a:rPr lang="nl-NL" sz="1000" b="1" dirty="0"/>
                        <a:t>Bovenregionaal vervoer</a:t>
                      </a:r>
                    </a:p>
                  </a:txBody>
                  <a:tcPr marL="36000" marR="36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marL="0" marR="0" lvl="0" indent="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kumimoji="0" lang="nl-NL" sz="1000" b="0" i="0" u="none" strike="noStrike" kern="1200" cap="none" spc="0" normalizeH="0" baseline="0" dirty="0">
                          <a:ln>
                            <a:noFill/>
                          </a:ln>
                          <a:solidFill>
                            <a:srgbClr val="000000"/>
                          </a:solidFill>
                          <a:effectLst/>
                          <a:uLnTx/>
                          <a:uFillTx/>
                          <a:latin typeface="Corbel"/>
                          <a:ea typeface="+mn-ea"/>
                          <a:cs typeface="+mn-cs"/>
                        </a:rPr>
                        <a:t>Vervoer voor mensen met een mobiliteitsbeperking die sociaal-recreatieve uitstapjes buiten de eigen regio willen maken.</a:t>
                      </a:r>
                      <a:r>
                        <a:rPr kumimoji="0" lang="en-NL" sz="1000" b="0" i="0" u="none" strike="noStrike" kern="1200" cap="none" spc="0" normalizeH="0" baseline="0" dirty="0">
                          <a:ln>
                            <a:noFill/>
                          </a:ln>
                          <a:solidFill>
                            <a:srgbClr val="000000"/>
                          </a:solidFill>
                          <a:effectLst/>
                          <a:uLnTx/>
                          <a:uFillTx/>
                          <a:latin typeface="Corbel"/>
                          <a:ea typeface="+mn-ea"/>
                          <a:cs typeface="+mn-cs"/>
                        </a:rPr>
                        <a:t> </a:t>
                      </a:r>
                      <a:r>
                        <a:rPr kumimoji="0" lang="en-NL" sz="1000" b="0" i="0" u="none" strike="noStrike" kern="1200" cap="none" spc="0" normalizeH="0" baseline="0" dirty="0" err="1">
                          <a:ln>
                            <a:noFill/>
                          </a:ln>
                          <a:solidFill>
                            <a:srgbClr val="000000"/>
                          </a:solidFill>
                          <a:effectLst/>
                          <a:uLnTx/>
                          <a:uFillTx/>
                          <a:latin typeface="Corbel"/>
                          <a:ea typeface="+mn-ea"/>
                          <a:cs typeface="+mn-cs"/>
                        </a:rPr>
                        <a:t>Heet</a:t>
                      </a:r>
                      <a:r>
                        <a:rPr kumimoji="0" lang="en-NL" sz="1000" b="0" i="0" u="none" strike="noStrike" kern="1200" cap="none" spc="0" normalizeH="0" baseline="0" dirty="0">
                          <a:ln>
                            <a:noFill/>
                          </a:ln>
                          <a:solidFill>
                            <a:srgbClr val="000000"/>
                          </a:solidFill>
                          <a:effectLst/>
                          <a:uLnTx/>
                          <a:uFillTx/>
                          <a:latin typeface="Corbel"/>
                          <a:ea typeface="+mn-ea"/>
                          <a:cs typeface="+mn-cs"/>
                        </a:rPr>
                        <a:t> op </a:t>
                      </a:r>
                      <a:r>
                        <a:rPr kumimoji="0" lang="en-NL" sz="1000" b="0" i="0" u="none" strike="noStrike" kern="1200" cap="none" spc="0" normalizeH="0" baseline="0" dirty="0" err="1">
                          <a:ln>
                            <a:noFill/>
                          </a:ln>
                          <a:solidFill>
                            <a:srgbClr val="000000"/>
                          </a:solidFill>
                          <a:effectLst/>
                          <a:uLnTx/>
                          <a:uFillTx/>
                          <a:latin typeface="Corbel"/>
                          <a:ea typeface="+mn-ea"/>
                          <a:cs typeface="+mn-cs"/>
                        </a:rPr>
                        <a:t>dit</a:t>
                      </a:r>
                      <a:r>
                        <a:rPr kumimoji="0" lang="en-NL" sz="1000" b="0" i="0" u="none" strike="noStrike" kern="1200" cap="none" spc="0" normalizeH="0" baseline="0" dirty="0">
                          <a:ln>
                            <a:noFill/>
                          </a:ln>
                          <a:solidFill>
                            <a:srgbClr val="000000"/>
                          </a:solidFill>
                          <a:effectLst/>
                          <a:uLnTx/>
                          <a:uFillTx/>
                          <a:latin typeface="Corbel"/>
                          <a:ea typeface="+mn-ea"/>
                          <a:cs typeface="+mn-cs"/>
                        </a:rPr>
                        <a:t> moment </a:t>
                      </a:r>
                      <a:r>
                        <a:rPr kumimoji="0" lang="en-NL" sz="1000" b="0" i="0" u="none" strike="noStrike" kern="1200" cap="none" spc="0" normalizeH="0" baseline="0" dirty="0" err="1">
                          <a:ln>
                            <a:noFill/>
                          </a:ln>
                          <a:solidFill>
                            <a:srgbClr val="000000"/>
                          </a:solidFill>
                          <a:effectLst/>
                          <a:uLnTx/>
                          <a:uFillTx/>
                          <a:latin typeface="Corbel"/>
                          <a:ea typeface="+mn-ea"/>
                          <a:cs typeface="+mn-cs"/>
                        </a:rPr>
                        <a:t>Valys</a:t>
                      </a:r>
                      <a:r>
                        <a:rPr kumimoji="0" lang="en-NL" sz="1000" b="0" i="0" u="none" strike="noStrike" kern="1200" cap="none" spc="0" normalizeH="0" baseline="0" dirty="0">
                          <a:ln>
                            <a:noFill/>
                          </a:ln>
                          <a:solidFill>
                            <a:srgbClr val="000000"/>
                          </a:solidFill>
                          <a:effectLst/>
                          <a:uLnTx/>
                          <a:uFillTx/>
                          <a:latin typeface="Corbel"/>
                          <a:ea typeface="+mn-ea"/>
                          <a:cs typeface="+mn-cs"/>
                        </a:rPr>
                        <a:t> </a:t>
                      </a:r>
                      <a:r>
                        <a:rPr kumimoji="0" lang="en-NL" sz="1000" b="0" i="0" u="none" strike="noStrike" kern="1200" cap="none" spc="0" normalizeH="0" baseline="0" dirty="0" err="1">
                          <a:ln>
                            <a:noFill/>
                          </a:ln>
                          <a:solidFill>
                            <a:srgbClr val="000000"/>
                          </a:solidFill>
                          <a:effectLst/>
                          <a:uLnTx/>
                          <a:uFillTx/>
                          <a:latin typeface="Corbel"/>
                          <a:ea typeface="+mn-ea"/>
                          <a:cs typeface="+mn-cs"/>
                        </a:rPr>
                        <a:t>en</a:t>
                      </a:r>
                      <a:r>
                        <a:rPr kumimoji="0" lang="en-NL" sz="1000" b="0" i="0" u="none" strike="noStrike" kern="1200" cap="none" spc="0" normalizeH="0" baseline="0" dirty="0">
                          <a:ln>
                            <a:noFill/>
                          </a:ln>
                          <a:solidFill>
                            <a:srgbClr val="000000"/>
                          </a:solidFill>
                          <a:effectLst/>
                          <a:uLnTx/>
                          <a:uFillTx/>
                          <a:latin typeface="Corbel"/>
                          <a:ea typeface="+mn-ea"/>
                          <a:cs typeface="+mn-cs"/>
                        </a:rPr>
                        <a:t> </a:t>
                      </a:r>
                      <a:r>
                        <a:rPr kumimoji="0" lang="en-NL" sz="1000" b="0" i="0" u="none" strike="noStrike" kern="1200" cap="none" spc="0" normalizeH="0" baseline="0" dirty="0" err="1">
                          <a:ln>
                            <a:noFill/>
                          </a:ln>
                          <a:solidFill>
                            <a:srgbClr val="000000"/>
                          </a:solidFill>
                          <a:effectLst/>
                          <a:uLnTx/>
                          <a:uFillTx/>
                          <a:latin typeface="Corbel"/>
                          <a:ea typeface="+mn-ea"/>
                          <a:cs typeface="+mn-cs"/>
                        </a:rPr>
                        <a:t>wordt</a:t>
                      </a:r>
                      <a:r>
                        <a:rPr kumimoji="0" lang="en-NL" sz="1000" b="0" i="0" u="none" strike="noStrike" kern="1200" cap="none" spc="0" normalizeH="0" baseline="0" dirty="0">
                          <a:ln>
                            <a:noFill/>
                          </a:ln>
                          <a:solidFill>
                            <a:srgbClr val="000000"/>
                          </a:solidFill>
                          <a:effectLst/>
                          <a:uLnTx/>
                          <a:uFillTx/>
                          <a:latin typeface="Corbel"/>
                          <a:ea typeface="+mn-ea"/>
                          <a:cs typeface="+mn-cs"/>
                        </a:rPr>
                        <a:t> </a:t>
                      </a:r>
                      <a:r>
                        <a:rPr kumimoji="0" lang="en-NL" sz="1000" b="0" i="0" u="none" strike="noStrike" kern="1200" cap="none" spc="0" normalizeH="0" baseline="0" dirty="0" err="1">
                          <a:ln>
                            <a:noFill/>
                          </a:ln>
                          <a:solidFill>
                            <a:srgbClr val="000000"/>
                          </a:solidFill>
                          <a:effectLst/>
                          <a:uLnTx/>
                          <a:uFillTx/>
                          <a:latin typeface="Corbel"/>
                          <a:ea typeface="+mn-ea"/>
                          <a:cs typeface="+mn-cs"/>
                        </a:rPr>
                        <a:t>landelijk</a:t>
                      </a:r>
                      <a:r>
                        <a:rPr kumimoji="0" lang="en-NL" sz="1000" b="0" i="0" u="none" strike="noStrike" kern="1200" cap="none" spc="0" normalizeH="0" baseline="0" dirty="0">
                          <a:ln>
                            <a:noFill/>
                          </a:ln>
                          <a:solidFill>
                            <a:srgbClr val="000000"/>
                          </a:solidFill>
                          <a:effectLst/>
                          <a:uLnTx/>
                          <a:uFillTx/>
                          <a:latin typeface="Corbel"/>
                          <a:ea typeface="+mn-ea"/>
                          <a:cs typeface="+mn-cs"/>
                        </a:rPr>
                        <a:t> </a:t>
                      </a:r>
                      <a:r>
                        <a:rPr kumimoji="0" lang="en-NL" sz="1000" b="0" i="0" u="none" strike="noStrike" kern="1200" cap="none" spc="0" normalizeH="0" baseline="0" dirty="0" err="1">
                          <a:ln>
                            <a:noFill/>
                          </a:ln>
                          <a:solidFill>
                            <a:srgbClr val="000000"/>
                          </a:solidFill>
                          <a:effectLst/>
                          <a:uLnTx/>
                          <a:uFillTx/>
                          <a:latin typeface="Corbel"/>
                          <a:ea typeface="+mn-ea"/>
                          <a:cs typeface="+mn-cs"/>
                        </a:rPr>
                        <a:t>geregeld</a:t>
                      </a:r>
                      <a:r>
                        <a:rPr kumimoji="0" lang="en-NL" sz="1000" b="0" i="0" u="none" strike="noStrike" kern="1200" cap="none" spc="0" normalizeH="0" baseline="0" dirty="0">
                          <a:ln>
                            <a:noFill/>
                          </a:ln>
                          <a:solidFill>
                            <a:srgbClr val="000000"/>
                          </a:solidFill>
                          <a:effectLst/>
                          <a:uLnTx/>
                          <a:uFillTx/>
                          <a:latin typeface="Corbel"/>
                          <a:ea typeface="+mn-ea"/>
                          <a:cs typeface="+mn-cs"/>
                        </a:rPr>
                        <a:t> door het </a:t>
                      </a:r>
                      <a:r>
                        <a:rPr kumimoji="0" lang="en-NL" sz="1000" b="0" i="0" u="none" strike="noStrike" kern="1200" cap="none" spc="0" normalizeH="0" baseline="0" dirty="0" err="1">
                          <a:ln>
                            <a:noFill/>
                          </a:ln>
                          <a:solidFill>
                            <a:srgbClr val="000000"/>
                          </a:solidFill>
                          <a:effectLst/>
                          <a:uLnTx/>
                          <a:uFillTx/>
                          <a:latin typeface="Corbel"/>
                          <a:ea typeface="+mn-ea"/>
                          <a:cs typeface="+mn-cs"/>
                        </a:rPr>
                        <a:t>ministerie</a:t>
                      </a:r>
                      <a:r>
                        <a:rPr kumimoji="0" lang="en-NL" sz="1000" b="0" i="0" u="none" strike="noStrike" kern="1200" cap="none" spc="0" normalizeH="0" baseline="0" dirty="0">
                          <a:ln>
                            <a:noFill/>
                          </a:ln>
                          <a:solidFill>
                            <a:srgbClr val="000000"/>
                          </a:solidFill>
                          <a:effectLst/>
                          <a:uLnTx/>
                          <a:uFillTx/>
                          <a:latin typeface="Corbel"/>
                          <a:ea typeface="+mn-ea"/>
                          <a:cs typeface="+mn-cs"/>
                        </a:rPr>
                        <a:t> van VWS.</a:t>
                      </a:r>
                      <a:endParaRPr kumimoji="0" lang="nl-NL" sz="1000" b="0" i="0" u="none" strike="noStrike" kern="1200" cap="none" spc="0" normalizeH="0" baseline="0" dirty="0">
                        <a:ln>
                          <a:noFill/>
                        </a:ln>
                        <a:solidFill>
                          <a:srgbClr val="000000"/>
                        </a:solidFill>
                        <a:effectLst/>
                        <a:uLnTx/>
                        <a:uFillTx/>
                        <a:latin typeface="Corbel"/>
                        <a:ea typeface="+mn-ea"/>
                        <a:cs typeface="+mn-cs"/>
                      </a:endParaRPr>
                    </a:p>
                  </a:txBody>
                  <a:tcPr marL="54000" marR="54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tc>
                  <a:txBody>
                    <a:bodyPr/>
                    <a:lstStyle/>
                    <a:p>
                      <a:pPr algn="ctr" rtl="0"/>
                      <a:endParaRPr lang="nl-NL" sz="1000" i="1" dirty="0"/>
                    </a:p>
                  </a:txBody>
                  <a:tcPr marL="36000" marR="36000" marT="18000" marB="18000" anchor="ctr">
                    <a:lnL w="9525" cap="flat" cmpd="sng" algn="ctr">
                      <a:solidFill>
                        <a:srgbClr val="DBDBDB"/>
                      </a:solidFill>
                      <a:prstDash val="solid"/>
                      <a:round/>
                      <a:headEnd type="none" w="med" len="med"/>
                      <a:tailEnd type="none" w="med" len="med"/>
                    </a:lnL>
                    <a:lnR w="9525" cap="flat" cmpd="sng" algn="ctr">
                      <a:solidFill>
                        <a:srgbClr val="DBDBDB"/>
                      </a:solidFill>
                      <a:prstDash val="solid"/>
                      <a:round/>
                      <a:headEnd type="none" w="med" len="med"/>
                      <a:tailEnd type="none" w="med" len="med"/>
                    </a:lnR>
                    <a:lnT w="9525" cap="flat" cmpd="sng" algn="ctr">
                      <a:solidFill>
                        <a:srgbClr val="DBDBDB"/>
                      </a:solidFill>
                      <a:prstDash val="solid"/>
                      <a:round/>
                      <a:headEnd type="none" w="med" len="med"/>
                      <a:tailEnd type="none" w="med" len="med"/>
                    </a:lnT>
                    <a:lnB w="9525" cap="flat" cmpd="sng" algn="ctr">
                      <a:solidFill>
                        <a:srgbClr val="DBDBDB"/>
                      </a:solidFill>
                      <a:prstDash val="solid"/>
                      <a:round/>
                      <a:headEnd type="none" w="med" len="med"/>
                      <a:tailEnd type="none" w="med" len="med"/>
                    </a:lnB>
                    <a:noFill/>
                  </a:tcPr>
                </a:tc>
                <a:extLst>
                  <a:ext uri="{0D108BD9-81ED-4DB2-BD59-A6C34878D82A}">
                    <a16:rowId xmlns:a16="http://schemas.microsoft.com/office/drawing/2014/main" val="2545099393"/>
                  </a:ext>
                </a:extLst>
              </a:tr>
            </a:tbl>
          </a:graphicData>
        </a:graphic>
      </p:graphicFrame>
      <p:sp>
        <p:nvSpPr>
          <p:cNvPr id="7" name="Text Placeholder 6">
            <a:extLst>
              <a:ext uri="{FF2B5EF4-FFF2-40B4-BE49-F238E27FC236}">
                <a16:creationId xmlns:a16="http://schemas.microsoft.com/office/drawing/2014/main" id="{25923FF7-7E05-4BBA-A01A-9F867522F752}"/>
              </a:ext>
            </a:extLst>
          </p:cNvPr>
          <p:cNvSpPr>
            <a:spLocks noGrp="1"/>
          </p:cNvSpPr>
          <p:nvPr>
            <p:ph type="body" sz="quarter" idx="14"/>
          </p:nvPr>
        </p:nvSpPr>
        <p:spPr/>
        <p:txBody>
          <a:bodyPr/>
          <a:lstStyle/>
          <a:p>
            <a:pPr marL="0" indent="0">
              <a:buNone/>
            </a:pPr>
            <a:r>
              <a:rPr lang="en-NL"/>
              <a:t>Omschrijving</a:t>
            </a:r>
            <a:r>
              <a:rPr lang="nl-NL"/>
              <a:t> </a:t>
            </a:r>
            <a:r>
              <a:rPr lang="nl-NL" dirty="0"/>
              <a:t>en grootte gebruikersgroepen van voorzieningen binnen doelgroepenvervoer in Nederland</a:t>
            </a:r>
          </a:p>
        </p:txBody>
      </p:sp>
      <p:sp>
        <p:nvSpPr>
          <p:cNvPr id="8" name="Rectangle 7" hidden="1">
            <a:extLst>
              <a:ext uri="{FF2B5EF4-FFF2-40B4-BE49-F238E27FC236}">
                <a16:creationId xmlns:a16="http://schemas.microsoft.com/office/drawing/2014/main" id="{A1C2A298-6DB0-4D5B-87AB-3105CB9A35F9}"/>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a:lnSpc>
                <a:spcPct val="90000"/>
              </a:lnSpc>
              <a:spcBef>
                <a:spcPts val="750"/>
              </a:spcBef>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96F34FFE-912F-4306-9203-455E95F5F9FB}"/>
              </a:ext>
            </a:extLst>
          </p:cNvPr>
          <p:cNvSpPr>
            <a:spLocks noGrp="1"/>
          </p:cNvSpPr>
          <p:nvPr>
            <p:ph type="title"/>
          </p:nvPr>
        </p:nvSpPr>
        <p:spPr/>
        <p:txBody>
          <a:bodyPr vert="horz"/>
          <a:lstStyle/>
          <a:p>
            <a:r>
              <a:rPr lang="en-NL"/>
              <a:t>Wmo-vervoer veruit grootste </a:t>
            </a:r>
            <a:r>
              <a:rPr lang="nl-NL"/>
              <a:t>voorziening </a:t>
            </a:r>
            <a:r>
              <a:rPr lang="en-NL"/>
              <a:t>in het doelgroepenvervoer</a:t>
            </a:r>
            <a:endParaRPr lang="nl-NL" dirty="0"/>
          </a:p>
        </p:txBody>
      </p:sp>
      <p:sp>
        <p:nvSpPr>
          <p:cNvPr id="4" name="Slide Number Placeholder 3">
            <a:extLst>
              <a:ext uri="{FF2B5EF4-FFF2-40B4-BE49-F238E27FC236}">
                <a16:creationId xmlns:a16="http://schemas.microsoft.com/office/drawing/2014/main" id="{0022C3CF-A14A-4187-ACE9-22E9CF8A91A4}"/>
              </a:ext>
            </a:extLst>
          </p:cNvPr>
          <p:cNvSpPr>
            <a:spLocks noGrp="1"/>
          </p:cNvSpPr>
          <p:nvPr>
            <p:ph type="sldNum" sz="quarter" idx="12"/>
          </p:nvPr>
        </p:nvSpPr>
        <p:spPr/>
        <p:txBody>
          <a:bodyPr/>
          <a:lstStyle/>
          <a:p>
            <a:fld id="{992CD0B2-8AB2-4C6C-8876-E15753662C9B}" type="slidenum">
              <a:rPr lang="nl-NL" noProof="0" smtClean="0"/>
              <a:pPr/>
              <a:t>6</a:t>
            </a:fld>
            <a:endParaRPr lang="nl-NL" noProof="0" dirty="0"/>
          </a:p>
        </p:txBody>
      </p:sp>
      <p:sp>
        <p:nvSpPr>
          <p:cNvPr id="11" name="Rectangle: Rounded Corners 10">
            <a:extLst>
              <a:ext uri="{FF2B5EF4-FFF2-40B4-BE49-F238E27FC236}">
                <a16:creationId xmlns:a16="http://schemas.microsoft.com/office/drawing/2014/main" id="{D599AB2D-F58C-4ED7-BCEE-2A953B947119}"/>
              </a:ext>
            </a:extLst>
          </p:cNvPr>
          <p:cNvSpPr/>
          <p:nvPr/>
        </p:nvSpPr>
        <p:spPr>
          <a:xfrm>
            <a:off x="9885530" y="1915236"/>
            <a:ext cx="1260000" cy="324000"/>
          </a:xfrm>
          <a:prstGeom prst="roundRect">
            <a:avLst/>
          </a:prstGeom>
          <a:solidFill>
            <a:schemeClr val="accent5"/>
          </a:solidFill>
          <a:ln w="952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nl-NL" sz="900" b="1" i="0" u="none" strike="noStrike" kern="1200" cap="none" spc="0" normalizeH="0" baseline="0" noProof="0" dirty="0">
                <a:ln>
                  <a:noFill/>
                </a:ln>
                <a:effectLst/>
                <a:uLnTx/>
                <a:uFillTx/>
                <a:latin typeface="Corbel" panose="020B0503020204020204" pitchFamily="34" charset="0"/>
                <a:ea typeface="+mn-ea"/>
                <a:cs typeface="+mn-cs"/>
              </a:rPr>
              <a:t>~360.000 </a:t>
            </a:r>
            <a:endParaRPr kumimoji="0" lang="nl-NL" sz="9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2" name="Rectangle: Rounded Corners 41">
            <a:extLst>
              <a:ext uri="{FF2B5EF4-FFF2-40B4-BE49-F238E27FC236}">
                <a16:creationId xmlns:a16="http://schemas.microsoft.com/office/drawing/2014/main" id="{549D05F8-FDE3-485E-B29D-C1139893D398}"/>
              </a:ext>
            </a:extLst>
          </p:cNvPr>
          <p:cNvSpPr/>
          <p:nvPr/>
        </p:nvSpPr>
        <p:spPr>
          <a:xfrm>
            <a:off x="9885530" y="2807521"/>
            <a:ext cx="1260000" cy="324000"/>
          </a:xfrm>
          <a:prstGeom prst="roundRect">
            <a:avLst/>
          </a:prstGeom>
          <a:solidFill>
            <a:schemeClr val="accent5"/>
          </a:solidFill>
          <a:ln w="952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nl-NL" sz="900" b="1" i="0" u="none" strike="noStrike" kern="1200" cap="none" spc="0" normalizeH="0" baseline="0" noProof="0" dirty="0">
                <a:ln>
                  <a:noFill/>
                </a:ln>
                <a:effectLst/>
                <a:uLnTx/>
                <a:uFillTx/>
                <a:latin typeface="Corbel" panose="020B0503020204020204" pitchFamily="34" charset="0"/>
                <a:ea typeface="+mn-ea"/>
                <a:cs typeface="+mn-cs"/>
              </a:rPr>
              <a:t>~58.000 </a:t>
            </a:r>
            <a:endParaRPr kumimoji="0" lang="nl-NL" sz="9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9" name="Rectangle: Rounded Corners 28">
            <a:extLst>
              <a:ext uri="{FF2B5EF4-FFF2-40B4-BE49-F238E27FC236}">
                <a16:creationId xmlns:a16="http://schemas.microsoft.com/office/drawing/2014/main" id="{38174375-4399-4948-9459-AA406471E7A6}"/>
              </a:ext>
            </a:extLst>
          </p:cNvPr>
          <p:cNvSpPr/>
          <p:nvPr/>
        </p:nvSpPr>
        <p:spPr>
          <a:xfrm>
            <a:off x="9885530" y="3689700"/>
            <a:ext cx="1260000" cy="324000"/>
          </a:xfrm>
          <a:prstGeom prst="roundRect">
            <a:avLst/>
          </a:prstGeom>
          <a:solidFill>
            <a:schemeClr val="accent5"/>
          </a:solidFill>
          <a:ln w="952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lang="nl-NL" sz="900" b="1" dirty="0"/>
              <a:t>~8.000</a:t>
            </a:r>
            <a:endParaRPr kumimoji="0" lang="nl-NL" sz="9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0" name="Rectangle: Rounded Corners 29">
            <a:extLst>
              <a:ext uri="{FF2B5EF4-FFF2-40B4-BE49-F238E27FC236}">
                <a16:creationId xmlns:a16="http://schemas.microsoft.com/office/drawing/2014/main" id="{6F656891-82E6-4B36-A008-B662CAC8A8F0}"/>
              </a:ext>
            </a:extLst>
          </p:cNvPr>
          <p:cNvSpPr/>
          <p:nvPr/>
        </p:nvSpPr>
        <p:spPr>
          <a:xfrm>
            <a:off x="9885530" y="5017816"/>
            <a:ext cx="1260000" cy="324000"/>
          </a:xfrm>
          <a:prstGeom prst="roundRect">
            <a:avLst/>
          </a:prstGeom>
          <a:solidFill>
            <a:schemeClr val="accent5"/>
          </a:solidFill>
          <a:ln w="952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nl-NL" sz="900" b="1" i="0" u="none" strike="noStrike" kern="1200" cap="none" spc="0" normalizeH="0" baseline="0" noProof="0" dirty="0">
                <a:ln>
                  <a:noFill/>
                </a:ln>
                <a:effectLst/>
                <a:uLnTx/>
                <a:uFillTx/>
                <a:latin typeface="Corbel" panose="020B0503020204020204" pitchFamily="34" charset="0"/>
                <a:ea typeface="+mn-ea"/>
                <a:cs typeface="+mn-cs"/>
              </a:rPr>
              <a:t>~3.000 </a:t>
            </a:r>
            <a:endParaRPr kumimoji="0" lang="nl-NL" sz="9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1" name="Rectangle: Rounded Corners 30">
            <a:extLst>
              <a:ext uri="{FF2B5EF4-FFF2-40B4-BE49-F238E27FC236}">
                <a16:creationId xmlns:a16="http://schemas.microsoft.com/office/drawing/2014/main" id="{A9B15D3B-D930-4059-8965-A2C8B0F21AC7}"/>
              </a:ext>
            </a:extLst>
          </p:cNvPr>
          <p:cNvSpPr/>
          <p:nvPr/>
        </p:nvSpPr>
        <p:spPr>
          <a:xfrm>
            <a:off x="9885530" y="4140439"/>
            <a:ext cx="1260000" cy="324000"/>
          </a:xfrm>
          <a:prstGeom prst="roundRect">
            <a:avLst/>
          </a:prstGeom>
          <a:solidFill>
            <a:schemeClr val="accent5"/>
          </a:solidFill>
          <a:ln w="952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lang="nl-NL" sz="900" b="1" dirty="0"/>
              <a:t>~80.000</a:t>
            </a:r>
            <a:endParaRPr kumimoji="0" lang="nl-NL" sz="9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7" name="Rectangle: Rounded Corners 16">
            <a:extLst>
              <a:ext uri="{FF2B5EF4-FFF2-40B4-BE49-F238E27FC236}">
                <a16:creationId xmlns:a16="http://schemas.microsoft.com/office/drawing/2014/main" id="{B9B7B53B-1916-4BD3-81D0-7596D1602BAA}"/>
              </a:ext>
            </a:extLst>
          </p:cNvPr>
          <p:cNvSpPr/>
          <p:nvPr/>
        </p:nvSpPr>
        <p:spPr>
          <a:xfrm>
            <a:off x="9885530" y="5914180"/>
            <a:ext cx="1260000" cy="324000"/>
          </a:xfrm>
          <a:prstGeom prst="roundRect">
            <a:avLst/>
          </a:prstGeom>
          <a:solidFill>
            <a:schemeClr val="accent5"/>
          </a:solidFill>
          <a:ln w="952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nl-NL" sz="900" b="1" i="0" u="none" strike="noStrike" kern="1200" cap="none" spc="0" normalizeH="0" baseline="0" noProof="0" dirty="0">
                <a:ln>
                  <a:noFill/>
                </a:ln>
                <a:effectLst/>
                <a:uLnTx/>
                <a:uFillTx/>
                <a:latin typeface="Corbel" panose="020B0503020204020204" pitchFamily="34" charset="0"/>
                <a:ea typeface="+mn-ea"/>
                <a:cs typeface="+mn-cs"/>
              </a:rPr>
              <a:t>~172.000</a:t>
            </a:r>
            <a:endParaRPr kumimoji="0" lang="nl-NL" sz="900" i="0" u="none" strike="noStrike" kern="1200" cap="none" spc="0" normalizeH="0" baseline="0" noProof="0" dirty="0">
              <a:ln>
                <a:noFill/>
              </a:ln>
              <a:effectLst/>
              <a:uLnTx/>
              <a:uFillTx/>
              <a:latin typeface="Corbel" panose="020B0503020204020204" pitchFamily="34" charset="0"/>
              <a:ea typeface="+mn-ea"/>
              <a:cs typeface="+mn-cs"/>
            </a:endParaRPr>
          </a:p>
        </p:txBody>
      </p:sp>
      <p:grpSp>
        <p:nvGrpSpPr>
          <p:cNvPr id="19" name="Group 18">
            <a:extLst>
              <a:ext uri="{FF2B5EF4-FFF2-40B4-BE49-F238E27FC236}">
                <a16:creationId xmlns:a16="http://schemas.microsoft.com/office/drawing/2014/main" id="{05DF7FF2-1F4D-4EF0-B06D-E76DBFEE874D}"/>
              </a:ext>
            </a:extLst>
          </p:cNvPr>
          <p:cNvGrpSpPr/>
          <p:nvPr/>
        </p:nvGrpSpPr>
        <p:grpSpPr>
          <a:xfrm>
            <a:off x="9721258" y="1196975"/>
            <a:ext cx="1820272" cy="369332"/>
            <a:chOff x="9721258" y="1196975"/>
            <a:chExt cx="1820272" cy="369332"/>
          </a:xfrm>
        </p:grpSpPr>
        <p:sp>
          <p:nvSpPr>
            <p:cNvPr id="18" name="Rectangle 17">
              <a:hlinkClick r:id="rId8" action="ppaction://hlinksldjump"/>
              <a:extLst>
                <a:ext uri="{FF2B5EF4-FFF2-40B4-BE49-F238E27FC236}">
                  <a16:creationId xmlns:a16="http://schemas.microsoft.com/office/drawing/2014/main" id="{87BBB706-46FA-45D0-BA56-EF3522C8F154}"/>
                </a:ext>
              </a:extLst>
            </p:cNvPr>
            <p:cNvSpPr/>
            <p:nvPr/>
          </p:nvSpPr>
          <p:spPr>
            <a:xfrm>
              <a:off x="9721258" y="1196975"/>
              <a:ext cx="1820272" cy="360000"/>
            </a:xfrm>
            <a:prstGeom prst="rect">
              <a:avLst/>
            </a:prstGeom>
            <a:solidFill>
              <a:schemeClr val="bg1">
                <a:lumMod val="95000"/>
              </a:schemeClr>
            </a:solidFill>
            <a:ln>
              <a:solidFill>
                <a:schemeClr val="bg1">
                  <a:lumMod val="50000"/>
                </a:schemeClr>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endParaRPr kumimoji="0" lang="nl-NL" sz="10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0" name="TextBox 19">
              <a:hlinkClick r:id="rId8" action="ppaction://hlinksldjump"/>
              <a:extLst>
                <a:ext uri="{FF2B5EF4-FFF2-40B4-BE49-F238E27FC236}">
                  <a16:creationId xmlns:a16="http://schemas.microsoft.com/office/drawing/2014/main" id="{DEFD8CB6-6F88-4C25-9D6B-75E5641F8F08}"/>
                </a:ext>
              </a:extLst>
            </p:cNvPr>
            <p:cNvSpPr txBox="1"/>
            <p:nvPr/>
          </p:nvSpPr>
          <p:spPr>
            <a:xfrm>
              <a:off x="9954111" y="1196975"/>
              <a:ext cx="1587419" cy="369332"/>
            </a:xfrm>
            <a:prstGeom prst="rect">
              <a:avLst/>
            </a:prstGeom>
            <a:noFill/>
          </p:spPr>
          <p:txBody>
            <a:bodyPr wrap="square">
              <a:spAutoFit/>
            </a:bodyPr>
            <a:lstStyle/>
            <a:p>
              <a:pPr marL="0" indent="0">
                <a:buClr>
                  <a:schemeClr val="tx2"/>
                </a:buClr>
                <a:buNone/>
              </a:pPr>
              <a:r>
                <a:rPr kumimoji="0" lang="en-NL" sz="1000" i="0" u="none" strike="noStrike" kern="1200" cap="none" spc="0" normalizeH="0" baseline="0" noProof="0" dirty="0" err="1">
                  <a:ln>
                    <a:noFill/>
                  </a:ln>
                  <a:effectLst/>
                  <a:uLnTx/>
                  <a:uFillTx/>
                  <a:latin typeface="Corbel" panose="020B0503020204020204" pitchFamily="34" charset="0"/>
                  <a:ea typeface="+mn-ea"/>
                  <a:cs typeface="+mn-cs"/>
                </a:rPr>
                <a:t>Zie</a:t>
              </a:r>
              <a:r>
                <a:rPr kumimoji="0" lang="en-NL" sz="1000" i="0" u="none" strike="noStrike" kern="1200" cap="none" spc="0" normalizeH="0" baseline="0" noProof="0" dirty="0">
                  <a:ln>
                    <a:noFill/>
                  </a:ln>
                  <a:effectLst/>
                  <a:uLnTx/>
                  <a:uFillTx/>
                  <a:latin typeface="Corbel" panose="020B0503020204020204" pitchFamily="34" charset="0"/>
                  <a:ea typeface="+mn-ea"/>
                  <a:cs typeface="+mn-cs"/>
                </a:rPr>
                <a:t> </a:t>
              </a:r>
              <a:r>
                <a:rPr kumimoji="0" lang="en-NL" sz="1000" i="0" u="none" strike="noStrike" kern="1200" cap="none" spc="0" normalizeH="0" baseline="0" noProof="0" dirty="0" err="1">
                  <a:ln>
                    <a:noFill/>
                  </a:ln>
                  <a:effectLst/>
                  <a:uLnTx/>
                  <a:uFillTx/>
                  <a:latin typeface="Corbel" panose="020B0503020204020204" pitchFamily="34" charset="0"/>
                  <a:ea typeface="+mn-ea"/>
                  <a:cs typeface="+mn-cs"/>
                </a:rPr>
                <a:t>bijlage</a:t>
              </a:r>
              <a:r>
                <a:rPr kumimoji="0" lang="en-NL" sz="1000" i="0" u="none" strike="noStrike" kern="1200" cap="none" spc="0" normalizeH="0" baseline="0" noProof="0" dirty="0">
                  <a:ln>
                    <a:noFill/>
                  </a:ln>
                  <a:effectLst/>
                  <a:uLnTx/>
                  <a:uFillTx/>
                  <a:latin typeface="Corbel" panose="020B0503020204020204" pitchFamily="34" charset="0"/>
                  <a:ea typeface="+mn-ea"/>
                  <a:cs typeface="+mn-cs"/>
                </a:rPr>
                <a:t> </a:t>
              </a:r>
              <a:r>
                <a:rPr kumimoji="0" lang="en-NL" sz="1000" i="0" u="none" strike="noStrike" kern="1200" cap="none" spc="0" normalizeH="0" baseline="0" noProof="0" dirty="0" err="1">
                  <a:ln>
                    <a:noFill/>
                  </a:ln>
                  <a:effectLst/>
                  <a:uLnTx/>
                  <a:uFillTx/>
                  <a:latin typeface="Corbel" panose="020B0503020204020204" pitchFamily="34" charset="0"/>
                  <a:ea typeface="+mn-ea"/>
                  <a:cs typeface="+mn-cs"/>
                </a:rPr>
                <a:t>voor</a:t>
              </a:r>
              <a:r>
                <a:rPr kumimoji="0" lang="en-NL" sz="1000" i="0" u="none" strike="noStrike" kern="1200" cap="none" spc="0" normalizeH="0" baseline="0" noProof="0" dirty="0">
                  <a:ln>
                    <a:noFill/>
                  </a:ln>
                  <a:effectLst/>
                  <a:uLnTx/>
                  <a:uFillTx/>
                  <a:latin typeface="Corbel" panose="020B0503020204020204" pitchFamily="34" charset="0"/>
                  <a:ea typeface="+mn-ea"/>
                  <a:cs typeface="+mn-cs"/>
                </a:rPr>
                <a:t> </a:t>
              </a:r>
              <a:r>
                <a:rPr kumimoji="0" lang="en-NL" sz="1000" i="0" u="none" strike="noStrike" kern="1200" cap="none" spc="0" normalizeH="0" baseline="0" noProof="0" dirty="0" err="1">
                  <a:ln>
                    <a:noFill/>
                  </a:ln>
                  <a:effectLst/>
                  <a:uLnTx/>
                  <a:uFillTx/>
                  <a:latin typeface="Corbel" panose="020B0503020204020204" pitchFamily="34" charset="0"/>
                  <a:ea typeface="+mn-ea"/>
                  <a:cs typeface="+mn-cs"/>
                </a:rPr>
                <a:t>meer</a:t>
              </a:r>
              <a:r>
                <a:rPr kumimoji="0" lang="en-NL" sz="1000" i="0" u="none" strike="noStrike" kern="1200" cap="none" spc="0" normalizeH="0" baseline="0" noProof="0" dirty="0">
                  <a:ln>
                    <a:noFill/>
                  </a:ln>
                  <a:effectLst/>
                  <a:uLnTx/>
                  <a:uFillTx/>
                  <a:latin typeface="Corbel" panose="020B0503020204020204" pitchFamily="34" charset="0"/>
                  <a:ea typeface="+mn-ea"/>
                  <a:cs typeface="+mn-cs"/>
                </a:rPr>
                <a:t> info over </a:t>
              </a:r>
              <a:r>
                <a:rPr kumimoji="0" lang="en-NL" sz="1000" i="0" u="none" strike="noStrike" kern="1200" cap="none" spc="0" normalizeH="0" baseline="0" noProof="0" dirty="0" err="1">
                  <a:ln>
                    <a:noFill/>
                  </a:ln>
                  <a:effectLst/>
                  <a:uLnTx/>
                  <a:uFillTx/>
                  <a:latin typeface="Corbel" panose="020B0503020204020204" pitchFamily="34" charset="0"/>
                  <a:ea typeface="+mn-ea"/>
                  <a:cs typeface="+mn-cs"/>
                </a:rPr>
                <a:t>deze</a:t>
              </a:r>
              <a:r>
                <a:rPr kumimoji="0" lang="en-NL" sz="1000" i="0" u="none" strike="noStrike" kern="1200" cap="none" spc="0" normalizeH="0" baseline="0" noProof="0" dirty="0">
                  <a:ln>
                    <a:noFill/>
                  </a:ln>
                  <a:effectLst/>
                  <a:uLnTx/>
                  <a:uFillTx/>
                  <a:latin typeface="Corbel" panose="020B0503020204020204" pitchFamily="34" charset="0"/>
                  <a:ea typeface="+mn-ea"/>
                  <a:cs typeface="+mn-cs"/>
                </a:rPr>
                <a:t> </a:t>
              </a:r>
              <a:r>
                <a:rPr kumimoji="0" lang="en-NL" sz="1000" i="0" u="none" strike="noStrike" kern="1200" cap="none" spc="0" normalizeH="0" baseline="0" noProof="0" dirty="0" err="1">
                  <a:ln>
                    <a:noFill/>
                  </a:ln>
                  <a:effectLst/>
                  <a:uLnTx/>
                  <a:uFillTx/>
                  <a:latin typeface="Corbel" panose="020B0503020204020204" pitchFamily="34" charset="0"/>
                  <a:ea typeface="+mn-ea"/>
                  <a:cs typeface="+mn-cs"/>
                </a:rPr>
                <a:t>voorzieningen</a:t>
              </a:r>
              <a:r>
                <a:rPr kumimoji="0" lang="nl-NL" sz="1000" i="0" u="none" strike="noStrike" kern="1200" cap="none" spc="0" normalizeH="0" baseline="0" noProof="0" dirty="0">
                  <a:ln>
                    <a:noFill/>
                  </a:ln>
                  <a:effectLst/>
                  <a:uLnTx/>
                  <a:uFillTx/>
                  <a:latin typeface="Corbel" panose="020B0503020204020204" pitchFamily="34" charset="0"/>
                  <a:ea typeface="+mn-ea"/>
                  <a:cs typeface="+mn-cs"/>
                </a:rPr>
                <a:t> </a:t>
              </a:r>
            </a:p>
          </p:txBody>
        </p:sp>
        <p:grpSp>
          <p:nvGrpSpPr>
            <p:cNvPr id="22" name="Group 21">
              <a:extLst>
                <a:ext uri="{FF2B5EF4-FFF2-40B4-BE49-F238E27FC236}">
                  <a16:creationId xmlns:a16="http://schemas.microsoft.com/office/drawing/2014/main" id="{D1D7DECF-174D-4D25-8667-1D3667A804ED}"/>
                </a:ext>
              </a:extLst>
            </p:cNvPr>
            <p:cNvGrpSpPr/>
            <p:nvPr/>
          </p:nvGrpSpPr>
          <p:grpSpPr>
            <a:xfrm rot="397024">
              <a:off x="9734621" y="1254116"/>
              <a:ext cx="238474" cy="245717"/>
              <a:chOff x="8511601" y="5943020"/>
              <a:chExt cx="320191" cy="329916"/>
            </a:xfrm>
          </p:grpSpPr>
          <p:sp>
            <p:nvSpPr>
              <p:cNvPr id="16" name="Oval 15">
                <a:extLst>
                  <a:ext uri="{FF2B5EF4-FFF2-40B4-BE49-F238E27FC236}">
                    <a16:creationId xmlns:a16="http://schemas.microsoft.com/office/drawing/2014/main" id="{E4BAECF5-5829-4BDE-9339-AA1FCE1169D4}"/>
                  </a:ext>
                </a:extLst>
              </p:cNvPr>
              <p:cNvSpPr/>
              <p:nvPr/>
            </p:nvSpPr>
            <p:spPr>
              <a:xfrm>
                <a:off x="8599696" y="5943020"/>
                <a:ext cx="72000" cy="72000"/>
              </a:xfrm>
              <a:prstGeom prst="ellipse">
                <a:avLst/>
              </a:prstGeom>
              <a:solidFill>
                <a:schemeClr val="bg1"/>
              </a:solidFill>
              <a:ln w="6350">
                <a:solidFill>
                  <a:schemeClr val="tx1"/>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15" name="Graphic 14" descr="Right pointing backhand index with solid fill">
                <a:extLst>
                  <a:ext uri="{FF2B5EF4-FFF2-40B4-BE49-F238E27FC236}">
                    <a16:creationId xmlns:a16="http://schemas.microsoft.com/office/drawing/2014/main" id="{8BF51E04-8ABF-4E4C-9202-279263E4056C}"/>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rot="16200000">
                <a:off x="8511601" y="5952745"/>
                <a:ext cx="320191" cy="320191"/>
              </a:xfrm>
              <a:prstGeom prst="rect">
                <a:avLst/>
              </a:prstGeom>
            </p:spPr>
          </p:pic>
        </p:grpSp>
      </p:grpSp>
      <p:sp>
        <p:nvSpPr>
          <p:cNvPr id="28" name="Text Placeholder 7">
            <a:extLst>
              <a:ext uri="{FF2B5EF4-FFF2-40B4-BE49-F238E27FC236}">
                <a16:creationId xmlns:a16="http://schemas.microsoft.com/office/drawing/2014/main" id="{8F5545EB-D628-4CEA-9385-FD9B3F394704}"/>
              </a:ext>
            </a:extLst>
          </p:cNvPr>
          <p:cNvSpPr txBox="1">
            <a:spLocks/>
          </p:cNvSpPr>
          <p:nvPr/>
        </p:nvSpPr>
        <p:spPr>
          <a:xfrm>
            <a:off x="662780" y="6487298"/>
            <a:ext cx="10868400" cy="122400"/>
          </a:xfrm>
          <a:prstGeom prst="rect">
            <a:avLst/>
          </a:prstGeom>
        </p:spPr>
        <p:txBody>
          <a:bodyPr vert="horz" lIns="72000" tIns="72000" rIns="72000" bIns="72000" rtlCol="0" anchor="ctr">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dirty="0"/>
              <a:t>1    Aantallen o.b.v. 2015 </a:t>
            </a:r>
          </a:p>
        </p:txBody>
      </p:sp>
      <p:sp>
        <p:nvSpPr>
          <p:cNvPr id="32" name="Footer Placeholder 8">
            <a:extLst>
              <a:ext uri="{FF2B5EF4-FFF2-40B4-BE49-F238E27FC236}">
                <a16:creationId xmlns:a16="http://schemas.microsoft.com/office/drawing/2014/main" id="{441135B9-0AEF-4B0D-9538-31F99518E1A7}"/>
              </a:ext>
            </a:extLst>
          </p:cNvPr>
          <p:cNvSpPr txBox="1">
            <a:spLocks/>
          </p:cNvSpPr>
          <p:nvPr/>
        </p:nvSpPr>
        <p:spPr>
          <a:xfrm>
            <a:off x="661800" y="6624637"/>
            <a:ext cx="10868400" cy="122400"/>
          </a:xfrm>
          <a:prstGeom prst="rect">
            <a:avLst/>
          </a:prstGeom>
        </p:spPr>
        <p:txBody>
          <a:bodyPr vert="horz" lIns="36000" tIns="36000" rIns="36000" bIns="36000" rtlCol="0" anchor="ctr"/>
          <a:lstStyle>
            <a:defPPr>
              <a:defRPr lang="nl-NL"/>
            </a:defPPr>
            <a:lvl1pPr marL="0" indent="0" algn="l" defTabSz="685800" rtl="0" eaLnBrk="1" latinLnBrk="0" hangingPunct="1">
              <a:lnSpc>
                <a:spcPct val="90000"/>
              </a:lnSpc>
              <a:spcBef>
                <a:spcPts val="375"/>
              </a:spcBef>
              <a:buClr>
                <a:schemeClr val="dk2"/>
              </a:buClr>
              <a:buFont typeface="Wingdings" panose="05000000000000000000" pitchFamily="2" charset="2"/>
              <a:buNone/>
              <a:defRPr sz="800" kern="1200">
                <a:solidFill>
                  <a:srgbClr val="000000"/>
                </a:solidFill>
                <a:latin typeface="+mn-lt"/>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Bron: KiM, ‘Cijfers en prognoses voor het doelgroepenvervoer in Nederland’ (nov. 2016); KpVV CROW, ‘Wat is doelgroepenvervoer?’ (geraadpleegd 23 feb. 2021); Gem. Ams</a:t>
            </a:r>
            <a:r>
              <a:rPr lang="en-NL" dirty="0"/>
              <a:t>t</a:t>
            </a:r>
            <a:r>
              <a:rPr lang="nl-NL" dirty="0"/>
              <a:t>erdam, ‘Eindrapport doelgroepenvervoer’ (2016); Zorg &amp; Sociaal Web</a:t>
            </a:r>
          </a:p>
        </p:txBody>
      </p:sp>
    </p:spTree>
    <p:extLst>
      <p:ext uri="{BB962C8B-B14F-4D97-AF65-F5344CB8AC3E}">
        <p14:creationId xmlns:p14="http://schemas.microsoft.com/office/powerpoint/2010/main" val="23232710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82D62A3-DC9A-42B0-B75F-50EF7763164D}"/>
              </a:ext>
            </a:extLst>
          </p:cNvPr>
          <p:cNvGraphicFramePr>
            <a:graphicFrameLocks noChangeAspect="1"/>
          </p:cNvGraphicFramePr>
          <p:nvPr>
            <p:custDataLst>
              <p:tags r:id="rId2"/>
            </p:custDataLst>
            <p:extLst>
              <p:ext uri="{D42A27DB-BD31-4B8C-83A1-F6EECF244321}">
                <p14:modId xmlns:p14="http://schemas.microsoft.com/office/powerpoint/2010/main" val="4115121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4" name="think-cell Slide" r:id="rId5" imgW="425" imgH="424" progId="TCLayout.ActiveDocument.1">
                  <p:embed/>
                </p:oleObj>
              </mc:Choice>
              <mc:Fallback>
                <p:oleObj name="think-cell Slide" r:id="rId5" imgW="425" imgH="424" progId="TCLayout.ActiveDocument.1">
                  <p:embed/>
                  <p:pic>
                    <p:nvPicPr>
                      <p:cNvPr id="8" name="Object 7" hidden="1">
                        <a:extLst>
                          <a:ext uri="{FF2B5EF4-FFF2-40B4-BE49-F238E27FC236}">
                            <a16:creationId xmlns:a16="http://schemas.microsoft.com/office/drawing/2014/main" id="{B82D62A3-DC9A-42B0-B75F-50EF77631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C26E222-B6E1-477F-9B61-BBE8ACAC7B61}"/>
              </a:ext>
            </a:extLst>
          </p:cNvPr>
          <p:cNvSpPr>
            <a:spLocks noGrp="1"/>
          </p:cNvSpPr>
          <p:nvPr>
            <p:ph type="sldNum" sz="quarter" idx="12"/>
          </p:nvPr>
        </p:nvSpPr>
        <p:spPr/>
        <p:txBody>
          <a:bodyPr/>
          <a:lstStyle/>
          <a:p>
            <a:fld id="{992CD0B2-8AB2-4C6C-8876-E15753662C9B}" type="slidenum">
              <a:rPr lang="nl-NL" noProof="0" smtClean="0"/>
              <a:pPr/>
              <a:t>7</a:t>
            </a:fld>
            <a:endParaRPr lang="nl-NL" noProof="0" dirty="0"/>
          </a:p>
        </p:txBody>
      </p:sp>
      <p:sp>
        <p:nvSpPr>
          <p:cNvPr id="10" name="Text Placeholder 9">
            <a:extLst>
              <a:ext uri="{FF2B5EF4-FFF2-40B4-BE49-F238E27FC236}">
                <a16:creationId xmlns:a16="http://schemas.microsoft.com/office/drawing/2014/main" id="{2F0891A3-CC4A-4276-84F5-DC50467B8AF0}"/>
              </a:ext>
            </a:extLst>
          </p:cNvPr>
          <p:cNvSpPr>
            <a:spLocks noGrp="1"/>
          </p:cNvSpPr>
          <p:nvPr>
            <p:ph type="body" sz="quarter" idx="14"/>
          </p:nvPr>
        </p:nvSpPr>
        <p:spPr/>
        <p:txBody>
          <a:bodyPr vert="horz" lIns="72000" tIns="72000" rIns="72000" bIns="72000" rtlCol="0">
            <a:noAutofit/>
          </a:bodyPr>
          <a:lstStyle/>
          <a:p>
            <a:pPr>
              <a:spcBef>
                <a:spcPts val="375"/>
              </a:spcBef>
            </a:pPr>
            <a:r>
              <a:rPr lang="en-NL"/>
              <a:t>Benodigde activiteiten voor het orga</a:t>
            </a:r>
            <a:r>
              <a:rPr lang="nl-NL"/>
              <a:t>niseren </a:t>
            </a:r>
            <a:r>
              <a:rPr lang="nl-NL" dirty="0"/>
              <a:t>van doelgroepenvervoer</a:t>
            </a:r>
          </a:p>
        </p:txBody>
      </p:sp>
      <p:sp>
        <p:nvSpPr>
          <p:cNvPr id="3" name="Title 2">
            <a:extLst>
              <a:ext uri="{FF2B5EF4-FFF2-40B4-BE49-F238E27FC236}">
                <a16:creationId xmlns:a16="http://schemas.microsoft.com/office/drawing/2014/main" id="{27CEBD7D-5759-4685-ABD6-53497F520B6D}"/>
              </a:ext>
            </a:extLst>
          </p:cNvPr>
          <p:cNvSpPr>
            <a:spLocks noGrp="1"/>
          </p:cNvSpPr>
          <p:nvPr>
            <p:ph type="title"/>
          </p:nvPr>
        </p:nvSpPr>
        <p:spPr/>
        <p:txBody>
          <a:bodyPr vert="horz" lIns="36000" tIns="36000" rIns="36000" bIns="36000" rtlCol="0" anchor="b">
            <a:noAutofit/>
          </a:bodyPr>
          <a:lstStyle/>
          <a:p>
            <a:r>
              <a:rPr lang="en-NL"/>
              <a:t>Organiseren van doelgroepenvervoer: va</a:t>
            </a:r>
            <a:r>
              <a:rPr lang="nl-NL"/>
              <a:t>n beleid </a:t>
            </a:r>
            <a:r>
              <a:rPr lang="en-NL"/>
              <a:t>tot</a:t>
            </a:r>
            <a:r>
              <a:rPr lang="nl-NL"/>
              <a:t> uitvoering</a:t>
            </a:r>
            <a:endParaRPr lang="nl-NL" dirty="0"/>
          </a:p>
        </p:txBody>
      </p:sp>
      <p:sp>
        <p:nvSpPr>
          <p:cNvPr id="123" name="Content Placeholder 1">
            <a:extLst>
              <a:ext uri="{FF2B5EF4-FFF2-40B4-BE49-F238E27FC236}">
                <a16:creationId xmlns:a16="http://schemas.microsoft.com/office/drawing/2014/main" id="{88494331-24B7-46A7-8CB1-C22C51380EE3}"/>
              </a:ext>
            </a:extLst>
          </p:cNvPr>
          <p:cNvSpPr txBox="1">
            <a:spLocks/>
          </p:cNvSpPr>
          <p:nvPr/>
        </p:nvSpPr>
        <p:spPr>
          <a:xfrm>
            <a:off x="5343892" y="1601689"/>
            <a:ext cx="6102000" cy="306000"/>
          </a:xfrm>
          <a:prstGeom prst="rect">
            <a:avLst/>
          </a:prstGeom>
          <a:noFill/>
          <a:ln w="9525">
            <a:noFill/>
          </a:ln>
          <a:extLst>
            <a:ext uri="{909E8E84-426E-40DD-AFC4-6F175D3DCCD1}">
              <a14:hiddenFill xmlns:a14="http://schemas.microsoft.com/office/drawing/2010/main">
                <a:solidFill>
                  <a:srgbClr val="68ABB0"/>
                </a:solidFill>
              </a14:hiddenFill>
            </a:ext>
            <a:ext uri="{91240B29-F687-4F45-9708-019B960494DF}">
              <a14:hiddenLine xmlns:a14="http://schemas.microsoft.com/office/drawing/2010/main" w="9525">
                <a:solidFill>
                  <a:srgbClr val="22777B"/>
                </a:solidFill>
              </a14:hiddenLine>
            </a:ext>
          </a:extLst>
        </p:spPr>
        <p:txBody>
          <a:bodyPr vert="horz" lIns="72000" tIns="72000" rIns="72000" bIns="72000" rtlCol="0" anchor="ctr">
            <a:normAutofit/>
          </a:bodyPr>
          <a:lstStyle>
            <a:defPPr>
              <a:defRPr lang="nl-NL"/>
            </a:defPPr>
            <a:lvl1pPr marL="0" indent="0" algn="ctr">
              <a:buNone/>
              <a:defRPr sz="1000" b="1">
                <a:solidFill>
                  <a:srgbClr val="FFFFFF"/>
                </a:solidFill>
              </a:defRPr>
            </a:lvl1pPr>
            <a:lvl2pPr>
              <a:defRPr>
                <a:solidFill>
                  <a:schemeClr val="tx1"/>
                </a:solidFill>
              </a:defRPr>
            </a:lvl2pPr>
            <a:lvl3pPr>
              <a:defRPr>
                <a:solidFill>
                  <a:schemeClr val="tx1"/>
                </a:solidFill>
              </a:defRPr>
            </a:lvl3pPr>
            <a:lvl4pPr>
              <a:defRPr>
                <a:solidFill>
                  <a:schemeClr val="tx1"/>
                </a:solidFill>
              </a:defRPr>
            </a:lvl4pPr>
            <a:lvl5pPr marL="900000" indent="-180000" eaLnBrk="1" hangingPunct="1">
              <a:buClr>
                <a:schemeClr val="tx2"/>
              </a:buClr>
              <a:buFont typeface="Corbel" panose="020B0503020204020204" pitchFamily="34" charset="0"/>
              <a:buChar char="-"/>
              <a:defRPr sz="1400"/>
            </a:lvl5pPr>
          </a:lstStyle>
          <a:p>
            <a:r>
              <a:rPr lang="nl-NL" dirty="0">
                <a:solidFill>
                  <a:srgbClr val="000000"/>
                </a:solidFill>
              </a:rPr>
              <a:t>Vervoer</a:t>
            </a:r>
          </a:p>
        </p:txBody>
      </p:sp>
      <p:cxnSp>
        <p:nvCxnSpPr>
          <p:cNvPr id="118" name="Straight Connector 117">
            <a:extLst>
              <a:ext uri="{FF2B5EF4-FFF2-40B4-BE49-F238E27FC236}">
                <a16:creationId xmlns:a16="http://schemas.microsoft.com/office/drawing/2014/main" id="{86F8DEA7-7BF5-4619-BD11-F657DC27F4A5}"/>
              </a:ext>
            </a:extLst>
          </p:cNvPr>
          <p:cNvCxnSpPr>
            <a:cxnSpLocks/>
          </p:cNvCxnSpPr>
          <p:nvPr/>
        </p:nvCxnSpPr>
        <p:spPr>
          <a:xfrm>
            <a:off x="5343892" y="1907689"/>
            <a:ext cx="6120000" cy="0"/>
          </a:xfrm>
          <a:prstGeom prst="line">
            <a:avLst/>
          </a:prstGeom>
          <a:noFill/>
          <a:ln w="19050" cap="flat" cmpd="sng" algn="ctr">
            <a:solidFill>
              <a:schemeClr val="tx1"/>
            </a:solidFill>
            <a:prstDash val="solid"/>
          </a:ln>
          <a:effectLst/>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cxnSp>
      <p:sp>
        <p:nvSpPr>
          <p:cNvPr id="117" name="Content Placeholder 1">
            <a:extLst>
              <a:ext uri="{FF2B5EF4-FFF2-40B4-BE49-F238E27FC236}">
                <a16:creationId xmlns:a16="http://schemas.microsoft.com/office/drawing/2014/main" id="{6B10AE34-9643-40C7-A0FF-43610369E8AC}"/>
              </a:ext>
            </a:extLst>
          </p:cNvPr>
          <p:cNvSpPr txBox="1">
            <a:spLocks/>
          </p:cNvSpPr>
          <p:nvPr/>
        </p:nvSpPr>
        <p:spPr>
          <a:xfrm>
            <a:off x="671044" y="1601689"/>
            <a:ext cx="4554000" cy="306000"/>
          </a:xfrm>
          <a:prstGeom prst="rect">
            <a:avLst/>
          </a:prstGeom>
          <a:noFill/>
          <a:ln w="9525">
            <a:noFill/>
          </a:ln>
          <a:extLst>
            <a:ext uri="{909E8E84-426E-40DD-AFC4-6F175D3DCCD1}">
              <a14:hiddenFill xmlns:a14="http://schemas.microsoft.com/office/drawing/2010/main">
                <a:solidFill>
                  <a:srgbClr val="68ABB0"/>
                </a:solidFill>
              </a14:hiddenFill>
            </a:ext>
            <a:ext uri="{91240B29-F687-4F45-9708-019B960494DF}">
              <a14:hiddenLine xmlns:a14="http://schemas.microsoft.com/office/drawing/2010/main" w="9525">
                <a:solidFill>
                  <a:srgbClr val="22777B"/>
                </a:solidFill>
              </a14:hiddenLine>
            </a:ext>
          </a:extLst>
        </p:spPr>
        <p:txBody>
          <a:bodyPr vert="horz" lIns="72000" tIns="72000" rIns="72000" bIns="72000" rtlCol="0" anchor="ctr">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r>
              <a:rPr lang="nl-NL" sz="1000" b="1" dirty="0"/>
              <a:t>Beleid en inkoop</a:t>
            </a:r>
            <a:endParaRPr lang="nl-NL" sz="1000" dirty="0"/>
          </a:p>
        </p:txBody>
      </p:sp>
      <p:cxnSp>
        <p:nvCxnSpPr>
          <p:cNvPr id="124" name="Straight Connector 123">
            <a:extLst>
              <a:ext uri="{FF2B5EF4-FFF2-40B4-BE49-F238E27FC236}">
                <a16:creationId xmlns:a16="http://schemas.microsoft.com/office/drawing/2014/main" id="{05744151-E7D3-4C22-B935-BDBF93BA2D27}"/>
              </a:ext>
            </a:extLst>
          </p:cNvPr>
          <p:cNvCxnSpPr>
            <a:cxnSpLocks/>
          </p:cNvCxnSpPr>
          <p:nvPr/>
        </p:nvCxnSpPr>
        <p:spPr>
          <a:xfrm>
            <a:off x="671044" y="1907689"/>
            <a:ext cx="4554000" cy="0"/>
          </a:xfrm>
          <a:prstGeom prst="line">
            <a:avLst/>
          </a:prstGeom>
          <a:noFill/>
          <a:ln w="19050" cap="flat" cmpd="sng" algn="ctr">
            <a:solidFill>
              <a:schemeClr val="tx1"/>
            </a:solidFill>
            <a:prstDash val="solid"/>
          </a:ln>
          <a:effectLst/>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1B8B0EA5-969F-4F61-99DA-C95355104167}"/>
              </a:ext>
            </a:extLst>
          </p:cNvPr>
          <p:cNvSpPr/>
          <p:nvPr/>
        </p:nvSpPr>
        <p:spPr>
          <a:xfrm>
            <a:off x="2228660" y="3425415"/>
            <a:ext cx="1440000" cy="1830896"/>
          </a:xfrm>
          <a:prstGeom prst="rect">
            <a:avLst/>
          </a:prstGeom>
          <a:solidFill>
            <a:schemeClr val="accent4">
              <a:lumMod val="20000"/>
              <a:lumOff val="80000"/>
              <a:alpha val="30000"/>
            </a:schemeClr>
          </a:solidFill>
          <a:ln>
            <a:noFill/>
          </a:ln>
        </p:spPr>
        <p:txBody>
          <a:bodyPr rot="0" spcFirstLastPara="0" vertOverflow="overflow" horzOverflow="overflow" vert="horz" wrap="square" lIns="36000" tIns="72000" rIns="36000" bIns="72000" numCol="1" spcCol="0" rtlCol="0" fromWordArt="0" anchor="t" anchorCtr="0" forceAA="0" compatLnSpc="1">
            <a:prstTxWarp prst="textNoShape">
              <a:avLst/>
            </a:prstTxWarp>
            <a:noAutofit/>
          </a:bodyPr>
          <a:lstStyle/>
          <a:p>
            <a:pPr>
              <a:buClr>
                <a:schemeClr val="tx2"/>
              </a:buClr>
            </a:pPr>
            <a:r>
              <a:rPr kumimoji="0" lang="nl-NL" sz="1000" i="0" u="none" strike="noStrike" kern="1200" cap="none" spc="0" normalizeH="0" baseline="0" noProof="0" dirty="0">
                <a:ln>
                  <a:noFill/>
                </a:ln>
                <a:effectLst/>
                <a:uLnTx/>
                <a:uFillTx/>
              </a:rPr>
              <a:t>Afbakenen van de scope van de inkoop</a:t>
            </a:r>
          </a:p>
          <a:p>
            <a:pPr>
              <a:buClr>
                <a:schemeClr val="tx2"/>
              </a:buClr>
            </a:pPr>
            <a:r>
              <a:rPr lang="nl-NL" sz="1000" dirty="0"/>
              <a:t>U</a:t>
            </a:r>
            <a:r>
              <a:rPr kumimoji="0" lang="nl-NL" sz="1000" i="0" u="none" strike="noStrike" kern="1200" cap="none" spc="0" normalizeH="0" baseline="0" noProof="0" dirty="0">
                <a:ln>
                  <a:noFill/>
                </a:ln>
                <a:effectLst/>
                <a:uLnTx/>
                <a:uFillTx/>
              </a:rPr>
              <a:t>itvoeren m</a:t>
            </a:r>
            <a:r>
              <a:rPr lang="nl-NL" sz="1000" dirty="0"/>
              <a:t>arkt-verkenning en analyse omgevingsfactoren en maatschappelijke ontwikkelingen</a:t>
            </a:r>
          </a:p>
          <a:p>
            <a:pPr>
              <a:buClr>
                <a:schemeClr val="tx2"/>
              </a:buClr>
            </a:pPr>
            <a:r>
              <a:rPr kumimoji="0" lang="nl-NL" sz="1000" i="0" u="none" strike="noStrike" kern="1200" cap="none" spc="0" normalizeH="0" baseline="0" noProof="0" dirty="0">
                <a:ln>
                  <a:noFill/>
                </a:ln>
                <a:effectLst/>
                <a:uLnTx/>
                <a:uFillTx/>
              </a:rPr>
              <a:t>Vastellen v. criteria voor aanbesteding</a:t>
            </a:r>
          </a:p>
          <a:p>
            <a:pPr>
              <a:buClr>
                <a:schemeClr val="tx2"/>
              </a:buClr>
            </a:pPr>
            <a:r>
              <a:rPr lang="nl-NL" sz="1000" dirty="0"/>
              <a:t>Gunnen van opdracht o.b.v. criteria</a:t>
            </a:r>
          </a:p>
        </p:txBody>
      </p:sp>
      <p:sp>
        <p:nvSpPr>
          <p:cNvPr id="114" name="Rectangle 113">
            <a:extLst>
              <a:ext uri="{FF2B5EF4-FFF2-40B4-BE49-F238E27FC236}">
                <a16:creationId xmlns:a16="http://schemas.microsoft.com/office/drawing/2014/main" id="{3BEEB039-6CD9-4CC8-9673-DE05C31D6FFE}"/>
              </a:ext>
            </a:extLst>
          </p:cNvPr>
          <p:cNvSpPr/>
          <p:nvPr/>
        </p:nvSpPr>
        <p:spPr>
          <a:xfrm>
            <a:off x="671044" y="3701374"/>
            <a:ext cx="1440000" cy="1830897"/>
          </a:xfrm>
          <a:prstGeom prst="rect">
            <a:avLst/>
          </a:prstGeom>
          <a:solidFill>
            <a:schemeClr val="accent4">
              <a:lumMod val="20000"/>
              <a:lumOff val="80000"/>
              <a:alpha val="40000"/>
            </a:schemeClr>
          </a:solidFill>
          <a:ln>
            <a:noFill/>
          </a:ln>
        </p:spPr>
        <p:txBody>
          <a:bodyPr rot="0" spcFirstLastPara="0" vertOverflow="overflow" horzOverflow="overflow" vert="horz" wrap="square" lIns="36000" tIns="72000" rIns="36000" bIns="72000" numCol="1" spcCol="0" rtlCol="0" fromWordArt="0" anchor="t" anchorCtr="0" forceAA="0" compatLnSpc="1">
            <a:prstTxWarp prst="textNoShape">
              <a:avLst/>
            </a:prstTxWarp>
            <a:noAutofit/>
          </a:bodyPr>
          <a:lstStyle/>
          <a:p>
            <a:pPr>
              <a:buClr>
                <a:schemeClr val="tx2"/>
              </a:buClr>
            </a:pPr>
            <a:r>
              <a:rPr kumimoji="0" lang="nl-NL" sz="1000" i="0" u="none" strike="noStrike" kern="1200" cap="none" spc="0" normalizeH="0" baseline="0" noProof="0" dirty="0">
                <a:ln>
                  <a:noFill/>
                </a:ln>
                <a:effectLst/>
                <a:uLnTx/>
                <a:uFillTx/>
                <a:latin typeface="Corbel" panose="020B0503020204020204" pitchFamily="34" charset="0"/>
                <a:ea typeface="+mn-ea"/>
                <a:cs typeface="+mn-cs"/>
              </a:rPr>
              <a:t>Onderzoeken welke doelgroepen op welke manier het best en meest efficiënt bediend kunnen worden </a:t>
            </a:r>
          </a:p>
          <a:p>
            <a:pPr>
              <a:buClr>
                <a:schemeClr val="tx2"/>
              </a:buClr>
            </a:pPr>
            <a:r>
              <a:rPr kumimoji="0" lang="nl-NL" sz="1000" i="0" u="none" strike="noStrike" kern="1200" cap="none" spc="0" normalizeH="0" baseline="0" noProof="0" dirty="0">
                <a:ln>
                  <a:noFill/>
                </a:ln>
                <a:effectLst/>
                <a:uLnTx/>
                <a:uFillTx/>
                <a:latin typeface="Corbel" panose="020B0503020204020204" pitchFamily="34" charset="0"/>
                <a:ea typeface="+mn-ea"/>
                <a:cs typeface="+mn-cs"/>
              </a:rPr>
              <a:t>Bijv. door het doen van een klantonderzoek, het maken van prognoses, het schrijven van beleidskaders</a:t>
            </a:r>
          </a:p>
          <a:p>
            <a:pPr>
              <a:buClr>
                <a:schemeClr val="tx2"/>
              </a:buClr>
            </a:pPr>
            <a:endParaRPr lang="nl-NL" sz="1000" dirty="0"/>
          </a:p>
          <a:p>
            <a:pPr>
              <a:buClr>
                <a:schemeClr val="tx2"/>
              </a:buClr>
            </a:pPr>
            <a:endParaRPr lang="nl-NL" sz="1000" dirty="0"/>
          </a:p>
        </p:txBody>
      </p:sp>
      <p:sp>
        <p:nvSpPr>
          <p:cNvPr id="121" name="Rectangle 120">
            <a:extLst>
              <a:ext uri="{FF2B5EF4-FFF2-40B4-BE49-F238E27FC236}">
                <a16:creationId xmlns:a16="http://schemas.microsoft.com/office/drawing/2014/main" id="{0671F9C5-9C1E-4BA7-819B-809270F59A30}"/>
              </a:ext>
            </a:extLst>
          </p:cNvPr>
          <p:cNvSpPr/>
          <p:nvPr/>
        </p:nvSpPr>
        <p:spPr>
          <a:xfrm>
            <a:off x="3786276" y="3926955"/>
            <a:ext cx="1440000" cy="806176"/>
          </a:xfrm>
          <a:prstGeom prst="rect">
            <a:avLst/>
          </a:prstGeom>
          <a:solidFill>
            <a:schemeClr val="accent4">
              <a:lumMod val="20000"/>
              <a:lumOff val="80000"/>
              <a:alpha val="40000"/>
            </a:schemeClr>
          </a:solidFill>
          <a:ln>
            <a:noFill/>
          </a:ln>
        </p:spPr>
        <p:txBody>
          <a:bodyPr rot="0" spcFirstLastPara="0" vertOverflow="overflow" horzOverflow="overflow" vert="horz" wrap="square" lIns="36000" tIns="72000" rIns="36000" bIns="72000" numCol="1" spcCol="0" rtlCol="0" fromWordArt="0" anchor="t" anchorCtr="0" forceAA="0" compatLnSpc="1">
            <a:prstTxWarp prst="textNoShape">
              <a:avLst/>
            </a:prstTxWarp>
            <a:noAutofit/>
          </a:bodyPr>
          <a:lstStyle/>
          <a:p>
            <a:pPr>
              <a:buClr>
                <a:schemeClr val="tx2"/>
              </a:buClr>
            </a:pPr>
            <a:r>
              <a:rPr lang="nl-NL" sz="1000" dirty="0"/>
              <a:t>Opstellen van duidelijke afspraken met gecontracteerde vervoerders en actief hierop sturen</a:t>
            </a:r>
            <a:endParaRPr kumimoji="0" lang="nl-NL" sz="1000" i="0" u="none" strike="noStrike" kern="1200" cap="none" spc="0" normalizeH="0" baseline="0" noProof="0" dirty="0">
              <a:ln>
                <a:noFill/>
              </a:ln>
              <a:effectLst/>
              <a:uLnTx/>
              <a:uFillTx/>
            </a:endParaRPr>
          </a:p>
          <a:p>
            <a:pPr marL="0" indent="0">
              <a:buClr>
                <a:schemeClr val="tx2"/>
              </a:buClr>
              <a:buNone/>
            </a:pPr>
            <a:endParaRPr lang="nl-NL" sz="1000" dirty="0"/>
          </a:p>
          <a:p>
            <a:pPr>
              <a:buClr>
                <a:schemeClr val="tx2"/>
              </a:buClr>
            </a:pPr>
            <a:endParaRPr lang="nl-NL" sz="1000" dirty="0"/>
          </a:p>
        </p:txBody>
      </p:sp>
      <p:sp>
        <p:nvSpPr>
          <p:cNvPr id="122" name="Rectangle 121">
            <a:extLst>
              <a:ext uri="{FF2B5EF4-FFF2-40B4-BE49-F238E27FC236}">
                <a16:creationId xmlns:a16="http://schemas.microsoft.com/office/drawing/2014/main" id="{FB06BF15-2581-45B7-A72B-DAEB61015943}"/>
              </a:ext>
            </a:extLst>
          </p:cNvPr>
          <p:cNvSpPr/>
          <p:nvPr/>
        </p:nvSpPr>
        <p:spPr>
          <a:xfrm>
            <a:off x="5352601" y="3591764"/>
            <a:ext cx="1440000" cy="876266"/>
          </a:xfrm>
          <a:prstGeom prst="rect">
            <a:avLst/>
          </a:prstGeom>
          <a:solidFill>
            <a:schemeClr val="accent4">
              <a:lumMod val="20000"/>
              <a:lumOff val="80000"/>
              <a:alpha val="40000"/>
            </a:schemeClr>
          </a:solidFill>
          <a:ln>
            <a:noFill/>
          </a:ln>
        </p:spPr>
        <p:txBody>
          <a:bodyPr rot="0" spcFirstLastPara="0" vertOverflow="overflow" horzOverflow="overflow" vert="horz" wrap="square" lIns="36000" tIns="72000" rIns="36000" bIns="72000" numCol="1" spcCol="0" rtlCol="0" fromWordArt="0" anchor="t" anchorCtr="0" forceAA="0" compatLnSpc="1">
            <a:prstTxWarp prst="textNoShape">
              <a:avLst/>
            </a:prstTxWarp>
            <a:noAutofit/>
          </a:bodyPr>
          <a:lstStyle/>
          <a:p>
            <a:pPr>
              <a:buClr>
                <a:schemeClr val="tx2"/>
              </a:buClr>
            </a:pPr>
            <a:r>
              <a:rPr lang="nl-NL" sz="1000" dirty="0"/>
              <a:t>Bepalen voor welke vervoersvoorziening personen </a:t>
            </a:r>
            <a:r>
              <a:rPr kumimoji="0" lang="nl-NL" sz="1000" i="0" u="none" strike="noStrike" kern="1200" cap="none" spc="0" normalizeH="0" baseline="0" noProof="0" dirty="0">
                <a:ln>
                  <a:noFill/>
                </a:ln>
                <a:effectLst/>
                <a:uLnTx/>
                <a:uFillTx/>
              </a:rPr>
              <a:t>met mobiliteitsbeperking in aanmerking komen </a:t>
            </a:r>
          </a:p>
          <a:p>
            <a:pPr marL="0" indent="0">
              <a:buClr>
                <a:schemeClr val="tx2"/>
              </a:buClr>
              <a:buNone/>
            </a:pPr>
            <a:endParaRPr lang="nl-NL" sz="1000" dirty="0"/>
          </a:p>
          <a:p>
            <a:pPr>
              <a:buClr>
                <a:schemeClr val="tx2"/>
              </a:buClr>
            </a:pPr>
            <a:endParaRPr lang="nl-NL" sz="1000" dirty="0"/>
          </a:p>
        </p:txBody>
      </p:sp>
      <p:sp>
        <p:nvSpPr>
          <p:cNvPr id="125" name="Rectangle 124">
            <a:extLst>
              <a:ext uri="{FF2B5EF4-FFF2-40B4-BE49-F238E27FC236}">
                <a16:creationId xmlns:a16="http://schemas.microsoft.com/office/drawing/2014/main" id="{33A3C757-1851-4E02-B1A6-CE4005B5A7B7}"/>
              </a:ext>
            </a:extLst>
          </p:cNvPr>
          <p:cNvSpPr/>
          <p:nvPr/>
        </p:nvSpPr>
        <p:spPr>
          <a:xfrm>
            <a:off x="6901508" y="3929938"/>
            <a:ext cx="1440000" cy="871470"/>
          </a:xfrm>
          <a:prstGeom prst="rect">
            <a:avLst/>
          </a:prstGeom>
          <a:solidFill>
            <a:schemeClr val="accent4">
              <a:lumMod val="20000"/>
              <a:lumOff val="80000"/>
              <a:alpha val="40000"/>
            </a:schemeClr>
          </a:solidFill>
          <a:ln>
            <a:noFill/>
          </a:ln>
        </p:spPr>
        <p:txBody>
          <a:bodyPr rot="0" spcFirstLastPara="0" vertOverflow="overflow" horzOverflow="overflow" vert="horz" wrap="square" lIns="36000" tIns="72000" rIns="36000" bIns="72000" numCol="1" spcCol="0" rtlCol="0" fromWordArt="0" anchor="t" anchorCtr="0" forceAA="0" compatLnSpc="1">
            <a:prstTxWarp prst="textNoShape">
              <a:avLst/>
            </a:prstTxWarp>
            <a:noAutofit/>
          </a:bodyPr>
          <a:lstStyle/>
          <a:p>
            <a:pPr>
              <a:buClr>
                <a:schemeClr val="tx2"/>
              </a:buClr>
            </a:pPr>
            <a:r>
              <a:rPr kumimoji="0" lang="nl-NL" sz="1000" i="0" u="none" strike="noStrike" kern="1200" cap="none" spc="0" normalizeH="0" baseline="0" noProof="0" dirty="0">
                <a:ln>
                  <a:noFill/>
                </a:ln>
                <a:effectLst/>
                <a:uLnTx/>
                <a:uFillTx/>
                <a:latin typeface="Corbel" panose="020B0503020204020204" pitchFamily="34" charset="0"/>
                <a:ea typeface="+mn-ea"/>
                <a:cs typeface="+mn-cs"/>
              </a:rPr>
              <a:t>Verschaffen van informatie over ritboeking via het web, telefoon en/of app aan cliënten</a:t>
            </a:r>
          </a:p>
          <a:p>
            <a:pPr marL="0" indent="0">
              <a:buClr>
                <a:schemeClr val="tx2"/>
              </a:buClr>
              <a:buNone/>
            </a:pPr>
            <a:endParaRPr lang="nl-NL" sz="1000" dirty="0"/>
          </a:p>
          <a:p>
            <a:pPr>
              <a:buClr>
                <a:schemeClr val="tx2"/>
              </a:buClr>
            </a:pPr>
            <a:endParaRPr lang="nl-NL" sz="1000" dirty="0"/>
          </a:p>
        </p:txBody>
      </p:sp>
      <p:sp>
        <p:nvSpPr>
          <p:cNvPr id="126" name="Rectangle 125">
            <a:extLst>
              <a:ext uri="{FF2B5EF4-FFF2-40B4-BE49-F238E27FC236}">
                <a16:creationId xmlns:a16="http://schemas.microsoft.com/office/drawing/2014/main" id="{ADADC144-9F69-4A7E-93ED-AEB0B3EF4CB1}"/>
              </a:ext>
            </a:extLst>
          </p:cNvPr>
          <p:cNvSpPr/>
          <p:nvPr/>
        </p:nvSpPr>
        <p:spPr>
          <a:xfrm>
            <a:off x="8459124" y="3929938"/>
            <a:ext cx="1440000" cy="1326373"/>
          </a:xfrm>
          <a:prstGeom prst="rect">
            <a:avLst/>
          </a:prstGeom>
          <a:solidFill>
            <a:schemeClr val="accent4">
              <a:lumMod val="20000"/>
              <a:lumOff val="80000"/>
              <a:alpha val="40000"/>
            </a:schemeClr>
          </a:solidFill>
          <a:ln>
            <a:noFill/>
          </a:ln>
        </p:spPr>
        <p:txBody>
          <a:bodyPr rot="0" spcFirstLastPara="0" vertOverflow="overflow" horzOverflow="overflow" vert="horz" wrap="square" lIns="36000" tIns="72000" rIns="36000" bIns="72000" numCol="1" spcCol="0" rtlCol="0" fromWordArt="0" anchor="t" anchorCtr="0" forceAA="0" compatLnSpc="1">
            <a:prstTxWarp prst="textNoShape">
              <a:avLst/>
            </a:prstTxWarp>
            <a:noAutofit/>
          </a:bodyPr>
          <a:lstStyle/>
          <a:p>
            <a:pPr>
              <a:buClr>
                <a:schemeClr val="tx2"/>
              </a:buClr>
            </a:pPr>
            <a:r>
              <a:rPr kumimoji="0" lang="nl-NL" sz="1000" i="0" u="none" strike="noStrike" kern="1200" cap="none" spc="0" normalizeH="0" baseline="0" noProof="0" dirty="0">
                <a:ln>
                  <a:noFill/>
                </a:ln>
                <a:effectLst/>
                <a:uLnTx/>
                <a:uFillTx/>
              </a:rPr>
              <a:t>Van te voren in</a:t>
            </a:r>
            <a:r>
              <a:rPr lang="nl-NL" sz="1000" dirty="0"/>
              <a:t>plannen van ‘planbaar’ (route- en tijdgebonden) vervoer</a:t>
            </a:r>
          </a:p>
          <a:p>
            <a:pPr>
              <a:buClr>
                <a:schemeClr val="tx2"/>
              </a:buClr>
            </a:pPr>
            <a:r>
              <a:rPr kumimoji="0" lang="nl-NL" sz="1000" i="0" u="none" strike="noStrike" kern="1200" cap="none" spc="0" normalizeH="0" baseline="0" noProof="0" dirty="0">
                <a:ln>
                  <a:noFill/>
                </a:ln>
                <a:effectLst/>
                <a:uLnTx/>
                <a:uFillTx/>
              </a:rPr>
              <a:t>Flexibel aansturen van ‘niet-planbaar’ (vraagafhankelijk) vervoer</a:t>
            </a:r>
          </a:p>
          <a:p>
            <a:pPr marL="0" indent="0">
              <a:buClr>
                <a:schemeClr val="tx2"/>
              </a:buClr>
              <a:buNone/>
            </a:pPr>
            <a:endParaRPr lang="nl-NL" sz="1000" dirty="0"/>
          </a:p>
          <a:p>
            <a:pPr>
              <a:buClr>
                <a:schemeClr val="tx2"/>
              </a:buClr>
            </a:pPr>
            <a:endParaRPr lang="nl-NL" sz="1000" dirty="0"/>
          </a:p>
        </p:txBody>
      </p:sp>
      <p:sp>
        <p:nvSpPr>
          <p:cNvPr id="127" name="Rectangle 126">
            <a:extLst>
              <a:ext uri="{FF2B5EF4-FFF2-40B4-BE49-F238E27FC236}">
                <a16:creationId xmlns:a16="http://schemas.microsoft.com/office/drawing/2014/main" id="{21F6728F-23F6-4D1A-BEA5-D6B2A5CE19B8}"/>
              </a:ext>
            </a:extLst>
          </p:cNvPr>
          <p:cNvSpPr/>
          <p:nvPr/>
        </p:nvSpPr>
        <p:spPr>
          <a:xfrm>
            <a:off x="10016739" y="3601001"/>
            <a:ext cx="1440000" cy="632569"/>
          </a:xfrm>
          <a:prstGeom prst="rect">
            <a:avLst/>
          </a:prstGeom>
          <a:solidFill>
            <a:schemeClr val="accent4">
              <a:lumMod val="20000"/>
              <a:lumOff val="80000"/>
              <a:alpha val="40000"/>
            </a:schemeClr>
          </a:solidFill>
          <a:ln>
            <a:noFill/>
          </a:ln>
        </p:spPr>
        <p:txBody>
          <a:bodyPr rot="0" spcFirstLastPara="0" vertOverflow="overflow" horzOverflow="overflow" vert="horz" wrap="square" lIns="36000" tIns="72000" rIns="36000" bIns="72000" numCol="1" spcCol="0" rtlCol="0" fromWordArt="0" anchor="t" anchorCtr="0" forceAA="0" compatLnSpc="1">
            <a:prstTxWarp prst="textNoShape">
              <a:avLst/>
            </a:prstTxWarp>
            <a:noAutofit/>
          </a:bodyPr>
          <a:lstStyle/>
          <a:p>
            <a:pPr>
              <a:buClr>
                <a:schemeClr val="tx2"/>
              </a:buClr>
            </a:pPr>
            <a:r>
              <a:rPr kumimoji="0" lang="nl-NL" sz="1000" i="0" u="none" strike="noStrike" kern="1200" cap="none" spc="0" normalizeH="0" baseline="0" noProof="0" dirty="0">
                <a:ln>
                  <a:noFill/>
                </a:ln>
                <a:effectLst/>
                <a:uLnTx/>
                <a:uFillTx/>
                <a:latin typeface="Corbel" panose="020B0503020204020204" pitchFamily="34" charset="0"/>
                <a:ea typeface="+mn-ea"/>
                <a:cs typeface="+mn-cs"/>
              </a:rPr>
              <a:t>Daadwerkelijke rijden van de rit door vervoerder</a:t>
            </a:r>
          </a:p>
          <a:p>
            <a:pPr marL="0" indent="0">
              <a:buClr>
                <a:schemeClr val="tx2"/>
              </a:buClr>
              <a:buNone/>
            </a:pPr>
            <a:endParaRPr lang="nl-NL" sz="1000" dirty="0"/>
          </a:p>
          <a:p>
            <a:pPr>
              <a:buClr>
                <a:schemeClr val="tx2"/>
              </a:buClr>
            </a:pPr>
            <a:endParaRPr lang="nl-NL" sz="1000" dirty="0"/>
          </a:p>
        </p:txBody>
      </p:sp>
      <p:sp>
        <p:nvSpPr>
          <p:cNvPr id="157" name="Rectangle 156">
            <a:extLst>
              <a:ext uri="{FF2B5EF4-FFF2-40B4-BE49-F238E27FC236}">
                <a16:creationId xmlns:a16="http://schemas.microsoft.com/office/drawing/2014/main" id="{EA8A471C-94B8-482C-A4CA-9AB0C8F1B77F}"/>
              </a:ext>
            </a:extLst>
          </p:cNvPr>
          <p:cNvSpPr/>
          <p:nvPr/>
        </p:nvSpPr>
        <p:spPr>
          <a:xfrm>
            <a:off x="8459124" y="3215273"/>
            <a:ext cx="1440000" cy="711681"/>
          </a:xfrm>
          <a:prstGeom prst="rect">
            <a:avLst/>
          </a:prstGeom>
          <a:solidFill>
            <a:srgbClr val="22777B"/>
          </a:solidFill>
          <a:ln w="9525">
            <a:solidFill>
              <a:srgbClr val="22777B"/>
            </a:solidFill>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Clr>
                <a:schemeClr val="tx2"/>
              </a:buClr>
              <a:buNone/>
            </a:pPr>
            <a:r>
              <a:rPr lang="nl-NL" sz="1000" b="1" dirty="0">
                <a:solidFill>
                  <a:srgbClr val="FFFFFF"/>
                </a:solidFill>
              </a:rPr>
              <a:t>Plannen rit</a:t>
            </a:r>
            <a:endPar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59" name="Rectangle 158">
            <a:extLst>
              <a:ext uri="{FF2B5EF4-FFF2-40B4-BE49-F238E27FC236}">
                <a16:creationId xmlns:a16="http://schemas.microsoft.com/office/drawing/2014/main" id="{77009BFB-5B1B-4476-91B2-19432FC70D4E}"/>
              </a:ext>
            </a:extLst>
          </p:cNvPr>
          <p:cNvSpPr/>
          <p:nvPr/>
        </p:nvSpPr>
        <p:spPr>
          <a:xfrm>
            <a:off x="10016739" y="2881898"/>
            <a:ext cx="1440000" cy="711681"/>
          </a:xfrm>
          <a:prstGeom prst="rect">
            <a:avLst/>
          </a:prstGeom>
          <a:solidFill>
            <a:srgbClr val="22777B"/>
          </a:solidFill>
          <a:ln w="9525">
            <a:solidFill>
              <a:srgbClr val="22777B"/>
            </a:solidFill>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Clr>
                <a:schemeClr val="tx2"/>
              </a:buClr>
              <a:buNone/>
            </a:pPr>
            <a:r>
              <a:rPr lang="nl-NL" sz="1000" b="1" dirty="0">
                <a:solidFill>
                  <a:srgbClr val="FFFFFF"/>
                </a:solidFill>
              </a:rPr>
              <a:t>Uitvoeren rit</a:t>
            </a:r>
            <a:endPar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60" name="Rectangle 159">
            <a:extLst>
              <a:ext uri="{FF2B5EF4-FFF2-40B4-BE49-F238E27FC236}">
                <a16:creationId xmlns:a16="http://schemas.microsoft.com/office/drawing/2014/main" id="{B0EE21A7-43A1-47C7-A4C3-6986FB65D6DE}"/>
              </a:ext>
            </a:extLst>
          </p:cNvPr>
          <p:cNvSpPr/>
          <p:nvPr/>
        </p:nvSpPr>
        <p:spPr>
          <a:xfrm>
            <a:off x="671044" y="2996198"/>
            <a:ext cx="1440000" cy="711681"/>
          </a:xfrm>
          <a:prstGeom prst="rect">
            <a:avLst/>
          </a:prstGeom>
          <a:solidFill>
            <a:srgbClr val="22777B"/>
          </a:solidFill>
          <a:ln w="9525">
            <a:solidFill>
              <a:srgbClr val="22777B"/>
            </a:solidFill>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ntwikkelen beleid</a:t>
            </a:r>
          </a:p>
        </p:txBody>
      </p:sp>
      <p:grpSp>
        <p:nvGrpSpPr>
          <p:cNvPr id="161" name="Group 160">
            <a:extLst>
              <a:ext uri="{FF2B5EF4-FFF2-40B4-BE49-F238E27FC236}">
                <a16:creationId xmlns:a16="http://schemas.microsoft.com/office/drawing/2014/main" id="{2594A483-5FE9-4415-9E7A-550B29C0D402}"/>
              </a:ext>
            </a:extLst>
          </p:cNvPr>
          <p:cNvGrpSpPr/>
          <p:nvPr/>
        </p:nvGrpSpPr>
        <p:grpSpPr>
          <a:xfrm>
            <a:off x="1155916" y="3235670"/>
            <a:ext cx="470256" cy="379545"/>
            <a:chOff x="1240539" y="3308772"/>
            <a:chExt cx="301011" cy="242947"/>
          </a:xfrm>
        </p:grpSpPr>
        <p:grpSp>
          <p:nvGrpSpPr>
            <p:cNvPr id="179" name="Group 178">
              <a:extLst>
                <a:ext uri="{FF2B5EF4-FFF2-40B4-BE49-F238E27FC236}">
                  <a16:creationId xmlns:a16="http://schemas.microsoft.com/office/drawing/2014/main" id="{89F6EF6B-F97E-40FE-91EE-ACEA80FAA1F1}"/>
                </a:ext>
              </a:extLst>
            </p:cNvPr>
            <p:cNvGrpSpPr/>
            <p:nvPr/>
          </p:nvGrpSpPr>
          <p:grpSpPr>
            <a:xfrm>
              <a:off x="1240539" y="3308772"/>
              <a:ext cx="301011" cy="242947"/>
              <a:chOff x="1346525" y="2454453"/>
              <a:chExt cx="611700" cy="493704"/>
            </a:xfrm>
            <a:solidFill>
              <a:schemeClr val="tx1"/>
            </a:solidFill>
          </p:grpSpPr>
          <p:sp>
            <p:nvSpPr>
              <p:cNvPr id="203" name="Freeform 15">
                <a:extLst>
                  <a:ext uri="{FF2B5EF4-FFF2-40B4-BE49-F238E27FC236}">
                    <a16:creationId xmlns:a16="http://schemas.microsoft.com/office/drawing/2014/main" id="{A965B914-1C19-4D36-854D-2D4748AA8579}"/>
                  </a:ext>
                </a:extLst>
              </p:cNvPr>
              <p:cNvSpPr>
                <a:spLocks noChangeArrowheads="1"/>
              </p:cNvSpPr>
              <p:nvPr/>
            </p:nvSpPr>
            <p:spPr bwMode="auto">
              <a:xfrm>
                <a:off x="1346525" y="2485000"/>
                <a:ext cx="369885" cy="463157"/>
              </a:xfrm>
              <a:custGeom>
                <a:avLst/>
                <a:gdLst>
                  <a:gd name="T0" fmla="*/ 3396 w 3569"/>
                  <a:gd name="T1" fmla="*/ 2510 h 4466"/>
                  <a:gd name="T2" fmla="*/ 3396 w 3569"/>
                  <a:gd name="T3" fmla="*/ 2510 h 4466"/>
                  <a:gd name="T4" fmla="*/ 3396 w 3569"/>
                  <a:gd name="T5" fmla="*/ 4320 h 4466"/>
                  <a:gd name="T6" fmla="*/ 172 w 3569"/>
                  <a:gd name="T7" fmla="*/ 4320 h 4466"/>
                  <a:gd name="T8" fmla="*/ 172 w 3569"/>
                  <a:gd name="T9" fmla="*/ 1269 h 4466"/>
                  <a:gd name="T10" fmla="*/ 1243 w 3569"/>
                  <a:gd name="T11" fmla="*/ 1269 h 4466"/>
                  <a:gd name="T12" fmla="*/ 1243 w 3569"/>
                  <a:gd name="T13" fmla="*/ 172 h 4466"/>
                  <a:gd name="T14" fmla="*/ 3396 w 3569"/>
                  <a:gd name="T15" fmla="*/ 172 h 4466"/>
                  <a:gd name="T16" fmla="*/ 3396 w 3569"/>
                  <a:gd name="T17" fmla="*/ 1163 h 4466"/>
                  <a:gd name="T18" fmla="*/ 3568 w 3569"/>
                  <a:gd name="T19" fmla="*/ 991 h 4466"/>
                  <a:gd name="T20" fmla="*/ 3568 w 3569"/>
                  <a:gd name="T21" fmla="*/ 0 h 4466"/>
                  <a:gd name="T22" fmla="*/ 1163 w 3569"/>
                  <a:gd name="T23" fmla="*/ 0 h 4466"/>
                  <a:gd name="T24" fmla="*/ 0 w 3569"/>
                  <a:gd name="T25" fmla="*/ 1163 h 4466"/>
                  <a:gd name="T26" fmla="*/ 0 w 3569"/>
                  <a:gd name="T27" fmla="*/ 4465 h 4466"/>
                  <a:gd name="T28" fmla="*/ 3568 w 3569"/>
                  <a:gd name="T29" fmla="*/ 4465 h 4466"/>
                  <a:gd name="T30" fmla="*/ 3568 w 3569"/>
                  <a:gd name="T31" fmla="*/ 2352 h 4466"/>
                  <a:gd name="T32" fmla="*/ 3396 w 3569"/>
                  <a:gd name="T33" fmla="*/ 2510 h 4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9" h="4466">
                    <a:moveTo>
                      <a:pt x="3396" y="2510"/>
                    </a:moveTo>
                    <a:lnTo>
                      <a:pt x="3396" y="2510"/>
                    </a:lnTo>
                    <a:cubicBezTo>
                      <a:pt x="3396" y="4320"/>
                      <a:pt x="3396" y="4320"/>
                      <a:pt x="3396" y="4320"/>
                    </a:cubicBezTo>
                    <a:cubicBezTo>
                      <a:pt x="172" y="4320"/>
                      <a:pt x="172" y="4320"/>
                      <a:pt x="172" y="4320"/>
                    </a:cubicBezTo>
                    <a:cubicBezTo>
                      <a:pt x="172" y="1269"/>
                      <a:pt x="172" y="1269"/>
                      <a:pt x="172" y="1269"/>
                    </a:cubicBezTo>
                    <a:cubicBezTo>
                      <a:pt x="1243" y="1269"/>
                      <a:pt x="1243" y="1269"/>
                      <a:pt x="1243" y="1269"/>
                    </a:cubicBezTo>
                    <a:cubicBezTo>
                      <a:pt x="1243" y="172"/>
                      <a:pt x="1243" y="172"/>
                      <a:pt x="1243" y="172"/>
                    </a:cubicBezTo>
                    <a:cubicBezTo>
                      <a:pt x="3396" y="172"/>
                      <a:pt x="3396" y="172"/>
                      <a:pt x="3396" y="172"/>
                    </a:cubicBezTo>
                    <a:cubicBezTo>
                      <a:pt x="3396" y="1163"/>
                      <a:pt x="3396" y="1163"/>
                      <a:pt x="3396" y="1163"/>
                    </a:cubicBezTo>
                    <a:cubicBezTo>
                      <a:pt x="3449" y="1110"/>
                      <a:pt x="3502" y="1044"/>
                      <a:pt x="3568" y="991"/>
                    </a:cubicBezTo>
                    <a:cubicBezTo>
                      <a:pt x="3568" y="0"/>
                      <a:pt x="3568" y="0"/>
                      <a:pt x="3568" y="0"/>
                    </a:cubicBezTo>
                    <a:cubicBezTo>
                      <a:pt x="1163" y="0"/>
                      <a:pt x="1163" y="0"/>
                      <a:pt x="1163" y="0"/>
                    </a:cubicBezTo>
                    <a:cubicBezTo>
                      <a:pt x="0" y="1163"/>
                      <a:pt x="0" y="1163"/>
                      <a:pt x="0" y="1163"/>
                    </a:cubicBezTo>
                    <a:cubicBezTo>
                      <a:pt x="0" y="4465"/>
                      <a:pt x="0" y="4465"/>
                      <a:pt x="0" y="4465"/>
                    </a:cubicBezTo>
                    <a:cubicBezTo>
                      <a:pt x="3568" y="4465"/>
                      <a:pt x="3568" y="4465"/>
                      <a:pt x="3568" y="4465"/>
                    </a:cubicBezTo>
                    <a:cubicBezTo>
                      <a:pt x="3568" y="2352"/>
                      <a:pt x="3568" y="2352"/>
                      <a:pt x="3568" y="2352"/>
                    </a:cubicBezTo>
                    <a:cubicBezTo>
                      <a:pt x="3502" y="2405"/>
                      <a:pt x="3449" y="2457"/>
                      <a:pt x="3396" y="2510"/>
                    </a:cubicBezTo>
                  </a:path>
                </a:pathLst>
              </a:custGeom>
              <a:solidFill>
                <a:srgbClr val="FFFFFF"/>
              </a:solidFill>
              <a:ln w="9525">
                <a:noFill/>
              </a:ln>
              <a:effectLst/>
              <a:extLst>
                <a:ext uri="{91240B29-F687-4F45-9708-019B960494DF}">
                  <a14:hiddenLine xmlns:a14="http://schemas.microsoft.com/office/drawing/2010/main" w="9525">
                    <a:solidFill>
                      <a:srgbClr val="FFFFFF"/>
                    </a:solidFill>
                  </a14:hiddenLine>
                </a:ext>
              </a:extLst>
            </p:spPr>
            <p:txBody>
              <a:bodyPr wrap="none" anchor="ctr"/>
              <a:lstStyle/>
              <a:p>
                <a:endParaRPr lang="nl-NL" sz="1100" dirty="0"/>
              </a:p>
            </p:txBody>
          </p:sp>
          <p:sp>
            <p:nvSpPr>
              <p:cNvPr id="204" name="Freeform 16">
                <a:extLst>
                  <a:ext uri="{FF2B5EF4-FFF2-40B4-BE49-F238E27FC236}">
                    <a16:creationId xmlns:a16="http://schemas.microsoft.com/office/drawing/2014/main" id="{C3B7AAAE-FE70-4072-8AE3-C90CA3D5ADA9}"/>
                  </a:ext>
                </a:extLst>
              </p:cNvPr>
              <p:cNvSpPr>
                <a:spLocks noChangeArrowheads="1"/>
              </p:cNvSpPr>
              <p:nvPr/>
            </p:nvSpPr>
            <p:spPr bwMode="auto">
              <a:xfrm>
                <a:off x="1685726" y="2454453"/>
                <a:ext cx="272499" cy="275242"/>
              </a:xfrm>
              <a:custGeom>
                <a:avLst/>
                <a:gdLst>
                  <a:gd name="T0" fmla="*/ 647 w 2630"/>
                  <a:gd name="T1" fmla="*/ 2457 h 2656"/>
                  <a:gd name="T2" fmla="*/ 2629 w 2630"/>
                  <a:gd name="T3" fmla="*/ 423 h 2656"/>
                  <a:gd name="T4" fmla="*/ 2206 w 2630"/>
                  <a:gd name="T5" fmla="*/ 0 h 2656"/>
                  <a:gd name="T6" fmla="*/ 198 w 2630"/>
                  <a:gd name="T7" fmla="*/ 2034 h 2656"/>
                  <a:gd name="T8" fmla="*/ 0 w 2630"/>
                  <a:gd name="T9" fmla="*/ 2655 h 2656"/>
                  <a:gd name="T10" fmla="*/ 647 w 2630"/>
                  <a:gd name="T11" fmla="*/ 2457 h 2656"/>
                </a:gdLst>
                <a:ahLst/>
                <a:cxnLst>
                  <a:cxn ang="0">
                    <a:pos x="T0" y="T1"/>
                  </a:cxn>
                  <a:cxn ang="0">
                    <a:pos x="T2" y="T3"/>
                  </a:cxn>
                  <a:cxn ang="0">
                    <a:pos x="T4" y="T5"/>
                  </a:cxn>
                  <a:cxn ang="0">
                    <a:pos x="T6" y="T7"/>
                  </a:cxn>
                  <a:cxn ang="0">
                    <a:pos x="T8" y="T9"/>
                  </a:cxn>
                  <a:cxn ang="0">
                    <a:pos x="T10" y="T11"/>
                  </a:cxn>
                </a:cxnLst>
                <a:rect l="0" t="0" r="r" b="b"/>
                <a:pathLst>
                  <a:path w="2630" h="2656">
                    <a:moveTo>
                      <a:pt x="647" y="2457"/>
                    </a:moveTo>
                    <a:lnTo>
                      <a:pt x="2629" y="423"/>
                    </a:lnTo>
                    <a:lnTo>
                      <a:pt x="2206" y="0"/>
                    </a:lnTo>
                    <a:lnTo>
                      <a:pt x="198" y="2034"/>
                    </a:lnTo>
                    <a:lnTo>
                      <a:pt x="0" y="2655"/>
                    </a:lnTo>
                    <a:lnTo>
                      <a:pt x="647" y="2457"/>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nl-NL" sz="1100" dirty="0"/>
              </a:p>
            </p:txBody>
          </p:sp>
        </p:grpSp>
        <p:pic>
          <p:nvPicPr>
            <p:cNvPr id="202" name="Graphic 201" descr="Bus with solid fill">
              <a:extLst>
                <a:ext uri="{FF2B5EF4-FFF2-40B4-BE49-F238E27FC236}">
                  <a16:creationId xmlns:a16="http://schemas.microsoft.com/office/drawing/2014/main" id="{0128AE9B-40D7-4FC3-B104-BCE7E7CAB874}"/>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264432" y="3384367"/>
              <a:ext cx="144685" cy="144686"/>
            </a:xfrm>
            <a:prstGeom prst="rect">
              <a:avLst/>
            </a:prstGeom>
          </p:spPr>
        </p:pic>
      </p:grpSp>
      <p:sp>
        <p:nvSpPr>
          <p:cNvPr id="205" name="Rectangle 204">
            <a:extLst>
              <a:ext uri="{FF2B5EF4-FFF2-40B4-BE49-F238E27FC236}">
                <a16:creationId xmlns:a16="http://schemas.microsoft.com/office/drawing/2014/main" id="{627D98AC-AD7E-4E07-AB38-5C106557101D}"/>
              </a:ext>
            </a:extLst>
          </p:cNvPr>
          <p:cNvSpPr/>
          <p:nvPr/>
        </p:nvSpPr>
        <p:spPr>
          <a:xfrm>
            <a:off x="2228660" y="2700923"/>
            <a:ext cx="1440000" cy="711681"/>
          </a:xfrm>
          <a:prstGeom prst="rect">
            <a:avLst/>
          </a:prstGeom>
          <a:solidFill>
            <a:srgbClr val="22777B"/>
          </a:solidFill>
          <a:ln w="9525">
            <a:solidFill>
              <a:srgbClr val="22777B"/>
            </a:solidFill>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Clr>
                <a:schemeClr val="tx2"/>
              </a:buClr>
              <a:buNone/>
            </a:pPr>
            <a:r>
              <a:rPr lang="nl-NL" sz="1000" b="1" dirty="0">
                <a:solidFill>
                  <a:srgbClr val="FFFFFF"/>
                </a:solidFill>
              </a:rPr>
              <a:t>Bepalen inkoopstrategie en aanbesteden</a:t>
            </a:r>
            <a:endParaRPr kumimoji="0" lang="nl-NL" sz="1000" b="1" i="0" u="none" strike="noStrike" kern="1200" cap="none" spc="0" normalizeH="0" baseline="0" noProof="0" dirty="0">
              <a:ln>
                <a:noFill/>
              </a:ln>
              <a:solidFill>
                <a:srgbClr val="FFFFFF"/>
              </a:solidFill>
              <a:effectLst/>
              <a:uLnTx/>
              <a:uFillTx/>
            </a:endParaRPr>
          </a:p>
        </p:txBody>
      </p:sp>
      <p:sp>
        <p:nvSpPr>
          <p:cNvPr id="206" name="Rectangle 205">
            <a:extLst>
              <a:ext uri="{FF2B5EF4-FFF2-40B4-BE49-F238E27FC236}">
                <a16:creationId xmlns:a16="http://schemas.microsoft.com/office/drawing/2014/main" id="{E0D35323-F384-4F68-BB0F-671A93F2F8A8}"/>
              </a:ext>
            </a:extLst>
          </p:cNvPr>
          <p:cNvSpPr/>
          <p:nvPr/>
        </p:nvSpPr>
        <p:spPr>
          <a:xfrm>
            <a:off x="3786276" y="3215273"/>
            <a:ext cx="1440000" cy="711681"/>
          </a:xfrm>
          <a:prstGeom prst="rect">
            <a:avLst/>
          </a:prstGeom>
          <a:solidFill>
            <a:srgbClr val="22777B"/>
          </a:solidFill>
          <a:ln w="9525">
            <a:solidFill>
              <a:srgbClr val="22777B"/>
            </a:solidFill>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Managen contract</a:t>
            </a:r>
          </a:p>
        </p:txBody>
      </p:sp>
      <p:sp>
        <p:nvSpPr>
          <p:cNvPr id="207" name="Rectangle 206">
            <a:extLst>
              <a:ext uri="{FF2B5EF4-FFF2-40B4-BE49-F238E27FC236}">
                <a16:creationId xmlns:a16="http://schemas.microsoft.com/office/drawing/2014/main" id="{8F4DEBA9-8534-4BD4-8822-C5ED59FA7F4E}"/>
              </a:ext>
            </a:extLst>
          </p:cNvPr>
          <p:cNvSpPr/>
          <p:nvPr/>
        </p:nvSpPr>
        <p:spPr>
          <a:xfrm>
            <a:off x="5343892" y="2881898"/>
            <a:ext cx="1440000" cy="711681"/>
          </a:xfrm>
          <a:prstGeom prst="rect">
            <a:avLst/>
          </a:prstGeom>
          <a:solidFill>
            <a:srgbClr val="22777B"/>
          </a:solidFill>
          <a:ln w="9525">
            <a:solidFill>
              <a:srgbClr val="22777B"/>
            </a:solidFill>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Clr>
                <a:schemeClr val="tx2"/>
              </a:buClr>
              <a:buNone/>
            </a:pPr>
            <a:r>
              <a:rPr lang="nl-NL" sz="1000" b="1" dirty="0">
                <a:solidFill>
                  <a:srgbClr val="FFFFFF"/>
                </a:solidFill>
              </a:rPr>
              <a:t>Indiceren</a:t>
            </a:r>
            <a:endPar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grpSp>
        <p:nvGrpSpPr>
          <p:cNvPr id="208" name="Group 207">
            <a:extLst>
              <a:ext uri="{FF2B5EF4-FFF2-40B4-BE49-F238E27FC236}">
                <a16:creationId xmlns:a16="http://schemas.microsoft.com/office/drawing/2014/main" id="{DABF53AC-5151-4CC3-A435-7F0886FCBAA0}"/>
              </a:ext>
            </a:extLst>
          </p:cNvPr>
          <p:cNvGrpSpPr/>
          <p:nvPr/>
        </p:nvGrpSpPr>
        <p:grpSpPr>
          <a:xfrm>
            <a:off x="6901508" y="3215273"/>
            <a:ext cx="1440000" cy="711681"/>
            <a:chOff x="6901508" y="2996198"/>
            <a:chExt cx="1440000" cy="711681"/>
          </a:xfrm>
        </p:grpSpPr>
        <p:sp>
          <p:nvSpPr>
            <p:cNvPr id="209" name="Rectangle 208">
              <a:extLst>
                <a:ext uri="{FF2B5EF4-FFF2-40B4-BE49-F238E27FC236}">
                  <a16:creationId xmlns:a16="http://schemas.microsoft.com/office/drawing/2014/main" id="{D060982C-99E4-4B74-AEE5-2E07CB5FF7C9}"/>
                </a:ext>
              </a:extLst>
            </p:cNvPr>
            <p:cNvSpPr/>
            <p:nvPr/>
          </p:nvSpPr>
          <p:spPr>
            <a:xfrm>
              <a:off x="6901508" y="2996198"/>
              <a:ext cx="1440000" cy="711681"/>
            </a:xfrm>
            <a:prstGeom prst="rect">
              <a:avLst/>
            </a:prstGeom>
            <a:solidFill>
              <a:srgbClr val="22777B"/>
            </a:solidFill>
            <a:ln w="9525">
              <a:solidFill>
                <a:srgbClr val="22777B"/>
              </a:solidFill>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Clr>
                  <a:schemeClr val="tx2"/>
                </a:buClr>
                <a:buNone/>
              </a:pPr>
              <a:r>
                <a:rPr lang="nl-NL" sz="1000" b="1" dirty="0">
                  <a:solidFill>
                    <a:srgbClr val="FFFFFF"/>
                  </a:solidFill>
                </a:rPr>
                <a:t>Organiseren boekingsproces</a:t>
              </a:r>
              <a:endPar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grpSp>
          <p:nvGrpSpPr>
            <p:cNvPr id="210" name="Group 209">
              <a:extLst>
                <a:ext uri="{FF2B5EF4-FFF2-40B4-BE49-F238E27FC236}">
                  <a16:creationId xmlns:a16="http://schemas.microsoft.com/office/drawing/2014/main" id="{BB24576A-FCD1-4CA7-850C-78DECDDB70BD}"/>
                </a:ext>
              </a:extLst>
            </p:cNvPr>
            <p:cNvGrpSpPr/>
            <p:nvPr/>
          </p:nvGrpSpPr>
          <p:grpSpPr>
            <a:xfrm>
              <a:off x="7392422" y="3322761"/>
              <a:ext cx="458172" cy="267398"/>
              <a:chOff x="6684497" y="3494146"/>
              <a:chExt cx="700406" cy="408771"/>
            </a:xfrm>
          </p:grpSpPr>
          <p:grpSp>
            <p:nvGrpSpPr>
              <p:cNvPr id="211" name="Group 210">
                <a:extLst>
                  <a:ext uri="{FF2B5EF4-FFF2-40B4-BE49-F238E27FC236}">
                    <a16:creationId xmlns:a16="http://schemas.microsoft.com/office/drawing/2014/main" id="{6A48F27C-D9A5-416C-A189-C67C9EE68338}"/>
                  </a:ext>
                </a:extLst>
              </p:cNvPr>
              <p:cNvGrpSpPr/>
              <p:nvPr/>
            </p:nvGrpSpPr>
            <p:grpSpPr>
              <a:xfrm>
                <a:off x="6684497" y="3494146"/>
                <a:ext cx="700406" cy="408771"/>
                <a:chOff x="7648575" y="1647825"/>
                <a:chExt cx="1841500" cy="1074738"/>
              </a:xfrm>
            </p:grpSpPr>
            <p:sp>
              <p:nvSpPr>
                <p:cNvPr id="213" name="Freeform 27">
                  <a:extLst>
                    <a:ext uri="{FF2B5EF4-FFF2-40B4-BE49-F238E27FC236}">
                      <a16:creationId xmlns:a16="http://schemas.microsoft.com/office/drawing/2014/main" id="{C7B52CBB-B0B2-4155-A21C-A3B72E25C959}"/>
                    </a:ext>
                  </a:extLst>
                </p:cNvPr>
                <p:cNvSpPr>
                  <a:spLocks noChangeArrowheads="1"/>
                </p:cNvSpPr>
                <p:nvPr/>
              </p:nvSpPr>
              <p:spPr bwMode="auto">
                <a:xfrm>
                  <a:off x="7648575" y="2613025"/>
                  <a:ext cx="1841500" cy="109538"/>
                </a:xfrm>
                <a:custGeom>
                  <a:avLst/>
                  <a:gdLst>
                    <a:gd name="T0" fmla="*/ 2881 w 5115"/>
                    <a:gd name="T1" fmla="*/ 0 h 305"/>
                    <a:gd name="T2" fmla="*/ 2881 w 5115"/>
                    <a:gd name="T3" fmla="*/ 0 h 305"/>
                    <a:gd name="T4" fmla="*/ 2881 w 5115"/>
                    <a:gd name="T5" fmla="*/ 53 h 305"/>
                    <a:gd name="T6" fmla="*/ 2815 w 5115"/>
                    <a:gd name="T7" fmla="*/ 119 h 305"/>
                    <a:gd name="T8" fmla="*/ 2286 w 5115"/>
                    <a:gd name="T9" fmla="*/ 119 h 305"/>
                    <a:gd name="T10" fmla="*/ 2220 w 5115"/>
                    <a:gd name="T11" fmla="*/ 53 h 305"/>
                    <a:gd name="T12" fmla="*/ 2220 w 5115"/>
                    <a:gd name="T13" fmla="*/ 0 h 305"/>
                    <a:gd name="T14" fmla="*/ 0 w 5115"/>
                    <a:gd name="T15" fmla="*/ 0 h 305"/>
                    <a:gd name="T16" fmla="*/ 0 w 5115"/>
                    <a:gd name="T17" fmla="*/ 79 h 305"/>
                    <a:gd name="T18" fmla="*/ 225 w 5115"/>
                    <a:gd name="T19" fmla="*/ 304 h 305"/>
                    <a:gd name="T20" fmla="*/ 4876 w 5115"/>
                    <a:gd name="T21" fmla="*/ 304 h 305"/>
                    <a:gd name="T22" fmla="*/ 5114 w 5115"/>
                    <a:gd name="T23" fmla="*/ 79 h 305"/>
                    <a:gd name="T24" fmla="*/ 5114 w 5115"/>
                    <a:gd name="T25" fmla="*/ 0 h 305"/>
                    <a:gd name="T26" fmla="*/ 2881 w 5115"/>
                    <a:gd name="T27"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15" h="305">
                      <a:moveTo>
                        <a:pt x="2881" y="0"/>
                      </a:moveTo>
                      <a:lnTo>
                        <a:pt x="2881" y="0"/>
                      </a:lnTo>
                      <a:cubicBezTo>
                        <a:pt x="2881" y="53"/>
                        <a:pt x="2881" y="53"/>
                        <a:pt x="2881" y="53"/>
                      </a:cubicBezTo>
                      <a:cubicBezTo>
                        <a:pt x="2881" y="79"/>
                        <a:pt x="2881" y="119"/>
                        <a:pt x="2815" y="119"/>
                      </a:cubicBezTo>
                      <a:cubicBezTo>
                        <a:pt x="2286" y="119"/>
                        <a:pt x="2286" y="119"/>
                        <a:pt x="2286" y="119"/>
                      </a:cubicBezTo>
                      <a:cubicBezTo>
                        <a:pt x="2260" y="119"/>
                        <a:pt x="2220" y="79"/>
                        <a:pt x="2220" y="53"/>
                      </a:cubicBezTo>
                      <a:cubicBezTo>
                        <a:pt x="2220" y="0"/>
                        <a:pt x="2220" y="0"/>
                        <a:pt x="2220" y="0"/>
                      </a:cubicBezTo>
                      <a:cubicBezTo>
                        <a:pt x="0" y="0"/>
                        <a:pt x="0" y="0"/>
                        <a:pt x="0" y="0"/>
                      </a:cubicBezTo>
                      <a:cubicBezTo>
                        <a:pt x="0" y="79"/>
                        <a:pt x="0" y="79"/>
                        <a:pt x="0" y="79"/>
                      </a:cubicBezTo>
                      <a:cubicBezTo>
                        <a:pt x="0" y="198"/>
                        <a:pt x="79" y="304"/>
                        <a:pt x="225" y="304"/>
                      </a:cubicBezTo>
                      <a:cubicBezTo>
                        <a:pt x="4876" y="304"/>
                        <a:pt x="4876" y="304"/>
                        <a:pt x="4876" y="304"/>
                      </a:cubicBezTo>
                      <a:cubicBezTo>
                        <a:pt x="5021" y="304"/>
                        <a:pt x="5114" y="198"/>
                        <a:pt x="5114" y="79"/>
                      </a:cubicBezTo>
                      <a:cubicBezTo>
                        <a:pt x="5114" y="0"/>
                        <a:pt x="5114" y="0"/>
                        <a:pt x="5114" y="0"/>
                      </a:cubicBezTo>
                      <a:lnTo>
                        <a:pt x="2881" y="0"/>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nl-NL" sz="1100" dirty="0"/>
                </a:p>
              </p:txBody>
            </p:sp>
            <p:sp>
              <p:nvSpPr>
                <p:cNvPr id="214" name="Freeform 28">
                  <a:extLst>
                    <a:ext uri="{FF2B5EF4-FFF2-40B4-BE49-F238E27FC236}">
                      <a16:creationId xmlns:a16="http://schemas.microsoft.com/office/drawing/2014/main" id="{374E8B55-9E31-4EE7-A234-0E18DD57BA7C}"/>
                    </a:ext>
                  </a:extLst>
                </p:cNvPr>
                <p:cNvSpPr>
                  <a:spLocks noChangeArrowheads="1"/>
                </p:cNvSpPr>
                <p:nvPr/>
              </p:nvSpPr>
              <p:spPr bwMode="auto">
                <a:xfrm>
                  <a:off x="7899400" y="1647825"/>
                  <a:ext cx="1331913" cy="865188"/>
                </a:xfrm>
                <a:custGeom>
                  <a:avLst/>
                  <a:gdLst>
                    <a:gd name="T0" fmla="*/ 3528 w 3701"/>
                    <a:gd name="T1" fmla="*/ 0 h 2405"/>
                    <a:gd name="T2" fmla="*/ 3528 w 3701"/>
                    <a:gd name="T3" fmla="*/ 0 h 2405"/>
                    <a:gd name="T4" fmla="*/ 172 w 3701"/>
                    <a:gd name="T5" fmla="*/ 0 h 2405"/>
                    <a:gd name="T6" fmla="*/ 0 w 3701"/>
                    <a:gd name="T7" fmla="*/ 171 h 2405"/>
                    <a:gd name="T8" fmla="*/ 0 w 3701"/>
                    <a:gd name="T9" fmla="*/ 1387 h 2405"/>
                    <a:gd name="T10" fmla="*/ 0 w 3701"/>
                    <a:gd name="T11" fmla="*/ 2311 h 2405"/>
                    <a:gd name="T12" fmla="*/ 0 w 3701"/>
                    <a:gd name="T13" fmla="*/ 2404 h 2405"/>
                    <a:gd name="T14" fmla="*/ 3700 w 3701"/>
                    <a:gd name="T15" fmla="*/ 2404 h 2405"/>
                    <a:gd name="T16" fmla="*/ 3700 w 3701"/>
                    <a:gd name="T17" fmla="*/ 2311 h 2405"/>
                    <a:gd name="T18" fmla="*/ 3700 w 3701"/>
                    <a:gd name="T19" fmla="*/ 1387 h 2405"/>
                    <a:gd name="T20" fmla="*/ 3700 w 3701"/>
                    <a:gd name="T21" fmla="*/ 171 h 2405"/>
                    <a:gd name="T22" fmla="*/ 3528 w 3701"/>
                    <a:gd name="T23" fmla="*/ 0 h 2405"/>
                    <a:gd name="T24" fmla="*/ 3528 w 3701"/>
                    <a:gd name="T25" fmla="*/ 2232 h 2405"/>
                    <a:gd name="T26" fmla="*/ 3528 w 3701"/>
                    <a:gd name="T27" fmla="*/ 2232 h 2405"/>
                    <a:gd name="T28" fmla="*/ 172 w 3701"/>
                    <a:gd name="T29" fmla="*/ 2232 h 2405"/>
                    <a:gd name="T30" fmla="*/ 172 w 3701"/>
                    <a:gd name="T31" fmla="*/ 1387 h 2405"/>
                    <a:gd name="T32" fmla="*/ 172 w 3701"/>
                    <a:gd name="T33" fmla="*/ 171 h 2405"/>
                    <a:gd name="T34" fmla="*/ 3528 w 3701"/>
                    <a:gd name="T35" fmla="*/ 171 h 2405"/>
                    <a:gd name="T36" fmla="*/ 3528 w 3701"/>
                    <a:gd name="T37" fmla="*/ 1387 h 2405"/>
                    <a:gd name="T38" fmla="*/ 3528 w 3701"/>
                    <a:gd name="T39" fmla="*/ 2232 h 2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1" h="2405">
                      <a:moveTo>
                        <a:pt x="3528" y="0"/>
                      </a:moveTo>
                      <a:lnTo>
                        <a:pt x="3528" y="0"/>
                      </a:lnTo>
                      <a:cubicBezTo>
                        <a:pt x="172" y="0"/>
                        <a:pt x="172" y="0"/>
                        <a:pt x="172" y="0"/>
                      </a:cubicBezTo>
                      <a:cubicBezTo>
                        <a:pt x="80" y="0"/>
                        <a:pt x="0" y="79"/>
                        <a:pt x="0" y="171"/>
                      </a:cubicBezTo>
                      <a:cubicBezTo>
                        <a:pt x="0" y="1387"/>
                        <a:pt x="0" y="1387"/>
                        <a:pt x="0" y="1387"/>
                      </a:cubicBezTo>
                      <a:cubicBezTo>
                        <a:pt x="0" y="2311"/>
                        <a:pt x="0" y="2311"/>
                        <a:pt x="0" y="2311"/>
                      </a:cubicBezTo>
                      <a:cubicBezTo>
                        <a:pt x="0" y="2404"/>
                        <a:pt x="0" y="2404"/>
                        <a:pt x="0" y="2404"/>
                      </a:cubicBezTo>
                      <a:cubicBezTo>
                        <a:pt x="3700" y="2404"/>
                        <a:pt x="3700" y="2404"/>
                        <a:pt x="3700" y="2404"/>
                      </a:cubicBezTo>
                      <a:cubicBezTo>
                        <a:pt x="3700" y="2311"/>
                        <a:pt x="3700" y="2311"/>
                        <a:pt x="3700" y="2311"/>
                      </a:cubicBezTo>
                      <a:cubicBezTo>
                        <a:pt x="3700" y="1387"/>
                        <a:pt x="3700" y="1387"/>
                        <a:pt x="3700" y="1387"/>
                      </a:cubicBezTo>
                      <a:cubicBezTo>
                        <a:pt x="3700" y="171"/>
                        <a:pt x="3700" y="171"/>
                        <a:pt x="3700" y="171"/>
                      </a:cubicBezTo>
                      <a:cubicBezTo>
                        <a:pt x="3700" y="79"/>
                        <a:pt x="3621" y="0"/>
                        <a:pt x="3528" y="0"/>
                      </a:cubicBezTo>
                      <a:close/>
                      <a:moveTo>
                        <a:pt x="3528" y="2232"/>
                      </a:moveTo>
                      <a:lnTo>
                        <a:pt x="3528" y="2232"/>
                      </a:lnTo>
                      <a:cubicBezTo>
                        <a:pt x="172" y="2232"/>
                        <a:pt x="172" y="2232"/>
                        <a:pt x="172" y="2232"/>
                      </a:cubicBezTo>
                      <a:cubicBezTo>
                        <a:pt x="172" y="1387"/>
                        <a:pt x="172" y="1387"/>
                        <a:pt x="172" y="1387"/>
                      </a:cubicBezTo>
                      <a:cubicBezTo>
                        <a:pt x="172" y="171"/>
                        <a:pt x="172" y="171"/>
                        <a:pt x="172" y="171"/>
                      </a:cubicBezTo>
                      <a:cubicBezTo>
                        <a:pt x="3528" y="171"/>
                        <a:pt x="3528" y="171"/>
                        <a:pt x="3528" y="171"/>
                      </a:cubicBezTo>
                      <a:cubicBezTo>
                        <a:pt x="3528" y="1387"/>
                        <a:pt x="3528" y="1387"/>
                        <a:pt x="3528" y="1387"/>
                      </a:cubicBezTo>
                      <a:lnTo>
                        <a:pt x="3528" y="2232"/>
                      </a:lnTo>
                      <a:close/>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nl-NL" sz="1100" dirty="0"/>
                </a:p>
              </p:txBody>
            </p:sp>
            <p:sp>
              <p:nvSpPr>
                <p:cNvPr id="215" name="Freeform 29">
                  <a:extLst>
                    <a:ext uri="{FF2B5EF4-FFF2-40B4-BE49-F238E27FC236}">
                      <a16:creationId xmlns:a16="http://schemas.microsoft.com/office/drawing/2014/main" id="{08015710-7AF3-47A9-A116-17873DFC0876}"/>
                    </a:ext>
                  </a:extLst>
                </p:cNvPr>
                <p:cNvSpPr>
                  <a:spLocks noChangeArrowheads="1"/>
                </p:cNvSpPr>
                <p:nvPr/>
              </p:nvSpPr>
              <p:spPr bwMode="auto">
                <a:xfrm>
                  <a:off x="7961313" y="1709738"/>
                  <a:ext cx="1208087" cy="742950"/>
                </a:xfrm>
                <a:custGeom>
                  <a:avLst/>
                  <a:gdLst>
                    <a:gd name="T0" fmla="*/ 3356 w 3357"/>
                    <a:gd name="T1" fmla="*/ 2061 h 2062"/>
                    <a:gd name="T2" fmla="*/ 0 w 3357"/>
                    <a:gd name="T3" fmla="*/ 2061 h 2062"/>
                    <a:gd name="T4" fmla="*/ 0 w 3357"/>
                    <a:gd name="T5" fmla="*/ 0 h 2062"/>
                    <a:gd name="T6" fmla="*/ 3356 w 3357"/>
                    <a:gd name="T7" fmla="*/ 0 h 2062"/>
                    <a:gd name="T8" fmla="*/ 3356 w 3357"/>
                    <a:gd name="T9" fmla="*/ 2061 h 2062"/>
                  </a:gdLst>
                  <a:ahLst/>
                  <a:cxnLst>
                    <a:cxn ang="0">
                      <a:pos x="T0" y="T1"/>
                    </a:cxn>
                    <a:cxn ang="0">
                      <a:pos x="T2" y="T3"/>
                    </a:cxn>
                    <a:cxn ang="0">
                      <a:pos x="T4" y="T5"/>
                    </a:cxn>
                    <a:cxn ang="0">
                      <a:pos x="T6" y="T7"/>
                    </a:cxn>
                    <a:cxn ang="0">
                      <a:pos x="T8" y="T9"/>
                    </a:cxn>
                  </a:cxnLst>
                  <a:rect l="0" t="0" r="r" b="b"/>
                  <a:pathLst>
                    <a:path w="3357" h="2062">
                      <a:moveTo>
                        <a:pt x="3356" y="2061"/>
                      </a:moveTo>
                      <a:lnTo>
                        <a:pt x="0" y="2061"/>
                      </a:lnTo>
                      <a:lnTo>
                        <a:pt x="0" y="0"/>
                      </a:lnTo>
                      <a:lnTo>
                        <a:pt x="3356" y="0"/>
                      </a:lnTo>
                      <a:lnTo>
                        <a:pt x="3356" y="2061"/>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nl-NL" sz="1100" dirty="0"/>
                </a:p>
              </p:txBody>
            </p:sp>
          </p:grpSp>
          <p:pic>
            <p:nvPicPr>
              <p:cNvPr id="212" name="Graphic 211" descr="Monthly calendar with solid fill">
                <a:extLst>
                  <a:ext uri="{FF2B5EF4-FFF2-40B4-BE49-F238E27FC236}">
                    <a16:creationId xmlns:a16="http://schemas.microsoft.com/office/drawing/2014/main" id="{FE2F8B37-DC87-440A-B83C-855C08BB4207}"/>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872700" y="3498707"/>
                <a:ext cx="324000" cy="324000"/>
              </a:xfrm>
              <a:prstGeom prst="rect">
                <a:avLst/>
              </a:prstGeom>
            </p:spPr>
          </p:pic>
        </p:grpSp>
      </p:grpSp>
      <p:grpSp>
        <p:nvGrpSpPr>
          <p:cNvPr id="216" name="Group 215">
            <a:extLst>
              <a:ext uri="{FF2B5EF4-FFF2-40B4-BE49-F238E27FC236}">
                <a16:creationId xmlns:a16="http://schemas.microsoft.com/office/drawing/2014/main" id="{24AD80F0-7E83-4E7C-894F-AD4DDF31FC08}"/>
              </a:ext>
            </a:extLst>
          </p:cNvPr>
          <p:cNvGrpSpPr/>
          <p:nvPr/>
        </p:nvGrpSpPr>
        <p:grpSpPr>
          <a:xfrm>
            <a:off x="2717564" y="2955204"/>
            <a:ext cx="431364" cy="431364"/>
            <a:chOff x="504852" y="1985560"/>
            <a:chExt cx="914400" cy="914400"/>
          </a:xfrm>
        </p:grpSpPr>
        <p:pic>
          <p:nvPicPr>
            <p:cNvPr id="217" name="Graphic 216" descr="Piggy Bank with solid fill">
              <a:extLst>
                <a:ext uri="{FF2B5EF4-FFF2-40B4-BE49-F238E27FC236}">
                  <a16:creationId xmlns:a16="http://schemas.microsoft.com/office/drawing/2014/main" id="{94B1850C-0685-41BF-9D7D-72B9AED76BB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4852" y="1985560"/>
              <a:ext cx="914400" cy="914400"/>
            </a:xfrm>
            <a:prstGeom prst="rect">
              <a:avLst/>
            </a:prstGeom>
          </p:spPr>
        </p:pic>
        <p:pic>
          <p:nvPicPr>
            <p:cNvPr id="218" name="Graphic 217" descr="Euro with solid fill">
              <a:extLst>
                <a:ext uri="{FF2B5EF4-FFF2-40B4-BE49-F238E27FC236}">
                  <a16:creationId xmlns:a16="http://schemas.microsoft.com/office/drawing/2014/main" id="{EEF3D85D-EAB1-46CF-9E95-9E2F6AC5B5F1}"/>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754881" y="2343603"/>
              <a:ext cx="297228" cy="297228"/>
            </a:xfrm>
            <a:prstGeom prst="rect">
              <a:avLst/>
            </a:prstGeom>
          </p:spPr>
        </p:pic>
      </p:grpSp>
      <p:pic>
        <p:nvPicPr>
          <p:cNvPr id="219" name="Graphic 218" descr="Handshake with solid fill">
            <a:extLst>
              <a:ext uri="{FF2B5EF4-FFF2-40B4-BE49-F238E27FC236}">
                <a16:creationId xmlns:a16="http://schemas.microsoft.com/office/drawing/2014/main" id="{6D7D63A2-09F3-4D62-BB11-CFDA0F421D0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288186" y="3344306"/>
            <a:ext cx="589941" cy="589941"/>
          </a:xfrm>
          <a:prstGeom prst="rect">
            <a:avLst/>
          </a:prstGeom>
        </p:spPr>
      </p:pic>
      <p:pic>
        <p:nvPicPr>
          <p:cNvPr id="220" name="Graphic 219" descr="Checkbox Checked with solid fill">
            <a:extLst>
              <a:ext uri="{FF2B5EF4-FFF2-40B4-BE49-F238E27FC236}">
                <a16:creationId xmlns:a16="http://schemas.microsoft.com/office/drawing/2014/main" id="{9D79A9FE-18DB-474A-9596-D18DFC6DAB9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798287" y="3050611"/>
            <a:ext cx="531210" cy="531210"/>
          </a:xfrm>
          <a:prstGeom prst="rect">
            <a:avLst/>
          </a:prstGeom>
        </p:spPr>
      </p:pic>
      <p:pic>
        <p:nvPicPr>
          <p:cNvPr id="221" name="Graphic 220" descr="Stopwatch 75% with solid fill">
            <a:extLst>
              <a:ext uri="{FF2B5EF4-FFF2-40B4-BE49-F238E27FC236}">
                <a16:creationId xmlns:a16="http://schemas.microsoft.com/office/drawing/2014/main" id="{4645E085-844B-4117-9427-08073729403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966705" y="3424782"/>
            <a:ext cx="424838" cy="424838"/>
          </a:xfrm>
          <a:prstGeom prst="rect">
            <a:avLst/>
          </a:prstGeom>
        </p:spPr>
      </p:pic>
      <p:pic>
        <p:nvPicPr>
          <p:cNvPr id="222" name="Graphic 221" descr="Bus with solid fill">
            <a:extLst>
              <a:ext uri="{FF2B5EF4-FFF2-40B4-BE49-F238E27FC236}">
                <a16:creationId xmlns:a16="http://schemas.microsoft.com/office/drawing/2014/main" id="{4C980341-7F4D-480C-B583-45E095B2E1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06669" y="3100535"/>
            <a:ext cx="460141" cy="460141"/>
          </a:xfrm>
          <a:prstGeom prst="rect">
            <a:avLst/>
          </a:prstGeom>
        </p:spPr>
      </p:pic>
    </p:spTree>
    <p:extLst>
      <p:ext uri="{BB962C8B-B14F-4D97-AF65-F5344CB8AC3E}">
        <p14:creationId xmlns:p14="http://schemas.microsoft.com/office/powerpoint/2010/main" val="42725083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4E49B02-16D4-43D2-A319-002C21016B2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8"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id="{C4E49B02-16D4-43D2-A319-002C21016B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BAC66A1A-36C1-4911-A303-2702E065688F}"/>
              </a:ext>
            </a:extLst>
          </p:cNvPr>
          <p:cNvSpPr>
            <a:spLocks noGrp="1"/>
          </p:cNvSpPr>
          <p:nvPr>
            <p:ph type="sldNum" sz="quarter" idx="12"/>
          </p:nvPr>
        </p:nvSpPr>
        <p:spPr/>
        <p:txBody>
          <a:bodyPr/>
          <a:lstStyle/>
          <a:p>
            <a:fld id="{992CD0B2-8AB2-4C6C-8876-E15753662C9B}" type="slidenum">
              <a:rPr lang="nl-NL" smtClean="0"/>
              <a:pPr/>
              <a:t>8</a:t>
            </a:fld>
            <a:endParaRPr lang="nl-NL" dirty="0"/>
          </a:p>
        </p:txBody>
      </p:sp>
      <p:sp>
        <p:nvSpPr>
          <p:cNvPr id="16" name="Rectangle 15">
            <a:extLst>
              <a:ext uri="{FF2B5EF4-FFF2-40B4-BE49-F238E27FC236}">
                <a16:creationId xmlns:a16="http://schemas.microsoft.com/office/drawing/2014/main" id="{80845256-E74C-46AE-86B2-20E6C2DA37D7}"/>
              </a:ext>
            </a:extLst>
          </p:cNvPr>
          <p:cNvSpPr/>
          <p:nvPr/>
        </p:nvSpPr>
        <p:spPr>
          <a:xfrm>
            <a:off x="1654343" y="2296023"/>
            <a:ext cx="9841832" cy="576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buClr>
                <a:schemeClr val="tx2"/>
              </a:buClr>
              <a:buNone/>
            </a:pPr>
            <a:r>
              <a:rPr kumimoji="0" lang="nl-NL" sz="1600" i="0" u="none" strike="noStrike" kern="1200" cap="none" spc="0" normalizeH="0" baseline="0" noProof="0" dirty="0">
                <a:ln>
                  <a:noFill/>
                </a:ln>
                <a:effectLst/>
                <a:uLnTx/>
                <a:uFillTx/>
                <a:latin typeface="Corbel" panose="020B0503020204020204" pitchFamily="34" charset="0"/>
                <a:ea typeface="+mn-ea"/>
                <a:cs typeface="+mn-cs"/>
              </a:rPr>
              <a:t>Introductie</a:t>
            </a:r>
            <a:r>
              <a:rPr kumimoji="0" lang="en-NL" sz="1600" i="0" u="none" strike="noStrike" kern="1200" cap="none" spc="0" normalizeH="0" baseline="0" noProof="0" dirty="0">
                <a:ln>
                  <a:noFill/>
                </a:ln>
                <a:effectLst/>
                <a:uLnTx/>
                <a:uFillTx/>
                <a:latin typeface="Corbel" panose="020B0503020204020204" pitchFamily="34" charset="0"/>
                <a:ea typeface="+mn-ea"/>
                <a:cs typeface="+mn-cs"/>
              </a:rPr>
              <a:t> doelgroepenvervoer</a:t>
            </a:r>
            <a:endParaRPr kumimoji="0" lang="nl-NL" sz="16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7" name="Rectangle 16">
            <a:extLst>
              <a:ext uri="{FF2B5EF4-FFF2-40B4-BE49-F238E27FC236}">
                <a16:creationId xmlns:a16="http://schemas.microsoft.com/office/drawing/2014/main" id="{FFBCEC73-0181-4DD1-9107-D9E1E0A9EF66}"/>
              </a:ext>
            </a:extLst>
          </p:cNvPr>
          <p:cNvSpPr/>
          <p:nvPr/>
        </p:nvSpPr>
        <p:spPr>
          <a:xfrm>
            <a:off x="1654343" y="3862485"/>
            <a:ext cx="9841832" cy="576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buClr>
                <a:schemeClr val="tx2"/>
              </a:buClr>
              <a:buNone/>
            </a:pPr>
            <a:r>
              <a:rPr lang="nl-NL" sz="1600" dirty="0"/>
              <a:t>Strategische opties</a:t>
            </a:r>
          </a:p>
        </p:txBody>
      </p:sp>
      <p:sp>
        <p:nvSpPr>
          <p:cNvPr id="18" name="Rectangle 17">
            <a:extLst>
              <a:ext uri="{FF2B5EF4-FFF2-40B4-BE49-F238E27FC236}">
                <a16:creationId xmlns:a16="http://schemas.microsoft.com/office/drawing/2014/main" id="{6386956A-7E39-4833-895D-30F91F21F488}"/>
              </a:ext>
            </a:extLst>
          </p:cNvPr>
          <p:cNvSpPr/>
          <p:nvPr/>
        </p:nvSpPr>
        <p:spPr>
          <a:xfrm>
            <a:off x="1654343" y="4645716"/>
            <a:ext cx="9841832" cy="576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buClr>
                <a:schemeClr val="tx2"/>
              </a:buClr>
              <a:buNone/>
            </a:pPr>
            <a:r>
              <a:rPr lang="nl-NL" sz="1600" dirty="0"/>
              <a:t>Bijlage</a:t>
            </a:r>
          </a:p>
        </p:txBody>
      </p:sp>
      <p:sp>
        <p:nvSpPr>
          <p:cNvPr id="12" name="Rectangle 11">
            <a:extLst>
              <a:ext uri="{FF2B5EF4-FFF2-40B4-BE49-F238E27FC236}">
                <a16:creationId xmlns:a16="http://schemas.microsoft.com/office/drawing/2014/main" id="{EF7409A6-BCA8-4532-8F91-B7B2D69D46F7}"/>
              </a:ext>
            </a:extLst>
          </p:cNvPr>
          <p:cNvSpPr/>
          <p:nvPr/>
        </p:nvSpPr>
        <p:spPr>
          <a:xfrm>
            <a:off x="1654343" y="3079254"/>
            <a:ext cx="9841832" cy="576000"/>
          </a:xfrm>
          <a:prstGeom prst="rect">
            <a:avLst/>
          </a:prstGeom>
          <a:noFill/>
          <a:ln>
            <a:noFill/>
          </a:ln>
          <a:extLst>
            <a:ext uri="{909E8E84-426E-40DD-AFC4-6F175D3DCCD1}">
              <a14:hiddenFill xmlns:a14="http://schemas.microsoft.com/office/drawing/2010/main">
                <a:solidFill>
                  <a:schemeClr val="accent4">
                    <a:lumMod val="20000"/>
                    <a:lumOff val="80000"/>
                  </a:schemeClr>
                </a:solidFill>
              </a14:hiddenFill>
            </a:ext>
          </a:ex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buClr>
                <a:schemeClr val="tx2"/>
              </a:buClr>
              <a:buNone/>
            </a:pPr>
            <a:r>
              <a:rPr lang="nl-NL" sz="1600" b="1" dirty="0"/>
              <a:t>Kansen en uitdagingen</a:t>
            </a:r>
          </a:p>
        </p:txBody>
      </p:sp>
      <p:grpSp>
        <p:nvGrpSpPr>
          <p:cNvPr id="11" name="Group 10">
            <a:extLst>
              <a:ext uri="{FF2B5EF4-FFF2-40B4-BE49-F238E27FC236}">
                <a16:creationId xmlns:a16="http://schemas.microsoft.com/office/drawing/2014/main" id="{23D28E50-BBB8-43A9-9951-7E567A9A09C8}"/>
              </a:ext>
            </a:extLst>
          </p:cNvPr>
          <p:cNvGrpSpPr/>
          <p:nvPr/>
        </p:nvGrpSpPr>
        <p:grpSpPr>
          <a:xfrm>
            <a:off x="938712" y="2301769"/>
            <a:ext cx="577516" cy="576000"/>
            <a:chOff x="938712" y="2301769"/>
            <a:chExt cx="577516" cy="576000"/>
          </a:xfrm>
        </p:grpSpPr>
        <p:sp>
          <p:nvSpPr>
            <p:cNvPr id="2" name="Oval 1">
              <a:extLst>
                <a:ext uri="{FF2B5EF4-FFF2-40B4-BE49-F238E27FC236}">
                  <a16:creationId xmlns:a16="http://schemas.microsoft.com/office/drawing/2014/main" id="{EC9DBB83-8623-4953-96FA-FA0B4D2FD1EE}"/>
                </a:ext>
              </a:extLst>
            </p:cNvPr>
            <p:cNvSpPr/>
            <p:nvPr/>
          </p:nvSpPr>
          <p:spPr>
            <a:xfrm>
              <a:off x="938712" y="2301769"/>
              <a:ext cx="577516" cy="576000"/>
            </a:xfrm>
            <a:prstGeom prst="ellipse">
              <a:avLst/>
            </a:prstGeom>
            <a:solidFill>
              <a:srgbClr val="BFBFB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8" name="Graphic 7" descr="Bus with solid fill">
              <a:extLst>
                <a:ext uri="{FF2B5EF4-FFF2-40B4-BE49-F238E27FC236}">
                  <a16:creationId xmlns:a16="http://schemas.microsoft.com/office/drawing/2014/main" id="{F709A052-FCB9-4992-8BD4-F54410ED9210}"/>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40062" y="2402361"/>
              <a:ext cx="374816" cy="374816"/>
            </a:xfrm>
            <a:prstGeom prst="rect">
              <a:avLst/>
            </a:prstGeom>
          </p:spPr>
        </p:pic>
      </p:grpSp>
      <p:grpSp>
        <p:nvGrpSpPr>
          <p:cNvPr id="13" name="Group 12">
            <a:extLst>
              <a:ext uri="{FF2B5EF4-FFF2-40B4-BE49-F238E27FC236}">
                <a16:creationId xmlns:a16="http://schemas.microsoft.com/office/drawing/2014/main" id="{CF0529D6-D80A-468F-848C-8BC0B6902A6B}"/>
              </a:ext>
            </a:extLst>
          </p:cNvPr>
          <p:cNvGrpSpPr/>
          <p:nvPr/>
        </p:nvGrpSpPr>
        <p:grpSpPr>
          <a:xfrm>
            <a:off x="980823" y="3079254"/>
            <a:ext cx="577516" cy="576000"/>
            <a:chOff x="980823" y="3079254"/>
            <a:chExt cx="577516" cy="576000"/>
          </a:xfrm>
        </p:grpSpPr>
        <p:sp>
          <p:nvSpPr>
            <p:cNvPr id="20" name="Oval 19">
              <a:extLst>
                <a:ext uri="{FF2B5EF4-FFF2-40B4-BE49-F238E27FC236}">
                  <a16:creationId xmlns:a16="http://schemas.microsoft.com/office/drawing/2014/main" id="{03D3D8EC-26E4-4565-BC50-93C7805E9528}"/>
                </a:ext>
              </a:extLst>
            </p:cNvPr>
            <p:cNvSpPr/>
            <p:nvPr/>
          </p:nvSpPr>
          <p:spPr>
            <a:xfrm>
              <a:off x="980823" y="3079254"/>
              <a:ext cx="577516" cy="576000"/>
            </a:xfrm>
            <a:prstGeom prst="ellipse">
              <a:avLst/>
            </a:prstGeom>
            <a:solidFill>
              <a:srgbClr val="22777B"/>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pSp>
          <p:nvGrpSpPr>
            <p:cNvPr id="22" name="Group 21">
              <a:extLst>
                <a:ext uri="{FF2B5EF4-FFF2-40B4-BE49-F238E27FC236}">
                  <a16:creationId xmlns:a16="http://schemas.microsoft.com/office/drawing/2014/main" id="{3EE74D55-8A57-4421-B291-13492AB1DAE6}"/>
                </a:ext>
              </a:extLst>
            </p:cNvPr>
            <p:cNvGrpSpPr/>
            <p:nvPr/>
          </p:nvGrpSpPr>
          <p:grpSpPr>
            <a:xfrm>
              <a:off x="1082381" y="3180054"/>
              <a:ext cx="374400" cy="374400"/>
              <a:chOff x="1089449" y="2966143"/>
              <a:chExt cx="683474" cy="683474"/>
            </a:xfrm>
          </p:grpSpPr>
          <p:pic>
            <p:nvPicPr>
              <p:cNvPr id="23" name="Graphic 22" descr="Mountains with solid fill">
                <a:extLst>
                  <a:ext uri="{FF2B5EF4-FFF2-40B4-BE49-F238E27FC236}">
                    <a16:creationId xmlns:a16="http://schemas.microsoft.com/office/drawing/2014/main" id="{B1D65A95-FDA0-43BA-97A3-9DA0032749A3}"/>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89449" y="2966143"/>
                <a:ext cx="683474" cy="683474"/>
              </a:xfrm>
              <a:prstGeom prst="rect">
                <a:avLst/>
              </a:prstGeom>
            </p:spPr>
          </p:pic>
          <p:pic>
            <p:nvPicPr>
              <p:cNvPr id="24" name="Graphic 23" descr="Flag with solid fill">
                <a:extLst>
                  <a:ext uri="{FF2B5EF4-FFF2-40B4-BE49-F238E27FC236}">
                    <a16:creationId xmlns:a16="http://schemas.microsoft.com/office/drawing/2014/main" id="{B435A9EF-9F40-4B21-AA90-E26D1A57E3F3}"/>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25322" y="2977223"/>
                <a:ext cx="139535" cy="139535"/>
              </a:xfrm>
              <a:prstGeom prst="rect">
                <a:avLst/>
              </a:prstGeom>
            </p:spPr>
          </p:pic>
        </p:grpSp>
      </p:grpSp>
      <p:grpSp>
        <p:nvGrpSpPr>
          <p:cNvPr id="30" name="Group 29">
            <a:extLst>
              <a:ext uri="{FF2B5EF4-FFF2-40B4-BE49-F238E27FC236}">
                <a16:creationId xmlns:a16="http://schemas.microsoft.com/office/drawing/2014/main" id="{7137459B-9C4A-4AC9-ADCF-DB309E59F04C}"/>
              </a:ext>
            </a:extLst>
          </p:cNvPr>
          <p:cNvGrpSpPr/>
          <p:nvPr/>
        </p:nvGrpSpPr>
        <p:grpSpPr>
          <a:xfrm>
            <a:off x="992855" y="3862485"/>
            <a:ext cx="577516" cy="576000"/>
            <a:chOff x="992855" y="3862485"/>
            <a:chExt cx="577516" cy="576000"/>
          </a:xfrm>
        </p:grpSpPr>
        <p:sp>
          <p:nvSpPr>
            <p:cNvPr id="26" name="Oval 25">
              <a:extLst>
                <a:ext uri="{FF2B5EF4-FFF2-40B4-BE49-F238E27FC236}">
                  <a16:creationId xmlns:a16="http://schemas.microsoft.com/office/drawing/2014/main" id="{0CF6E8BA-F26B-422E-BED9-F996AD386D31}"/>
                </a:ext>
              </a:extLst>
            </p:cNvPr>
            <p:cNvSpPr/>
            <p:nvPr/>
          </p:nvSpPr>
          <p:spPr>
            <a:xfrm>
              <a:off x="992855" y="3862485"/>
              <a:ext cx="577516" cy="576000"/>
            </a:xfrm>
            <a:prstGeom prst="ellipse">
              <a:avLst/>
            </a:prstGeom>
            <a:solidFill>
              <a:schemeClr val="accent6">
                <a:lumMod val="75000"/>
              </a:schemeClr>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15" name="Graphic 14" descr="Lights On with solid fill">
              <a:extLst>
                <a:ext uri="{FF2B5EF4-FFF2-40B4-BE49-F238E27FC236}">
                  <a16:creationId xmlns:a16="http://schemas.microsoft.com/office/drawing/2014/main" id="{2791B82B-14B4-4B46-BF93-B5A9FF1876C5}"/>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094413" y="3963285"/>
              <a:ext cx="374400" cy="374400"/>
            </a:xfrm>
            <a:prstGeom prst="rect">
              <a:avLst/>
            </a:prstGeom>
          </p:spPr>
        </p:pic>
      </p:grpSp>
      <p:sp>
        <p:nvSpPr>
          <p:cNvPr id="32" name="Oval 31">
            <a:extLst>
              <a:ext uri="{FF2B5EF4-FFF2-40B4-BE49-F238E27FC236}">
                <a16:creationId xmlns:a16="http://schemas.microsoft.com/office/drawing/2014/main" id="{5118EC7D-2CB9-433D-B59D-4EA6F1051FE4}"/>
              </a:ext>
            </a:extLst>
          </p:cNvPr>
          <p:cNvSpPr/>
          <p:nvPr/>
        </p:nvSpPr>
        <p:spPr>
          <a:xfrm>
            <a:off x="999268" y="4627259"/>
            <a:ext cx="577516" cy="576000"/>
          </a:xfrm>
          <a:prstGeom prst="ellipse">
            <a:avLst/>
          </a:prstGeom>
          <a:solidFill>
            <a:schemeClr val="accent6">
              <a:lumMod val="75000"/>
            </a:schemeClr>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35" name="Graphic 34" descr="Document with solid fill">
            <a:extLst>
              <a:ext uri="{FF2B5EF4-FFF2-40B4-BE49-F238E27FC236}">
                <a16:creationId xmlns:a16="http://schemas.microsoft.com/office/drawing/2014/main" id="{71DE590E-342F-4B77-B21A-E0F25F9EEAFA}"/>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100826" y="4728059"/>
            <a:ext cx="374400" cy="374400"/>
          </a:xfrm>
          <a:prstGeom prst="rect">
            <a:avLst/>
          </a:prstGeom>
        </p:spPr>
      </p:pic>
      <p:sp>
        <p:nvSpPr>
          <p:cNvPr id="34" name="TextBox 33">
            <a:extLst>
              <a:ext uri="{FF2B5EF4-FFF2-40B4-BE49-F238E27FC236}">
                <a16:creationId xmlns:a16="http://schemas.microsoft.com/office/drawing/2014/main" id="{2B8DC76E-390B-4A31-92EE-CB5774C953B7}"/>
              </a:ext>
            </a:extLst>
          </p:cNvPr>
          <p:cNvSpPr txBox="1"/>
          <p:nvPr/>
        </p:nvSpPr>
        <p:spPr>
          <a:xfrm>
            <a:off x="938712" y="1086185"/>
            <a:ext cx="6094602" cy="480131"/>
          </a:xfrm>
          <a:prstGeom prst="rect">
            <a:avLst/>
          </a:prstGeom>
          <a:noFill/>
        </p:spPr>
        <p:txBody>
          <a:bodyPr wrap="square" lIns="19440" rIns="19440">
            <a:spAutoFit/>
          </a:bodyPr>
          <a:lstStyle/>
          <a:p>
            <a:pPr marL="0" indent="0">
              <a:buNone/>
            </a:pPr>
            <a:r>
              <a:rPr lang="nl-NL" sz="2800" b="1" dirty="0">
                <a:solidFill>
                  <a:srgbClr val="000000"/>
                </a:solidFill>
              </a:rPr>
              <a:t>Inhoud</a:t>
            </a:r>
            <a:endParaRPr lang="nl-NL" sz="2800" b="1" dirty="0"/>
          </a:p>
        </p:txBody>
      </p:sp>
    </p:spTree>
    <p:extLst>
      <p:ext uri="{BB962C8B-B14F-4D97-AF65-F5344CB8AC3E}">
        <p14:creationId xmlns:p14="http://schemas.microsoft.com/office/powerpoint/2010/main" val="2286653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17C3DB2B-1B20-47D8-8D89-8ADBE4F23A9A}"/>
              </a:ext>
            </a:extLst>
          </p:cNvPr>
          <p:cNvGraphicFramePr>
            <a:graphicFrameLocks noChangeAspect="1"/>
          </p:cNvGraphicFramePr>
          <p:nvPr>
            <p:custDataLst>
              <p:tags r:id="rId2"/>
            </p:custDataLst>
            <p:extLst>
              <p:ext uri="{D42A27DB-BD31-4B8C-83A1-F6EECF244321}">
                <p14:modId xmlns:p14="http://schemas.microsoft.com/office/powerpoint/2010/main" val="1116462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2" name="think-cell Slide" r:id="rId5" imgW="425" imgH="424" progId="TCLayout.ActiveDocument.1">
                  <p:embed/>
                </p:oleObj>
              </mc:Choice>
              <mc:Fallback>
                <p:oleObj name="think-cell Slide" r:id="rId5" imgW="425" imgH="424" progId="TCLayout.ActiveDocument.1">
                  <p:embed/>
                  <p:pic>
                    <p:nvPicPr>
                      <p:cNvPr id="19" name="Object 18" hidden="1">
                        <a:extLst>
                          <a:ext uri="{FF2B5EF4-FFF2-40B4-BE49-F238E27FC236}">
                            <a16:creationId xmlns:a16="http://schemas.microsoft.com/office/drawing/2014/main" id="{17C3DB2B-1B20-47D8-8D89-8ADBE4F23A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Slide Number Placeholder 11">
            <a:extLst>
              <a:ext uri="{FF2B5EF4-FFF2-40B4-BE49-F238E27FC236}">
                <a16:creationId xmlns:a16="http://schemas.microsoft.com/office/drawing/2014/main" id="{55EA9975-F3FB-47EA-8826-5C0057E2D675}"/>
              </a:ext>
            </a:extLst>
          </p:cNvPr>
          <p:cNvSpPr>
            <a:spLocks noGrp="1"/>
          </p:cNvSpPr>
          <p:nvPr>
            <p:ph type="sldNum" sz="quarter" idx="12"/>
          </p:nvPr>
        </p:nvSpPr>
        <p:spPr/>
        <p:txBody>
          <a:bodyPr/>
          <a:lstStyle/>
          <a:p>
            <a:fld id="{992CD0B2-8AB2-4C6C-8876-E15753662C9B}" type="slidenum">
              <a:rPr lang="nl-NL" smtClean="0"/>
              <a:pPr/>
              <a:t>9</a:t>
            </a:fld>
            <a:endParaRPr lang="nl-NL" dirty="0"/>
          </a:p>
        </p:txBody>
      </p:sp>
      <p:sp>
        <p:nvSpPr>
          <p:cNvPr id="15" name="Title 14">
            <a:extLst>
              <a:ext uri="{FF2B5EF4-FFF2-40B4-BE49-F238E27FC236}">
                <a16:creationId xmlns:a16="http://schemas.microsoft.com/office/drawing/2014/main" id="{D7A0E5D7-276E-4F0E-8E37-6CB666E3FAF0}"/>
              </a:ext>
            </a:extLst>
          </p:cNvPr>
          <p:cNvSpPr>
            <a:spLocks noGrp="1"/>
          </p:cNvSpPr>
          <p:nvPr>
            <p:ph type="title"/>
          </p:nvPr>
        </p:nvSpPr>
        <p:spPr/>
        <p:txBody>
          <a:bodyPr vert="horz"/>
          <a:lstStyle/>
          <a:p>
            <a:r>
              <a:rPr lang="nl-NL" dirty="0"/>
              <a:t>Demografische, maatschappelijke en technologische ontwikkelingen creëren uitdagingen en kansen voor doelgroepenvervoer</a:t>
            </a:r>
          </a:p>
        </p:txBody>
      </p:sp>
      <p:sp>
        <p:nvSpPr>
          <p:cNvPr id="25" name="Rectangle 24">
            <a:extLst>
              <a:ext uri="{FF2B5EF4-FFF2-40B4-BE49-F238E27FC236}">
                <a16:creationId xmlns:a16="http://schemas.microsoft.com/office/drawing/2014/main" id="{F8A4FE98-E695-40EC-A526-C2E6472C421F}"/>
              </a:ext>
            </a:extLst>
          </p:cNvPr>
          <p:cNvSpPr/>
          <p:nvPr/>
        </p:nvSpPr>
        <p:spPr>
          <a:xfrm>
            <a:off x="2212854" y="1646705"/>
            <a:ext cx="8172000" cy="468000"/>
          </a:xfrm>
          <a:prstGeom prst="rect">
            <a:avLst/>
          </a:prstGeom>
          <a:solidFill>
            <a:schemeClr val="bg1">
              <a:lumMod val="9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kumimoji="0" lang="nl-NL" sz="1200" i="0" u="none" strike="noStrike" kern="1200" cap="none" spc="0" normalizeH="0" baseline="0" noProof="0" dirty="0">
                <a:ln>
                  <a:noFill/>
                </a:ln>
                <a:effectLst/>
                <a:uLnTx/>
                <a:uFillTx/>
                <a:latin typeface="Corbel" panose="020B0503020204020204" pitchFamily="34" charset="0"/>
                <a:ea typeface="+mn-ea"/>
                <a:cs typeface="+mn-cs"/>
              </a:rPr>
              <a:t>De bevolking </a:t>
            </a:r>
            <a:r>
              <a:rPr kumimoji="0" lang="nl-NL" sz="1200" b="1" i="0" u="none" strike="noStrike" kern="1200" cap="none" spc="0" normalizeH="0" baseline="0" noProof="0" dirty="0">
                <a:ln>
                  <a:noFill/>
                </a:ln>
                <a:solidFill>
                  <a:srgbClr val="22777B"/>
                </a:solidFill>
                <a:effectLst/>
                <a:uLnTx/>
                <a:uFillTx/>
                <a:latin typeface="Corbel" panose="020B0503020204020204" pitchFamily="34" charset="0"/>
                <a:ea typeface="+mn-ea"/>
                <a:cs typeface="+mn-cs"/>
              </a:rPr>
              <a:t>groeit</a:t>
            </a:r>
            <a:r>
              <a:rPr kumimoji="0" lang="nl-NL" sz="1200" b="1" i="0" u="none" strike="noStrike" kern="1200" cap="none" spc="0" normalizeH="0" baseline="0" noProof="0" dirty="0">
                <a:ln>
                  <a:noFill/>
                </a:ln>
                <a:effectLst/>
                <a:uLnTx/>
                <a:uFillTx/>
                <a:latin typeface="Corbel" panose="020B0503020204020204" pitchFamily="34" charset="0"/>
                <a:ea typeface="+mn-ea"/>
                <a:cs typeface="+mn-cs"/>
              </a:rPr>
              <a:t> </a:t>
            </a:r>
            <a:r>
              <a:rPr kumimoji="0" lang="nl-NL" sz="1200" i="0" u="none" strike="noStrike" kern="1200" cap="none" spc="0" normalizeH="0" baseline="0" noProof="0" dirty="0">
                <a:ln>
                  <a:noFill/>
                </a:ln>
                <a:effectLst/>
                <a:uLnTx/>
                <a:uFillTx/>
                <a:latin typeface="Corbel" panose="020B0503020204020204" pitchFamily="34" charset="0"/>
                <a:ea typeface="+mn-ea"/>
                <a:cs typeface="+mn-cs"/>
              </a:rPr>
              <a:t>en </a:t>
            </a:r>
            <a:r>
              <a:rPr kumimoji="0" lang="nl-NL" sz="1200" b="1" i="0" u="none" strike="noStrike" kern="1200" cap="none" spc="0" normalizeH="0" baseline="0" noProof="0" dirty="0">
                <a:ln>
                  <a:noFill/>
                </a:ln>
                <a:solidFill>
                  <a:srgbClr val="22777B"/>
                </a:solidFill>
                <a:effectLst/>
                <a:uLnTx/>
                <a:uFillTx/>
                <a:latin typeface="Corbel" panose="020B0503020204020204" pitchFamily="34" charset="0"/>
                <a:ea typeface="+mn-ea"/>
                <a:cs typeface="+mn-cs"/>
              </a:rPr>
              <a:t>vergrijst. </a:t>
            </a:r>
            <a:r>
              <a:rPr lang="nl-NL" sz="1200" dirty="0"/>
              <a:t>Het a</a:t>
            </a:r>
            <a:r>
              <a:rPr kumimoji="0" lang="nl-NL" sz="1200" i="0" u="none" strike="noStrike" kern="1200" cap="none" spc="0" normalizeH="0" baseline="0" noProof="0" dirty="0">
                <a:ln>
                  <a:noFill/>
                </a:ln>
                <a:effectLst/>
                <a:uLnTx/>
                <a:uFillTx/>
                <a:latin typeface="Corbel" panose="020B0503020204020204" pitchFamily="34" charset="0"/>
                <a:ea typeface="+mn-ea"/>
                <a:cs typeface="+mn-cs"/>
              </a:rPr>
              <a:t>andeel 65+’ers neemt met </a:t>
            </a:r>
            <a:r>
              <a:rPr kumimoji="0" lang="nl-NL" sz="1200" b="1" i="0" u="none" strike="noStrike" kern="1200" cap="none" spc="0" normalizeH="0" baseline="0" noProof="0" dirty="0">
                <a:ln>
                  <a:noFill/>
                </a:ln>
                <a:solidFill>
                  <a:srgbClr val="22777B"/>
                </a:solidFill>
                <a:effectLst/>
                <a:uLnTx/>
                <a:uFillTx/>
                <a:latin typeface="Corbel" panose="020B0503020204020204" pitchFamily="34" charset="0"/>
                <a:ea typeface="+mn-ea"/>
                <a:cs typeface="+mn-cs"/>
              </a:rPr>
              <a:t>25%</a:t>
            </a:r>
            <a:r>
              <a:rPr kumimoji="0" lang="nl-NL" sz="1200" i="0" u="none" strike="noStrike" kern="1200" cap="none" spc="0" normalizeH="0" baseline="0" noProof="0" dirty="0">
                <a:ln>
                  <a:noFill/>
                </a:ln>
                <a:effectLst/>
                <a:uLnTx/>
                <a:uFillTx/>
                <a:latin typeface="Corbel" panose="020B0503020204020204" pitchFamily="34" charset="0"/>
                <a:ea typeface="+mn-ea"/>
                <a:cs typeface="+mn-cs"/>
              </a:rPr>
              <a:t> toe de komende 20 jaar. </a:t>
            </a:r>
          </a:p>
        </p:txBody>
      </p:sp>
      <p:sp>
        <p:nvSpPr>
          <p:cNvPr id="26" name="Rectangle 25">
            <a:extLst>
              <a:ext uri="{FF2B5EF4-FFF2-40B4-BE49-F238E27FC236}">
                <a16:creationId xmlns:a16="http://schemas.microsoft.com/office/drawing/2014/main" id="{4019D129-B194-4A3F-8505-FC0F48ED6675}"/>
              </a:ext>
            </a:extLst>
          </p:cNvPr>
          <p:cNvSpPr/>
          <p:nvPr/>
        </p:nvSpPr>
        <p:spPr>
          <a:xfrm>
            <a:off x="2471538" y="2241650"/>
            <a:ext cx="8172000" cy="468000"/>
          </a:xfrm>
          <a:prstGeom prst="rect">
            <a:avLst/>
          </a:prstGeom>
          <a:solidFill>
            <a:schemeClr val="bg1">
              <a:lumMod val="9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lang="nl-NL" sz="1200" dirty="0"/>
              <a:t>Ouderen blijven </a:t>
            </a:r>
            <a:r>
              <a:rPr lang="nl-NL" sz="1200" b="1" dirty="0">
                <a:solidFill>
                  <a:srgbClr val="22777B"/>
                </a:solidFill>
              </a:rPr>
              <a:t>langer thuis wonen</a:t>
            </a:r>
            <a:r>
              <a:rPr lang="nl-NL" sz="1200" b="1" dirty="0"/>
              <a:t>. </a:t>
            </a:r>
            <a:r>
              <a:rPr lang="nl-NL" sz="1200" dirty="0"/>
              <a:t>Momenteel woont nog maar </a:t>
            </a:r>
            <a:r>
              <a:rPr lang="nl-NL" sz="1200" b="1" dirty="0">
                <a:solidFill>
                  <a:srgbClr val="22777B"/>
                </a:solidFill>
              </a:rPr>
              <a:t>5%</a:t>
            </a:r>
            <a:r>
              <a:rPr lang="nl-NL" sz="1200" dirty="0"/>
              <a:t> van de 70+’ers in een verzorgings-/</a:t>
            </a:r>
            <a:br>
              <a:rPr lang="nl-NL" sz="1200" dirty="0"/>
            </a:br>
            <a:r>
              <a:rPr lang="nl-NL" sz="1200" dirty="0"/>
              <a:t>verpleeghuis (vs. 11% in 1997).</a:t>
            </a:r>
            <a:endParaRPr kumimoji="0" lang="nl-NL" sz="120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23EF7A70-125C-4587-A576-38209E366F77}"/>
              </a:ext>
            </a:extLst>
          </p:cNvPr>
          <p:cNvSpPr/>
          <p:nvPr/>
        </p:nvSpPr>
        <p:spPr>
          <a:xfrm>
            <a:off x="2621937" y="4026485"/>
            <a:ext cx="8172000" cy="468000"/>
          </a:xfrm>
          <a:prstGeom prst="rect">
            <a:avLst/>
          </a:prstGeom>
          <a:solidFill>
            <a:schemeClr val="bg1">
              <a:lumMod val="9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kumimoji="0" lang="nl-NL" sz="1200" i="0" u="none" strike="noStrike" kern="1200" cap="none" spc="0" normalizeH="0" baseline="0" noProof="0" dirty="0">
                <a:ln>
                  <a:noFill/>
                </a:ln>
                <a:effectLst/>
                <a:uLnTx/>
                <a:uFillTx/>
                <a:latin typeface="Corbel" panose="020B0503020204020204" pitchFamily="34" charset="0"/>
                <a:ea typeface="+mn-ea"/>
                <a:cs typeface="+mn-cs"/>
              </a:rPr>
              <a:t>Nederland wil, kan en moet </a:t>
            </a:r>
            <a:r>
              <a:rPr kumimoji="0" lang="nl-NL" sz="1200" b="1" i="0" u="none" strike="noStrike" kern="1200" cap="none" spc="0" normalizeH="0" baseline="0" noProof="0" dirty="0">
                <a:ln>
                  <a:noFill/>
                </a:ln>
                <a:solidFill>
                  <a:srgbClr val="22777B"/>
                </a:solidFill>
                <a:effectLst/>
                <a:uLnTx/>
                <a:uFillTx/>
                <a:latin typeface="Corbel" panose="020B0503020204020204" pitchFamily="34" charset="0"/>
                <a:ea typeface="+mn-ea"/>
                <a:cs typeface="+mn-cs"/>
              </a:rPr>
              <a:t>inclusiever</a:t>
            </a:r>
            <a:r>
              <a:rPr kumimoji="0" lang="nl-NL" sz="1200" b="1" i="0" u="none" strike="noStrike" kern="1200" cap="none" spc="0" normalizeH="0" baseline="0" noProof="0" dirty="0">
                <a:ln>
                  <a:noFill/>
                </a:ln>
                <a:effectLst/>
                <a:uLnTx/>
                <a:uFillTx/>
                <a:latin typeface="Corbel" panose="020B0503020204020204" pitchFamily="34" charset="0"/>
                <a:ea typeface="+mn-ea"/>
                <a:cs typeface="+mn-cs"/>
              </a:rPr>
              <a:t>. </a:t>
            </a:r>
            <a:r>
              <a:rPr kumimoji="0" lang="nl-NL" sz="1200" i="0" u="none" strike="noStrike" kern="1200" cap="none" spc="0" normalizeH="0" baseline="0" noProof="0" dirty="0">
                <a:ln>
                  <a:noFill/>
                </a:ln>
                <a:effectLst/>
                <a:uLnTx/>
                <a:uFillTx/>
                <a:latin typeface="Corbel" panose="020B0503020204020204" pitchFamily="34" charset="0"/>
                <a:ea typeface="+mn-ea"/>
                <a:cs typeface="+mn-cs"/>
              </a:rPr>
              <a:t>Met het ondertekenen van VN-Verdrag handicap zegt Nederland toe om drempels voor personen met een beperking zoveel mogelijk weg te nemen zodat zij volledig kunnen deelnemen aan de maatschappij. </a:t>
            </a:r>
          </a:p>
        </p:txBody>
      </p:sp>
      <p:sp>
        <p:nvSpPr>
          <p:cNvPr id="29" name="Rectangle 28">
            <a:extLst>
              <a:ext uri="{FF2B5EF4-FFF2-40B4-BE49-F238E27FC236}">
                <a16:creationId xmlns:a16="http://schemas.microsoft.com/office/drawing/2014/main" id="{7F2D0A26-2C9D-4D2D-B773-D58F0AEF7714}"/>
              </a:ext>
            </a:extLst>
          </p:cNvPr>
          <p:cNvSpPr/>
          <p:nvPr/>
        </p:nvSpPr>
        <p:spPr>
          <a:xfrm>
            <a:off x="2087216" y="4621430"/>
            <a:ext cx="8172000" cy="468000"/>
          </a:xfrm>
          <a:prstGeom prst="rect">
            <a:avLst/>
          </a:prstGeom>
          <a:solidFill>
            <a:schemeClr val="bg1">
              <a:lumMod val="9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lang="nl-NL" sz="1200" dirty="0"/>
              <a:t>Mensen met een beperking </a:t>
            </a:r>
            <a:r>
              <a:rPr lang="nl-NL" sz="1200" b="1" dirty="0">
                <a:solidFill>
                  <a:srgbClr val="22777B"/>
                </a:solidFill>
              </a:rPr>
              <a:t>kunnen en willen graag deelnemen aan de maatschappij</a:t>
            </a:r>
            <a:r>
              <a:rPr lang="nl-NL" sz="1200" dirty="0"/>
              <a:t>. </a:t>
            </a:r>
            <a:r>
              <a:rPr lang="nl-NL" sz="1200" b="1" dirty="0">
                <a:solidFill>
                  <a:srgbClr val="22777B"/>
                </a:solidFill>
              </a:rPr>
              <a:t>13%</a:t>
            </a:r>
            <a:r>
              <a:rPr lang="nl-NL" sz="1200" dirty="0"/>
              <a:t> van de mensen met een lichamelijke beperking gebruikt OV nog niet, maar zou dat wel willen; </a:t>
            </a:r>
            <a:r>
              <a:rPr lang="nl-NL" sz="1200" b="1" dirty="0">
                <a:solidFill>
                  <a:srgbClr val="22777B"/>
                </a:solidFill>
              </a:rPr>
              <a:t>66% </a:t>
            </a:r>
            <a:r>
              <a:rPr lang="nl-NL" sz="1200" dirty="0"/>
              <a:t>is al tevreden over het OV.</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0" name="Rectangle 29">
            <a:extLst>
              <a:ext uri="{FF2B5EF4-FFF2-40B4-BE49-F238E27FC236}">
                <a16:creationId xmlns:a16="http://schemas.microsoft.com/office/drawing/2014/main" id="{2C8A80EA-66AC-417B-BAA6-E0801B6FB21D}"/>
              </a:ext>
            </a:extLst>
          </p:cNvPr>
          <p:cNvSpPr/>
          <p:nvPr/>
        </p:nvSpPr>
        <p:spPr>
          <a:xfrm>
            <a:off x="3055069" y="5811318"/>
            <a:ext cx="8172000" cy="468000"/>
          </a:xfrm>
          <a:prstGeom prst="rect">
            <a:avLst/>
          </a:prstGeom>
          <a:solidFill>
            <a:schemeClr val="bg1">
              <a:lumMod val="9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kumimoji="0" lang="nl-NL" sz="1200" b="1" i="0" u="none" strike="noStrike" kern="1200" cap="none" spc="0" normalizeH="0" baseline="0" noProof="0" dirty="0">
                <a:ln>
                  <a:noFill/>
                </a:ln>
                <a:solidFill>
                  <a:srgbClr val="22777B"/>
                </a:solidFill>
                <a:effectLst/>
                <a:uLnTx/>
                <a:uFillTx/>
                <a:latin typeface="Corbel" panose="020B0503020204020204" pitchFamily="34" charset="0"/>
                <a:ea typeface="+mn-ea"/>
                <a:cs typeface="+mn-cs"/>
              </a:rPr>
              <a:t>Innovaties</a:t>
            </a:r>
            <a:r>
              <a:rPr kumimoji="0" lang="nl-NL" sz="1200" i="0" u="none" strike="noStrike" kern="1200" cap="none" spc="0" normalizeH="0" baseline="0" noProof="0" dirty="0">
                <a:ln>
                  <a:noFill/>
                </a:ln>
                <a:effectLst/>
                <a:uLnTx/>
                <a:uFillTx/>
                <a:latin typeface="Corbel" panose="020B0503020204020204" pitchFamily="34" charset="0"/>
                <a:ea typeface="+mn-ea"/>
                <a:cs typeface="+mn-cs"/>
              </a:rPr>
              <a:t> bieden tal van mogelijkheden. Data en technologische ontwikkelingen in mobiliteitssystemen en -aanbod leiden mogelijk tot meer keuzevrijheid voor gebruikers, efficiëntere organisatie en betere aansluiting van vraag en aanbod.</a:t>
            </a:r>
          </a:p>
        </p:txBody>
      </p:sp>
      <p:sp>
        <p:nvSpPr>
          <p:cNvPr id="27" name="Rectangle 26">
            <a:extLst>
              <a:ext uri="{FF2B5EF4-FFF2-40B4-BE49-F238E27FC236}">
                <a16:creationId xmlns:a16="http://schemas.microsoft.com/office/drawing/2014/main" id="{98AA2C3F-2CE0-4EF5-9BB5-49FCDBD9FBB2}"/>
              </a:ext>
            </a:extLst>
          </p:cNvPr>
          <p:cNvSpPr/>
          <p:nvPr/>
        </p:nvSpPr>
        <p:spPr>
          <a:xfrm>
            <a:off x="2829552" y="3431540"/>
            <a:ext cx="8172000" cy="468000"/>
          </a:xfrm>
          <a:prstGeom prst="rect">
            <a:avLst/>
          </a:prstGeom>
          <a:solidFill>
            <a:schemeClr val="bg1">
              <a:lumMod val="9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kumimoji="0" lang="nl-NL" sz="1200" i="0" u="none" strike="noStrike" kern="1200" cap="none" spc="0" normalizeH="0" baseline="0" noProof="0" dirty="0">
                <a:ln>
                  <a:noFill/>
                </a:ln>
                <a:effectLst/>
                <a:uLnTx/>
                <a:uFillTx/>
                <a:latin typeface="Corbel" panose="020B0503020204020204" pitchFamily="34" charset="0"/>
                <a:ea typeface="+mn-ea"/>
                <a:cs typeface="+mn-cs"/>
              </a:rPr>
              <a:t>Mobiliteitssystemen moeten </a:t>
            </a:r>
            <a:r>
              <a:rPr kumimoji="0" lang="nl-NL" sz="1200" b="1" i="0" u="none" strike="noStrike" kern="1200" cap="none" spc="0" normalizeH="0" baseline="0" noProof="0" dirty="0">
                <a:ln>
                  <a:noFill/>
                </a:ln>
                <a:solidFill>
                  <a:srgbClr val="22777B"/>
                </a:solidFill>
                <a:effectLst/>
                <a:uLnTx/>
                <a:uFillTx/>
                <a:latin typeface="Corbel" panose="020B0503020204020204" pitchFamily="34" charset="0"/>
                <a:ea typeface="+mn-ea"/>
                <a:cs typeface="+mn-cs"/>
              </a:rPr>
              <a:t>verduurzamen</a:t>
            </a:r>
            <a:r>
              <a:rPr kumimoji="0" lang="nl-NL" sz="1200" b="1" i="0" u="none" strike="noStrike" kern="1200" cap="none" spc="0" normalizeH="0" baseline="0" noProof="0" dirty="0">
                <a:ln>
                  <a:noFill/>
                </a:ln>
                <a:effectLst/>
                <a:uLnTx/>
                <a:uFillTx/>
                <a:latin typeface="Corbel" panose="020B0503020204020204" pitchFamily="34" charset="0"/>
                <a:ea typeface="+mn-ea"/>
                <a:cs typeface="+mn-cs"/>
              </a:rPr>
              <a:t>. </a:t>
            </a:r>
            <a:r>
              <a:rPr kumimoji="0" lang="nl-NL" sz="1200" i="0" u="none" strike="noStrike" kern="1200" cap="none" spc="0" normalizeH="0" baseline="0" noProof="0" dirty="0">
                <a:ln>
                  <a:noFill/>
                </a:ln>
                <a:effectLst/>
                <a:uLnTx/>
                <a:uFillTx/>
                <a:latin typeface="Corbel" panose="020B0503020204020204" pitchFamily="34" charset="0"/>
                <a:ea typeface="+mn-ea"/>
                <a:cs typeface="+mn-cs"/>
              </a:rPr>
              <a:t>In 2030 moet Nederland minimaal </a:t>
            </a:r>
            <a:r>
              <a:rPr kumimoji="0" lang="nl-NL" sz="1200" b="1" i="0" u="none" strike="noStrike" kern="1200" cap="none" spc="0" normalizeH="0" baseline="0" noProof="0" dirty="0">
                <a:ln>
                  <a:noFill/>
                </a:ln>
                <a:solidFill>
                  <a:srgbClr val="22777B"/>
                </a:solidFill>
                <a:effectLst/>
                <a:uLnTx/>
                <a:uFillTx/>
                <a:latin typeface="Corbel" panose="020B0503020204020204" pitchFamily="34" charset="0"/>
                <a:ea typeface="+mn-ea"/>
                <a:cs typeface="+mn-cs"/>
              </a:rPr>
              <a:t>49% </a:t>
            </a:r>
            <a:r>
              <a:rPr kumimoji="0" lang="nl-NL" sz="1200" i="0" u="none" strike="noStrike" kern="1200" cap="none" spc="0" normalizeH="0" baseline="0" noProof="0" dirty="0">
                <a:ln>
                  <a:noFill/>
                </a:ln>
                <a:effectLst/>
                <a:uLnTx/>
                <a:uFillTx/>
                <a:latin typeface="Corbel" panose="020B0503020204020204" pitchFamily="34" charset="0"/>
                <a:ea typeface="+mn-ea"/>
                <a:cs typeface="+mn-cs"/>
              </a:rPr>
              <a:t>minder broeikasgassen uitstoten.</a:t>
            </a:r>
          </a:p>
        </p:txBody>
      </p:sp>
      <p:sp>
        <p:nvSpPr>
          <p:cNvPr id="90" name="Rectangle 89">
            <a:extLst>
              <a:ext uri="{FF2B5EF4-FFF2-40B4-BE49-F238E27FC236}">
                <a16:creationId xmlns:a16="http://schemas.microsoft.com/office/drawing/2014/main" id="{411458C7-9E34-463A-A20A-A21BD95580CC}"/>
              </a:ext>
            </a:extLst>
          </p:cNvPr>
          <p:cNvSpPr/>
          <p:nvPr/>
        </p:nvSpPr>
        <p:spPr>
          <a:xfrm>
            <a:off x="2087216" y="5216375"/>
            <a:ext cx="8172000" cy="468000"/>
          </a:xfrm>
          <a:prstGeom prst="rect">
            <a:avLst/>
          </a:prstGeom>
          <a:solidFill>
            <a:schemeClr val="bg1">
              <a:lumMod val="9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lang="nl-NL" sz="1200" dirty="0"/>
              <a:t>Het Rijk en vervoerregio’s onderzoeken momenteel al maatregelen om het </a:t>
            </a:r>
            <a:r>
              <a:rPr lang="nl-NL" sz="1200" b="1" dirty="0">
                <a:solidFill>
                  <a:srgbClr val="22777B"/>
                </a:solidFill>
              </a:rPr>
              <a:t>OV toegankelijker </a:t>
            </a:r>
            <a:r>
              <a:rPr lang="nl-NL" sz="1200" dirty="0"/>
              <a:t>te maken. Denk hierbij aan aanpassingen aan haltes en voertuigen, maar ook verbeteren van informatieverschaffing en begeleiding.</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3" name="Picture 2">
            <a:hlinkClick r:id="rId7"/>
            <a:extLst>
              <a:ext uri="{FF2B5EF4-FFF2-40B4-BE49-F238E27FC236}">
                <a16:creationId xmlns:a16="http://schemas.microsoft.com/office/drawing/2014/main" id="{7071C4B5-D1A1-496C-AAC8-0A567ACDEF38}"/>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rot="563747">
            <a:off x="9421199" y="1665888"/>
            <a:ext cx="1465076" cy="1011600"/>
          </a:xfrm>
          <a:prstGeom prst="rect">
            <a:avLst/>
          </a:prstGeom>
          <a:ln>
            <a:solidFill>
              <a:schemeClr val="accent6">
                <a:lumMod val="75000"/>
              </a:schemeClr>
            </a:solidFill>
          </a:ln>
        </p:spPr>
      </p:pic>
      <p:pic>
        <p:nvPicPr>
          <p:cNvPr id="7" name="Picture 6">
            <a:hlinkClick r:id="rId9"/>
            <a:extLst>
              <a:ext uri="{FF2B5EF4-FFF2-40B4-BE49-F238E27FC236}">
                <a16:creationId xmlns:a16="http://schemas.microsoft.com/office/drawing/2014/main" id="{CB9F14E2-E99A-4CDA-9F28-FAFF4CC9F960}"/>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rot="403102">
            <a:off x="10279002" y="4321715"/>
            <a:ext cx="1137840" cy="1551600"/>
          </a:xfrm>
          <a:prstGeom prst="rect">
            <a:avLst/>
          </a:prstGeom>
          <a:ln>
            <a:solidFill>
              <a:schemeClr val="accent6">
                <a:lumMod val="75000"/>
              </a:schemeClr>
            </a:solidFill>
          </a:ln>
        </p:spPr>
      </p:pic>
      <p:grpSp>
        <p:nvGrpSpPr>
          <p:cNvPr id="31" name="Group 30">
            <a:extLst>
              <a:ext uri="{FF2B5EF4-FFF2-40B4-BE49-F238E27FC236}">
                <a16:creationId xmlns:a16="http://schemas.microsoft.com/office/drawing/2014/main" id="{023A6488-80D5-43C0-BD6D-88DBC37595C3}"/>
              </a:ext>
            </a:extLst>
          </p:cNvPr>
          <p:cNvGrpSpPr/>
          <p:nvPr/>
        </p:nvGrpSpPr>
        <p:grpSpPr>
          <a:xfrm>
            <a:off x="698677" y="4429910"/>
            <a:ext cx="1080000" cy="1080000"/>
            <a:chOff x="389829" y="5058368"/>
            <a:chExt cx="1080000" cy="1080000"/>
          </a:xfrm>
        </p:grpSpPr>
        <p:sp>
          <p:nvSpPr>
            <p:cNvPr id="32" name="Rectangle: Rounded Corners 31">
              <a:extLst>
                <a:ext uri="{FF2B5EF4-FFF2-40B4-BE49-F238E27FC236}">
                  <a16:creationId xmlns:a16="http://schemas.microsoft.com/office/drawing/2014/main" id="{E8930052-83B0-4DED-84CA-F3A79F3E396B}"/>
                </a:ext>
              </a:extLst>
            </p:cNvPr>
            <p:cNvSpPr/>
            <p:nvPr/>
          </p:nvSpPr>
          <p:spPr>
            <a:xfrm>
              <a:off x="389829" y="5058368"/>
              <a:ext cx="1080000" cy="1080000"/>
            </a:xfrm>
            <a:prstGeom prst="roundRect">
              <a:avLst/>
            </a:prstGeom>
            <a:solidFill>
              <a:srgbClr val="22777B"/>
            </a:solidFill>
            <a:ln w="9525">
              <a:noFill/>
            </a:ln>
            <a:extLst>
              <a:ext uri="{91240B29-F687-4F45-9708-019B960494DF}">
                <a14:hiddenLine xmlns:a14="http://schemas.microsoft.com/office/drawing/2010/main" w="9525">
                  <a:solidFill>
                    <a:srgbClr val="22777B"/>
                  </a:solidFill>
                </a14:hiddenLine>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lang="nl-NL" sz="1200" b="1" dirty="0">
                  <a:solidFill>
                    <a:srgbClr val="FFFFFF"/>
                  </a:solidFill>
                </a:rPr>
                <a:t>Kansen</a:t>
              </a:r>
            </a:p>
          </p:txBody>
        </p:sp>
        <p:pic>
          <p:nvPicPr>
            <p:cNvPr id="33" name="Graphic 32" descr="Person with idea with solid fill">
              <a:extLst>
                <a:ext uri="{FF2B5EF4-FFF2-40B4-BE49-F238E27FC236}">
                  <a16:creationId xmlns:a16="http://schemas.microsoft.com/office/drawing/2014/main" id="{D800A0AC-2D49-47F2-9596-A1E90674BA8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65493" y="5488020"/>
              <a:ext cx="528673" cy="528673"/>
            </a:xfrm>
            <a:prstGeom prst="rect">
              <a:avLst/>
            </a:prstGeom>
          </p:spPr>
        </p:pic>
      </p:grpSp>
      <p:sp>
        <p:nvSpPr>
          <p:cNvPr id="35" name="Rectangle: Rounded Corners 34">
            <a:extLst>
              <a:ext uri="{FF2B5EF4-FFF2-40B4-BE49-F238E27FC236}">
                <a16:creationId xmlns:a16="http://schemas.microsoft.com/office/drawing/2014/main" id="{9B70C38F-F9F0-4CD5-A3D1-3ACC20B39C66}"/>
              </a:ext>
            </a:extLst>
          </p:cNvPr>
          <p:cNvSpPr/>
          <p:nvPr/>
        </p:nvSpPr>
        <p:spPr>
          <a:xfrm>
            <a:off x="698677" y="2382440"/>
            <a:ext cx="1080000" cy="1080000"/>
          </a:xfrm>
          <a:prstGeom prst="roundRect">
            <a:avLst/>
          </a:prstGeom>
          <a:solidFill>
            <a:srgbClr val="22777B"/>
          </a:solidFill>
          <a:ln w="9525">
            <a:noFill/>
          </a:ln>
          <a:extLst>
            <a:ext uri="{91240B29-F687-4F45-9708-019B960494DF}">
              <a14:hiddenLine xmlns:a14="http://schemas.microsoft.com/office/drawing/2010/main" w="9525">
                <a:solidFill>
                  <a:srgbClr val="22777B"/>
                </a:solidFill>
              </a14:hiddenLine>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lang="nl-NL" sz="1200" b="1" dirty="0">
                <a:solidFill>
                  <a:srgbClr val="FFFFFF"/>
                </a:solidFill>
              </a:rPr>
              <a:t>Uitdagingen</a:t>
            </a:r>
          </a:p>
        </p:txBody>
      </p:sp>
      <p:grpSp>
        <p:nvGrpSpPr>
          <p:cNvPr id="36" name="Group 35">
            <a:extLst>
              <a:ext uri="{FF2B5EF4-FFF2-40B4-BE49-F238E27FC236}">
                <a16:creationId xmlns:a16="http://schemas.microsoft.com/office/drawing/2014/main" id="{C1B9D3BC-6DDC-44D8-B19C-3358D9B855DF}"/>
              </a:ext>
            </a:extLst>
          </p:cNvPr>
          <p:cNvGrpSpPr/>
          <p:nvPr/>
        </p:nvGrpSpPr>
        <p:grpSpPr>
          <a:xfrm>
            <a:off x="896940" y="2707817"/>
            <a:ext cx="683474" cy="683474"/>
            <a:chOff x="1089449" y="2966143"/>
            <a:chExt cx="683474" cy="683474"/>
          </a:xfrm>
        </p:grpSpPr>
        <p:pic>
          <p:nvPicPr>
            <p:cNvPr id="37" name="Graphic 36" descr="Mountains with solid fill">
              <a:extLst>
                <a:ext uri="{FF2B5EF4-FFF2-40B4-BE49-F238E27FC236}">
                  <a16:creationId xmlns:a16="http://schemas.microsoft.com/office/drawing/2014/main" id="{E9834205-268E-4D4E-9789-D5CF49F6D40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89449" y="2966143"/>
              <a:ext cx="683474" cy="683474"/>
            </a:xfrm>
            <a:prstGeom prst="rect">
              <a:avLst/>
            </a:prstGeom>
          </p:spPr>
        </p:pic>
        <p:pic>
          <p:nvPicPr>
            <p:cNvPr id="38" name="Graphic 37" descr="Flag with solid fill">
              <a:extLst>
                <a:ext uri="{FF2B5EF4-FFF2-40B4-BE49-F238E27FC236}">
                  <a16:creationId xmlns:a16="http://schemas.microsoft.com/office/drawing/2014/main" id="{9681F6DC-2598-4ABB-8B0C-A75F98E2CB9D}"/>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325322" y="2977223"/>
              <a:ext cx="139535" cy="139535"/>
            </a:xfrm>
            <a:prstGeom prst="rect">
              <a:avLst/>
            </a:prstGeom>
          </p:spPr>
        </p:pic>
      </p:grpSp>
      <p:sp>
        <p:nvSpPr>
          <p:cNvPr id="34" name="Rectangle 33">
            <a:extLst>
              <a:ext uri="{FF2B5EF4-FFF2-40B4-BE49-F238E27FC236}">
                <a16:creationId xmlns:a16="http://schemas.microsoft.com/office/drawing/2014/main" id="{7C0EB1C4-087F-42D4-B6DF-414B605B5697}"/>
              </a:ext>
            </a:extLst>
          </p:cNvPr>
          <p:cNvSpPr/>
          <p:nvPr/>
        </p:nvSpPr>
        <p:spPr>
          <a:xfrm>
            <a:off x="2212854" y="2836595"/>
            <a:ext cx="8172000" cy="468000"/>
          </a:xfrm>
          <a:prstGeom prst="rect">
            <a:avLst/>
          </a:prstGeom>
          <a:solidFill>
            <a:schemeClr val="bg1">
              <a:lumMod val="9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kumimoji="0" lang="nl-NL" sz="1200" b="1" i="0" u="none" strike="noStrike" kern="1200" cap="none" spc="0" normalizeH="0" baseline="0" noProof="0" dirty="0">
                <a:ln>
                  <a:noFill/>
                </a:ln>
                <a:solidFill>
                  <a:srgbClr val="22777B"/>
                </a:solidFill>
                <a:effectLst/>
                <a:uLnTx/>
                <a:uFillTx/>
                <a:latin typeface="Corbel" panose="020B0503020204020204" pitchFamily="34" charset="0"/>
                <a:ea typeface="+mn-ea"/>
                <a:cs typeface="+mn-cs"/>
              </a:rPr>
              <a:t>Schaalvergroting in het onderwijs </a:t>
            </a:r>
            <a:r>
              <a:rPr kumimoji="0" lang="nl-NL" sz="1200" i="0" u="none" strike="noStrike" kern="1200" cap="none" spc="0" normalizeH="0" baseline="0" noProof="0" dirty="0">
                <a:ln>
                  <a:noFill/>
                </a:ln>
                <a:effectLst/>
                <a:uLnTx/>
                <a:uFillTx/>
                <a:latin typeface="Corbel" panose="020B0503020204020204" pitchFamily="34" charset="0"/>
                <a:ea typeface="+mn-ea"/>
                <a:cs typeface="+mn-cs"/>
              </a:rPr>
              <a:t>en in </a:t>
            </a:r>
            <a:r>
              <a:rPr kumimoji="0" lang="nl-NL" sz="1200" b="1" i="0" u="none" strike="noStrike" kern="1200" cap="none" spc="0" normalizeH="0" baseline="0" noProof="0" dirty="0">
                <a:ln>
                  <a:noFill/>
                </a:ln>
                <a:solidFill>
                  <a:srgbClr val="22777B"/>
                </a:solidFill>
                <a:effectLst/>
                <a:uLnTx/>
                <a:uFillTx/>
                <a:latin typeface="Corbel" panose="020B0503020204020204" pitchFamily="34" charset="0"/>
                <a:ea typeface="+mn-ea"/>
                <a:cs typeface="+mn-cs"/>
              </a:rPr>
              <a:t>de zorg </a:t>
            </a:r>
            <a:r>
              <a:rPr kumimoji="0" lang="nl-NL" sz="1200" i="0" u="none" strike="noStrike" kern="1200" cap="none" spc="0" normalizeH="0" baseline="0" noProof="0" dirty="0">
                <a:ln>
                  <a:noFill/>
                </a:ln>
                <a:effectLst/>
                <a:uLnTx/>
                <a:uFillTx/>
                <a:latin typeface="Corbel" panose="020B0503020204020204" pitchFamily="34" charset="0"/>
                <a:ea typeface="+mn-ea"/>
                <a:cs typeface="+mn-cs"/>
              </a:rPr>
              <a:t>zorgen ervoor dat men langere afstanden moet reizen om naar school of het ziekenhuis te gaan.</a:t>
            </a:r>
          </a:p>
        </p:txBody>
      </p:sp>
      <p:pic>
        <p:nvPicPr>
          <p:cNvPr id="5" name="Picture 4">
            <a:extLst>
              <a:ext uri="{FF2B5EF4-FFF2-40B4-BE49-F238E27FC236}">
                <a16:creationId xmlns:a16="http://schemas.microsoft.com/office/drawing/2014/main" id="{88759FEC-25D9-41A0-822A-446690B25614}"/>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rot="901557">
            <a:off x="9984498" y="1977063"/>
            <a:ext cx="1442214" cy="1011600"/>
          </a:xfrm>
          <a:prstGeom prst="rect">
            <a:avLst/>
          </a:prstGeom>
          <a:ln>
            <a:solidFill>
              <a:schemeClr val="accent6">
                <a:lumMod val="75000"/>
              </a:schemeClr>
            </a:solidFill>
          </a:ln>
        </p:spPr>
      </p:pic>
      <p:sp>
        <p:nvSpPr>
          <p:cNvPr id="39" name="Footer Placeholder 8">
            <a:extLst>
              <a:ext uri="{FF2B5EF4-FFF2-40B4-BE49-F238E27FC236}">
                <a16:creationId xmlns:a16="http://schemas.microsoft.com/office/drawing/2014/main" id="{1F14900A-FCBB-4D78-80E4-49B448B9BB76}"/>
              </a:ext>
            </a:extLst>
          </p:cNvPr>
          <p:cNvSpPr txBox="1">
            <a:spLocks/>
          </p:cNvSpPr>
          <p:nvPr/>
        </p:nvSpPr>
        <p:spPr>
          <a:xfrm>
            <a:off x="661800" y="6624637"/>
            <a:ext cx="10868400" cy="122400"/>
          </a:xfrm>
          <a:prstGeom prst="rect">
            <a:avLst/>
          </a:prstGeom>
        </p:spPr>
        <p:txBody>
          <a:bodyPr vert="horz" lIns="36000" tIns="0" rIns="36000" bIns="0" rtlCol="0" anchor="b"/>
          <a:lstStyle>
            <a:defPPr>
              <a:defRPr lang="nl-NL"/>
            </a:defPPr>
            <a:lvl1pPr marL="0" indent="0" algn="l" defTabSz="685800" rtl="0" eaLnBrk="1" latinLnBrk="0" hangingPunct="1">
              <a:lnSpc>
                <a:spcPct val="90000"/>
              </a:lnSpc>
              <a:spcBef>
                <a:spcPts val="375"/>
              </a:spcBef>
              <a:buClr>
                <a:schemeClr val="dk2"/>
              </a:buClr>
              <a:buFont typeface="Wingdings" panose="05000000000000000000" pitchFamily="2" charset="2"/>
              <a:buNone/>
              <a:defRPr sz="800" kern="1200">
                <a:solidFill>
                  <a:srgbClr val="000000"/>
                </a:solidFill>
                <a:latin typeface="+mn-lt"/>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Bron: Ministerie EZK, ‘Klimaatplan 2021 -2030’ (april 2020); CBS, ‘Prognose: Bevolking blijft komende 50 jaar groeien’ (16 dec. 2020); Ministeries IenW, VWS, ‘Iedereen onderweg: Vernieuwingsagenda doelgroepenvervoer en openbaar vervoer’ (maart 2019); Ministerie IenW, ‘MaaS-pilots – Optimaliseren van het mobiliteitssysteem’ (mei 2019); CBS, ‘Zelfredzaamheid van ouderen en gebruik van Wmo’ (2020); MuConsult, ‘Krachten bundelen voor toekomstvast doelgroepenvervoer en OV’ (28 juni 2013)  </a:t>
            </a:r>
          </a:p>
        </p:txBody>
      </p:sp>
    </p:spTree>
    <p:extLst>
      <p:ext uri="{BB962C8B-B14F-4D97-AF65-F5344CB8AC3E}">
        <p14:creationId xmlns:p14="http://schemas.microsoft.com/office/powerpoint/2010/main" val="4140105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3&quot;&gt;&lt;elem m_fUsage=&quot;1.93193100000000028693E+00&quot;&gt;&lt;m_msothmcolidx val=&quot;0&quot;/&gt;&lt;m_rgb r=&quot;FF&quot; g=&quot;44&quot; b=&quot;44&quot;/&gt;&lt;/elem&gt;&lt;elem m_fUsage=&quot;1.72900000000000009237E+00&quot;&gt;&lt;m_msothmcolidx val=&quot;0&quot;/&gt;&lt;m_rgb r=&quot;EE&quot; g=&quot;AC&quot; b=&quot;AC&quot;/&gt;&lt;/elem&gt;&lt;elem m_fUsage=&quot;1.55610000000000003872E+00&quot;&gt;&lt;m_msothmcolidx val=&quot;0&quot;/&gt;&lt;m_rgb r=&quot;FF&quot; g=&quot;D1&quot; b=&quot;7A&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gDsAFLXsbqe2uF5kLgqXm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Co06aYTCDtGqcBokd.iMe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8j5Ytf2BquqdmyE1RGE1N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v__bulUE90KKYglxk5iqj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lVgiMRxaKpXv9oy2Iq3K9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FNPL3x1HL8EORl0gxavXf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uM.XTqz4PGNW2HC8uu1z6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Bgsij3HbI4V2SuBvKfJC5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334PxVNAvKsC6fQmm_stv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1hUjVdrWqZ3IAnpkOOj9G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PwDVKGJbg3bnpRORKGe9g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d3ztt_7RLTip.IKCpccl3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LYlu2u3J6tK6pTDVFnPPK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iC6aFO2CE0R.bwW3jleZ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7GDDAiX8uoO2uhwMtng9_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oENcZuoU7RHpMqE9ysCKv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0R.Ys5.9JJgUjr0IaDJR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XCrOpqwSlRKcoFjb8uZL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e5ufQL86juuYQgYTo.6I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DUOr3lFG7xdLMIjN21HZh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UsmD3xrS2kw3BfJa73IrN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i5fTA_BvH_3WX7yNbdWSF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ccf2kZXKKr8F8gFrByccI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uulOCL5xJGuil2gN9aUT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TVKa9zJwwxi_xLpB3AdDe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7UHsG4ngPb1gv4BGsrEEG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Kf.loSR5lSrXjC4FF.r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UDc.KGJntRyQcfTEGeG12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cJVnL3KQ2QbMcrVhdSXDn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w0kbkNlpGvGIYQ_qiOzSv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FK2wX8IajEtNCO7QNcP48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ZcvD5oce.HeNz9MPtvfOF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lU4y89oJtFoUHYww2Ye1C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cQx4yzbDvgvYa1TZByhW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G7ribybox.zPN7CtZ1KFR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IbprRw3KdQI7P26yUrJ9K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h22IUZ17eeO4WHpGJ7Pn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UIyenBezMReTzoOpQuEKO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_EjoSkN5DL9gNYegjKZdK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0JmiyNj2iokZ.g.3RdWAH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NYa6kmtw4EP_6bsBLbzyP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AZjGVkXYK2CjTwKgtSg2s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OXMMLqqHJZcyrUPMnk74k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i5y9Xf70lJn8wjS.O6mGn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sC3vsKLXVY5FayOLiKQVN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4HSpURbKeP4Jdi0DRIlf9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ukweD7vqVaihl7AGMoscD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LWM2US5cSN5rJCVUlYGYs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LWM2US5cSN5rJCVUlYGYs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1Cww7bDJk5GD9rOtQaB7f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V99zqO_iPaWr5AQUv_xDb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ERwOY_BIIfd2jsXvoR3CG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D_OFd0Zt1xXhs8Oyf7bH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mD.m74tlzOJX69XJPWw9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2ZX.OJccyUzw2xj7.4yg4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3VaVWlD7Vje1hS3p6IzgU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WUrNCEH8O9rnx6oLDzwN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5NGQ0.JCb6ZI3Wgsp8G1E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kIZMosuRHY_c1kCc1Az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Y_G1Gf4A047fyxV0VaJsm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e3mQh0MnAsZEkDwdvdDo5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n233kjdeJhQmOGa0ww_wD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iagPT99mO51z4VMRYwvK9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bWi_vLp7DZftRfy3QhGI9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vK5gF_XKyFA.wxKhcqiHY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04Io_Ou1RYIXfBSh6xbbm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HdyZAfEX.CSZI4Zm0U2o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CNyQAvrKg6xFipbY3SODa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8zhJw9iq7hzCYBLN1vvf_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gQSWrQ.8GbXu7qomf_viS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j93oaGAWCYJW8mlmboUM4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8m7lohe5PInYYzOW.eNuS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X9zGADwXqz84i.08uQheh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SNJnDsLoRlP57edlmYSXf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dKnleHpkB_tMkXYQ5rim7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EWq3aJJDuvOwLBSl_fXtW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K9HcO4VNrYxKi9U5Yxl6R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jcPBmlKTbLrF9gnPkgh1r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KdM1SRPIQIuWHuJ0.VPl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2vlXI4SlhoJOp2W.qw_ad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5iWwgWJTGng3bjTK0McrP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KnM0XjEHMbJ.XBAzkc_on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GHN4sCiH5zJF5BI7eUGEt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eXXfOsB.z5Sq3EVRqiI4F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G0AuZQmxhhlAo6DQLJgea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fmCZuHtC0cWu05QquzVJj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xU1A7ESeN.XGjxtn2NT5K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SRD8eFI8XMPZMsIHIi_2I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R7UQLIFOmqD08SogdLxv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3sww8BgGM.1Mz9x98MfYe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RvfbUML.4WlE4jSS_OJ1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Mu07LTM3Jluiuw7eOFy35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wplJeDHXp8ZlXSt.rqhr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Opv0.0jpMMEHedwFNMiEf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jGjfTbRkN3cBKWmpfrT8I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mXuA.79GbNs8vK9.cVbu9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mwx0lEwfxLOOqmAfluuUe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JB_nfeZiBawCZM_uaobs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P6dxdwoxYOvhPgajkSAh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34rX006dpUwLGedlRngDX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azHHOhsFVCH1UnhGrbY4u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Z6t.pwX0ANoQJt5D_JSPz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ruB27fVyhkC577HPAlFaD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dJqf4fPEdkCvwuk2n1qz3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xM_uxAYJhspNJ8b6h0I5J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UZWN1xkSLPLH9DMN8JT2o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ZEVaItivK8cOk94UdwZ7q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d3MMgfcx.fV0oSY8KC5Yp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7P_9Ffguq8CpJ7UU4eT5p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KO2L01Xt.SEg5kUJa948j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9UJ6HZT4efz7SoPAmzLsi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AczOPCE1k4q81VcOLZ3gI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rg5NGk_zyhhXduma1B7ch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LWM2US5cSN5rJCVUlYGYs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9zKD5WtRglxUB9mL_CVwa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RkvaVKdoC6w3Bxstw6ns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6_y.IRm9vFgtOiEQ6ZEl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LOe_KG4XexkvAvUe2.WbT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77VypHDwM5keWycraOLl7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Ka8Uh_wTe3QeFHhha1D_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NZP.i49rZSal_MCZ65GG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5ymKwbVDeUjPdhzVJd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BDzcvE_ni4Il2CvJx8cqp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UESwZHo4f_3xjFGt9u9z3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JsdReg5SQvIlW7OkQLAnj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9uFcVum8NlumVySakvw7p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0qkwDwOMWxjB05XqWMR3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S0MUqOlYoJrN04OidT1A0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pOU5HTKADK4KJrAoW1q9m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Ss8_utS4YYju_TDSV_dKs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AXT66ukl5d4Q8lKOmH.Mx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gUO.mDXJh0cg2eZRA3q_1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m4jBDjMs0frx9jOIAoo.2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0sfBwEMeRwuXhDnakDDYt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sYI.xRJx1II.ONNPEP.W6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KsT5bh1l6U9_kO_Lh6yh_w"/>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extLst>
          <a:ext uri="{91240B29-F687-4F45-9708-019B960494DF}">
            <a14:hiddenLine xmlns:a14="http://schemas.microsoft.com/office/drawing/2010/main">
              <a:solidFill>
                <a:schemeClr val="accent1"/>
              </a:solidFill>
            </a14:hiddenLine>
          </a:ext>
        </a:ex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buClr>
            <a:schemeClr val="tx2"/>
          </a:buClr>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2.00.potx" id="{B209DFA9-EADB-42B6-AD14-A8B9AE1B1C83}" vid="{B8A8058D-36AE-46FA-9205-CF81F8C02FC7}"/>
    </a:ext>
  </a:extLst>
</a:theme>
</file>

<file path=ppt/theme/theme2.xml><?xml version="1.0" encoding="utf-8"?>
<a:theme xmlns:a="http://schemas.openxmlformats.org/drawingml/2006/main" name="Office-thema">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hema">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9289</TotalTime>
  <Words>10766</Words>
  <Application>Microsoft Office PowerPoint</Application>
  <PresentationFormat>Widescreen</PresentationFormat>
  <Paragraphs>1155</Paragraphs>
  <Slides>39</Slides>
  <Notes>36</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4" baseType="lpstr">
      <vt:lpstr>Arial</vt:lpstr>
      <vt:lpstr>Wingdings</vt:lpstr>
      <vt:lpstr>Corbel</vt:lpstr>
      <vt:lpstr>itspublic 20200925</vt:lpstr>
      <vt:lpstr>think-cell Slide</vt:lpstr>
      <vt:lpstr>Toekomstbestendig doelgroepenvervoer</vt:lpstr>
      <vt:lpstr>PowerPoint Presentation</vt:lpstr>
      <vt:lpstr>PowerPoint Presentation</vt:lpstr>
      <vt:lpstr>Het hoofddoel van doelgroepenvervoer: meedoen als ieder ander</vt:lpstr>
      <vt:lpstr>Er zijn verschillende doelgroepen met een mobiliteitsbeperking</vt:lpstr>
      <vt:lpstr>Wmo-vervoer veruit grootste voorziening in het doelgroepenvervoer</vt:lpstr>
      <vt:lpstr>Organiseren van doelgroepenvervoer: van beleid tot uitvoering</vt:lpstr>
      <vt:lpstr>PowerPoint Presentation</vt:lpstr>
      <vt:lpstr>Demografische, maatschappelijke en technologische ontwikkelingen creëren uitdagingen en kansen voor doelgroepenvervoer</vt:lpstr>
      <vt:lpstr>Een deel van de Wmo-reizigers wil met het OV reizen, maar ervaart nog barrières</vt:lpstr>
      <vt:lpstr>PowerPoint Presentation</vt:lpstr>
      <vt:lpstr>PowerPoint Presentation</vt:lpstr>
      <vt:lpstr>In de gehele keten zijn strategische opties mogelijk om te verbeteren en te innoveren</vt:lpstr>
      <vt:lpstr>PowerPoint Presentation</vt:lpstr>
      <vt:lpstr>PowerPoint Presentation</vt:lpstr>
      <vt:lpstr> </vt:lpstr>
      <vt:lpstr> </vt:lpstr>
      <vt:lpstr> </vt:lpstr>
      <vt:lpstr> </vt:lpstr>
      <vt:lpstr> </vt:lpstr>
      <vt:lpstr> </vt:lpstr>
      <vt:lpstr> </vt:lpstr>
      <vt:lpstr> </vt:lpstr>
      <vt:lpstr> </vt:lpstr>
      <vt:lpstr> </vt:lpstr>
      <vt:lpstr> </vt:lpstr>
      <vt:lpstr> </vt:lpstr>
      <vt:lpstr>Een strategisch denkkader kan een gemeente helpen om de specifieke situatie in kaart te brengen en concrete stappen te gaan zetten</vt:lpstr>
      <vt:lpstr>PowerPoint Presentation</vt:lpstr>
      <vt:lpstr>Overzicht vervoersvoorzieningen – Onderliggende wet/regeling en verantwoordelijke partij (1/2)</vt:lpstr>
      <vt:lpstr>Overzicht vervoersvoorzieningen – Onderliggende wet/regeling en verantwoordelijke partij (2/2)</vt:lpstr>
      <vt:lpstr>Kosten voor Wmo-vervoer stijgen naar verwachting met 75% door groei van doelgroepen (vergrijzing) en gebruik (langer thuiswonen)</vt:lpstr>
      <vt:lpstr>Collectief Wmo-vervoer wordt verschillend ingevuld door gemeenten </vt:lpstr>
      <vt:lpstr>G4-steden liggen redelijk dicht bij elkaar wat betreft het aantal gebruikers, maar Amsterdam heeft relatief het meeste gebruikers</vt:lpstr>
      <vt:lpstr>Er zijn diverse initiatieven om OV-gebruik te stimuleren onder kwetsbare doelgroepen (1/2)</vt:lpstr>
      <vt:lpstr>Er zijn diverse initiatieven om OV-gebruik te stimuleren onder kwetsbare doelgroepen (2/2)</vt:lpstr>
      <vt:lpstr>Regio’s en gemeenten combineren Wmo-vervoer op verschillende manieren met leerlingenvervoer</vt:lpstr>
      <vt:lpstr>Begrippenlijst</vt:lpstr>
      <vt:lpstr>PowerPoint Presentation</vt:lpstr>
    </vt:vector>
  </TitlesOfParts>
  <Company>Gemeente Amsterda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elgroepenvervoer - It's Public - 202108</dc:title>
  <dc:creator>Eva Nivard</dc:creator>
  <dc:description>Sjabloonversie 1.1b - 9 juli 2014_x000d_
Sjablonen: www.joulesunlimited.nl</dc:description>
  <cp:lastModifiedBy>kees</cp:lastModifiedBy>
  <cp:revision>915</cp:revision>
  <cp:lastPrinted>2021-03-16T12:17:21Z</cp:lastPrinted>
  <dcterms:created xsi:type="dcterms:W3CDTF">2021-02-16T14:48:45Z</dcterms:created>
  <dcterms:modified xsi:type="dcterms:W3CDTF">2021-12-03T15:00:30Z</dcterms:modified>
</cp:coreProperties>
</file>